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7.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notesSlides/notesSlide1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12.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3.xml" ContentType="application/vnd.openxmlformats-officedocument.presentationml.notesSlide+xml"/>
  <Override PartName="/ppt/tags/tag113.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1" r:id="rId4"/>
  </p:sldMasterIdLst>
  <p:notesMasterIdLst>
    <p:notesMasterId r:id="rId19"/>
  </p:notesMasterIdLst>
  <p:sldIdLst>
    <p:sldId id="3842" r:id="rId5"/>
    <p:sldId id="4070" r:id="rId6"/>
    <p:sldId id="4725" r:id="rId7"/>
    <p:sldId id="4726" r:id="rId8"/>
    <p:sldId id="4723" r:id="rId9"/>
    <p:sldId id="4724" r:id="rId10"/>
    <p:sldId id="4014" r:id="rId11"/>
    <p:sldId id="4728" r:id="rId12"/>
    <p:sldId id="4727" r:id="rId13"/>
    <p:sldId id="4071" r:id="rId14"/>
    <p:sldId id="4072" r:id="rId15"/>
    <p:sldId id="4073" r:id="rId16"/>
    <p:sldId id="3934" r:id="rId17"/>
    <p:sldId id="3939" r:id="rId18"/>
  </p:sldIdLst>
  <p:sldSz cx="12192000" cy="6858000"/>
  <p:notesSz cx="7104063" cy="10234613"/>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9E00"/>
    <a:srgbClr val="000000"/>
    <a:srgbClr val="99CCFF"/>
    <a:srgbClr val="CFDE63"/>
    <a:srgbClr val="FFE68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DAEDCD-7DF7-4DBF-B436-DF651584B0BF}" v="466" dt="2021-09-15T08:51:24.0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994" y="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Taylor" userId="d59421a2-ba2c-4629-8f26-3f69c0ffed32" providerId="ADAL" clId="{9280ADEE-A1D7-43FC-9258-13E9288FEE15}"/>
    <pc:docChg chg="undo custSel addSld delSld modSld replTag">
      <pc:chgData name="David Taylor" userId="d59421a2-ba2c-4629-8f26-3f69c0ffed32" providerId="ADAL" clId="{9280ADEE-A1D7-43FC-9258-13E9288FEE15}" dt="2021-09-13T09:47:29.072" v="8842" actId="242"/>
      <pc:docMkLst>
        <pc:docMk/>
      </pc:docMkLst>
      <pc:sldChg chg="addSp delSp modSp del mod modClrScheme chgLayout">
        <pc:chgData name="David Taylor" userId="d59421a2-ba2c-4629-8f26-3f69c0ffed32" providerId="ADAL" clId="{9280ADEE-A1D7-43FC-9258-13E9288FEE15}" dt="2021-09-07T12:47:25.124" v="2150" actId="47"/>
        <pc:sldMkLst>
          <pc:docMk/>
          <pc:sldMk cId="3523713484" sldId="4046"/>
        </pc:sldMkLst>
        <pc:spChg chg="add del mod">
          <ac:chgData name="David Taylor" userId="d59421a2-ba2c-4629-8f26-3f69c0ffed32" providerId="ADAL" clId="{9280ADEE-A1D7-43FC-9258-13E9288FEE15}" dt="2021-08-26T14:59:06.674" v="1605" actId="20577"/>
          <ac:spMkLst>
            <pc:docMk/>
            <pc:sldMk cId="3523713484" sldId="4046"/>
            <ac:spMk id="2" creationId="{6E312898-0529-4B48-A13A-979A6D724A4E}"/>
          </ac:spMkLst>
        </pc:spChg>
        <pc:spChg chg="add del mod modVis">
          <ac:chgData name="David Taylor" userId="d59421a2-ba2c-4629-8f26-3f69c0ffed32" providerId="ADAL" clId="{9280ADEE-A1D7-43FC-9258-13E9288FEE15}" dt="2021-09-07T12:35:02.402" v="1844" actId="962"/>
          <ac:spMkLst>
            <pc:docMk/>
            <pc:sldMk cId="3523713484" sldId="4046"/>
            <ac:spMk id="3" creationId="{E0958A1B-03EB-46A1-A160-BB35A51E49D1}"/>
          </ac:spMkLst>
        </pc:spChg>
        <pc:spChg chg="mod ord">
          <ac:chgData name="David Taylor" userId="d59421a2-ba2c-4629-8f26-3f69c0ffed32" providerId="ADAL" clId="{9280ADEE-A1D7-43FC-9258-13E9288FEE15}" dt="2021-09-07T12:35:02.402" v="1846" actId="700"/>
          <ac:spMkLst>
            <pc:docMk/>
            <pc:sldMk cId="3523713484" sldId="4046"/>
            <ac:spMk id="5" creationId="{157472B1-7C6A-44A8-AAA1-FFE9DE3F9442}"/>
          </ac:spMkLst>
        </pc:spChg>
        <pc:spChg chg="del mod">
          <ac:chgData name="David Taylor" userId="d59421a2-ba2c-4629-8f26-3f69c0ffed32" providerId="ADAL" clId="{9280ADEE-A1D7-43FC-9258-13E9288FEE15}" dt="2021-08-26T14:50:44.549" v="979" actId="478"/>
          <ac:spMkLst>
            <pc:docMk/>
            <pc:sldMk cId="3523713484" sldId="4046"/>
            <ac:spMk id="11" creationId="{B139C962-3475-4B5C-9346-9886E71B64B3}"/>
          </ac:spMkLst>
        </pc:spChg>
        <pc:spChg chg="mod ord">
          <ac:chgData name="David Taylor" userId="d59421a2-ba2c-4629-8f26-3f69c0ffed32" providerId="ADAL" clId="{9280ADEE-A1D7-43FC-9258-13E9288FEE15}" dt="2021-09-07T12:35:02.402" v="1846" actId="700"/>
          <ac:spMkLst>
            <pc:docMk/>
            <pc:sldMk cId="3523713484" sldId="4046"/>
            <ac:spMk id="12" creationId="{E88545EC-E11E-4B4A-9168-0446DB1A0F68}"/>
          </ac:spMkLst>
        </pc:spChg>
        <pc:spChg chg="mod">
          <ac:chgData name="David Taylor" userId="d59421a2-ba2c-4629-8f26-3f69c0ffed32" providerId="ADAL" clId="{9280ADEE-A1D7-43FC-9258-13E9288FEE15}" dt="2021-08-26T14:40:47.714" v="394" actId="1076"/>
          <ac:spMkLst>
            <pc:docMk/>
            <pc:sldMk cId="3523713484" sldId="4046"/>
            <ac:spMk id="13" creationId="{D0723A27-6880-4476-9105-71B74936FCE1}"/>
          </ac:spMkLst>
        </pc:spChg>
        <pc:spChg chg="mod ord">
          <ac:chgData name="David Taylor" userId="d59421a2-ba2c-4629-8f26-3f69c0ffed32" providerId="ADAL" clId="{9280ADEE-A1D7-43FC-9258-13E9288FEE15}" dt="2021-09-07T12:35:02.402" v="1846" actId="700"/>
          <ac:spMkLst>
            <pc:docMk/>
            <pc:sldMk cId="3523713484" sldId="4046"/>
            <ac:spMk id="14" creationId="{42B6754A-DC97-4DCD-AAFB-430F69E674A9}"/>
          </ac:spMkLst>
        </pc:spChg>
        <pc:spChg chg="mod ord">
          <ac:chgData name="David Taylor" userId="d59421a2-ba2c-4629-8f26-3f69c0ffed32" providerId="ADAL" clId="{9280ADEE-A1D7-43FC-9258-13E9288FEE15}" dt="2021-09-07T12:35:02.402" v="1846" actId="700"/>
          <ac:spMkLst>
            <pc:docMk/>
            <pc:sldMk cId="3523713484" sldId="4046"/>
            <ac:spMk id="15" creationId="{110AC8C3-D7D7-4656-99A7-EB95276846D5}"/>
          </ac:spMkLst>
        </pc:spChg>
        <pc:spChg chg="mod ord">
          <ac:chgData name="David Taylor" userId="d59421a2-ba2c-4629-8f26-3f69c0ffed32" providerId="ADAL" clId="{9280ADEE-A1D7-43FC-9258-13E9288FEE15}" dt="2021-09-07T12:35:02.402" v="1846" actId="700"/>
          <ac:spMkLst>
            <pc:docMk/>
            <pc:sldMk cId="3523713484" sldId="4046"/>
            <ac:spMk id="16" creationId="{AA9EA31A-D359-4D1B-BB33-AE0A830029A3}"/>
          </ac:spMkLst>
        </pc:spChg>
        <pc:spChg chg="mod">
          <ac:chgData name="David Taylor" userId="d59421a2-ba2c-4629-8f26-3f69c0ffed32" providerId="ADAL" clId="{9280ADEE-A1D7-43FC-9258-13E9288FEE15}" dt="2021-08-26T14:50:38.963" v="978" actId="113"/>
          <ac:spMkLst>
            <pc:docMk/>
            <pc:sldMk cId="3523713484" sldId="4046"/>
            <ac:spMk id="17" creationId="{0E37BD71-4A39-4907-A4D1-9AAD76695988}"/>
          </ac:spMkLst>
        </pc:spChg>
        <pc:spChg chg="del mod">
          <ac:chgData name="David Taylor" userId="d59421a2-ba2c-4629-8f26-3f69c0ffed32" providerId="ADAL" clId="{9280ADEE-A1D7-43FC-9258-13E9288FEE15}" dt="2021-09-07T12:47:20.522" v="2148" actId="21"/>
          <ac:spMkLst>
            <pc:docMk/>
            <pc:sldMk cId="3523713484" sldId="4046"/>
            <ac:spMk id="18" creationId="{1F23CCD0-87F5-4F3B-85B6-A39470D8C36B}"/>
          </ac:spMkLst>
        </pc:spChg>
        <pc:spChg chg="del mod">
          <ac:chgData name="David Taylor" userId="d59421a2-ba2c-4629-8f26-3f69c0ffed32" providerId="ADAL" clId="{9280ADEE-A1D7-43FC-9258-13E9288FEE15}" dt="2021-09-07T12:47:20.522" v="2148" actId="21"/>
          <ac:spMkLst>
            <pc:docMk/>
            <pc:sldMk cId="3523713484" sldId="4046"/>
            <ac:spMk id="19" creationId="{420D29B4-236F-4AB5-9375-A04841708BB8}"/>
          </ac:spMkLst>
        </pc:spChg>
        <pc:graphicFrameChg chg="mod">
          <ac:chgData name="David Taylor" userId="d59421a2-ba2c-4629-8f26-3f69c0ffed32" providerId="ADAL" clId="{9280ADEE-A1D7-43FC-9258-13E9288FEE15}" dt="2021-09-07T12:35:02.422" v="1848"/>
          <ac:graphicFrameMkLst>
            <pc:docMk/>
            <pc:sldMk cId="3523713484" sldId="4046"/>
            <ac:graphicFrameMk id="24" creationId="{ADD8FECE-8F4C-4862-BCEE-3281A65408ED}"/>
          </ac:graphicFrameMkLst>
        </pc:graphicFrameChg>
      </pc:sldChg>
      <pc:sldChg chg="addSp delSp modSp mod">
        <pc:chgData name="David Taylor" userId="d59421a2-ba2c-4629-8f26-3f69c0ffed32" providerId="ADAL" clId="{9280ADEE-A1D7-43FC-9258-13E9288FEE15}" dt="2021-09-13T09:47:29.072" v="8842" actId="242"/>
        <pc:sldMkLst>
          <pc:docMk/>
          <pc:sldMk cId="3934256195" sldId="4069"/>
        </pc:sldMkLst>
        <pc:spChg chg="add del mod modVis">
          <ac:chgData name="David Taylor" userId="d59421a2-ba2c-4629-8f26-3f69c0ffed32" providerId="ADAL" clId="{9280ADEE-A1D7-43FC-9258-13E9288FEE15}" dt="2021-09-10T08:22:32.223" v="6118"/>
          <ac:spMkLst>
            <pc:docMk/>
            <pc:sldMk cId="3934256195" sldId="4069"/>
            <ac:spMk id="2" creationId="{0A63AA43-D52B-4EDB-B775-87200CC15B85}"/>
          </ac:spMkLst>
        </pc:spChg>
        <pc:spChg chg="add del mod modVis">
          <ac:chgData name="David Taylor" userId="d59421a2-ba2c-4629-8f26-3f69c0ffed32" providerId="ADAL" clId="{9280ADEE-A1D7-43FC-9258-13E9288FEE15}" dt="2021-09-07T13:37:43.944" v="5059"/>
          <ac:spMkLst>
            <pc:docMk/>
            <pc:sldMk cId="3934256195" sldId="4069"/>
            <ac:spMk id="2" creationId="{3542B68A-A74F-4063-A9A9-B9A52086C108}"/>
          </ac:spMkLst>
        </pc:spChg>
        <pc:spChg chg="mod ord">
          <ac:chgData name="David Taylor" userId="d59421a2-ba2c-4629-8f26-3f69c0ffed32" providerId="ADAL" clId="{9280ADEE-A1D7-43FC-9258-13E9288FEE15}" dt="2021-09-10T08:26:02.136" v="7918"/>
          <ac:spMkLst>
            <pc:docMk/>
            <pc:sldMk cId="3934256195" sldId="4069"/>
            <ac:spMk id="3" creationId="{1416FCAF-B41F-44D0-A156-3883AE164BAF}"/>
          </ac:spMkLst>
        </pc:spChg>
        <pc:spChg chg="add del mod">
          <ac:chgData name="David Taylor" userId="d59421a2-ba2c-4629-8f26-3f69c0ffed32" providerId="ADAL" clId="{9280ADEE-A1D7-43FC-9258-13E9288FEE15}" dt="2021-09-10T08:22:25.933" v="5630" actId="478"/>
          <ac:spMkLst>
            <pc:docMk/>
            <pc:sldMk cId="3934256195" sldId="4069"/>
            <ac:spMk id="4" creationId="{FB411838-25CA-423D-BAA4-E9BED2CE2567}"/>
          </ac:spMkLst>
        </pc:spChg>
        <pc:spChg chg="add del mod modVis">
          <ac:chgData name="David Taylor" userId="d59421a2-ba2c-4629-8f26-3f69c0ffed32" providerId="ADAL" clId="{9280ADEE-A1D7-43FC-9258-13E9288FEE15}" dt="2021-09-07T13:39:23.841" v="5461"/>
          <ac:spMkLst>
            <pc:docMk/>
            <pc:sldMk cId="3934256195" sldId="4069"/>
            <ac:spMk id="5" creationId="{C32F76D0-6C5D-4281-8AEA-854FA0B9BB6B}"/>
          </ac:spMkLst>
        </pc:spChg>
        <pc:spChg chg="add del mod modVis">
          <ac:chgData name="David Taylor" userId="d59421a2-ba2c-4629-8f26-3f69c0ffed32" providerId="ADAL" clId="{9280ADEE-A1D7-43FC-9258-13E9288FEE15}" dt="2021-09-10T08:22:34.346" v="6384"/>
          <ac:spMkLst>
            <pc:docMk/>
            <pc:sldMk cId="3934256195" sldId="4069"/>
            <ac:spMk id="5" creationId="{D51CBA2F-0762-4493-B355-F74BE545C546}"/>
          </ac:spMkLst>
        </pc:spChg>
        <pc:spChg chg="mod ord">
          <ac:chgData name="David Taylor" userId="d59421a2-ba2c-4629-8f26-3f69c0ffed32" providerId="ADAL" clId="{9280ADEE-A1D7-43FC-9258-13E9288FEE15}" dt="2021-09-10T09:06:14.467" v="8793" actId="948"/>
          <ac:spMkLst>
            <pc:docMk/>
            <pc:sldMk cId="3934256195" sldId="4069"/>
            <ac:spMk id="6" creationId="{B7FE6929-531D-4F05-902E-A45ACC12C34A}"/>
          </ac:spMkLst>
        </pc:spChg>
        <pc:spChg chg="add mod ord replST">
          <ac:chgData name="David Taylor" userId="d59421a2-ba2c-4629-8f26-3f69c0ffed32" providerId="ADAL" clId="{9280ADEE-A1D7-43FC-9258-13E9288FEE15}" dt="2021-09-10T08:26:02.152" v="8000"/>
          <ac:spMkLst>
            <pc:docMk/>
            <pc:sldMk cId="3934256195" sldId="4069"/>
            <ac:spMk id="7" creationId="{B790BE2A-F3F0-48C6-9B35-E0D5B64820DD}"/>
          </ac:spMkLst>
        </pc:spChg>
        <pc:spChg chg="mod ord">
          <ac:chgData name="David Taylor" userId="d59421a2-ba2c-4629-8f26-3f69c0ffed32" providerId="ADAL" clId="{9280ADEE-A1D7-43FC-9258-13E9288FEE15}" dt="2021-09-10T08:26:02.136" v="7926"/>
          <ac:spMkLst>
            <pc:docMk/>
            <pc:sldMk cId="3934256195" sldId="4069"/>
            <ac:spMk id="8" creationId="{F1313CC7-B002-40A2-9007-4C04D7DA9908}"/>
          </ac:spMkLst>
        </pc:spChg>
        <pc:spChg chg="mod ord">
          <ac:chgData name="David Taylor" userId="d59421a2-ba2c-4629-8f26-3f69c0ffed32" providerId="ADAL" clId="{9280ADEE-A1D7-43FC-9258-13E9288FEE15}" dt="2021-09-10T08:26:02.136" v="7920"/>
          <ac:spMkLst>
            <pc:docMk/>
            <pc:sldMk cId="3934256195" sldId="4069"/>
            <ac:spMk id="9" creationId="{C9A011CE-CB56-44F9-A5DC-3865AC07DA56}"/>
          </ac:spMkLst>
        </pc:spChg>
        <pc:spChg chg="mod ord">
          <ac:chgData name="David Taylor" userId="d59421a2-ba2c-4629-8f26-3f69c0ffed32" providerId="ADAL" clId="{9280ADEE-A1D7-43FC-9258-13E9288FEE15}" dt="2021-09-10T08:26:02.136" v="7924"/>
          <ac:spMkLst>
            <pc:docMk/>
            <pc:sldMk cId="3934256195" sldId="4069"/>
            <ac:spMk id="10" creationId="{0B8060AA-EDF2-469A-9D02-CBADE2B73CA5}"/>
          </ac:spMkLst>
        </pc:spChg>
        <pc:spChg chg="add mod ord replST">
          <ac:chgData name="David Taylor" userId="d59421a2-ba2c-4629-8f26-3f69c0ffed32" providerId="ADAL" clId="{9280ADEE-A1D7-43FC-9258-13E9288FEE15}" dt="2021-09-10T09:06:14.483" v="8809"/>
          <ac:spMkLst>
            <pc:docMk/>
            <pc:sldMk cId="3934256195" sldId="4069"/>
            <ac:spMk id="11" creationId="{CB6170AF-937A-439C-A759-A000506F6DFD}"/>
          </ac:spMkLst>
        </pc:spChg>
        <pc:spChg chg="add del mod modVis">
          <ac:chgData name="David Taylor" userId="d59421a2-ba2c-4629-8f26-3f69c0ffed32" providerId="ADAL" clId="{9280ADEE-A1D7-43FC-9258-13E9288FEE15}" dt="2021-09-10T08:25:58.569" v="7745"/>
          <ac:spMkLst>
            <pc:docMk/>
            <pc:sldMk cId="3934256195" sldId="4069"/>
            <ac:spMk id="13" creationId="{84838EC7-EB25-4BAB-B90E-BA7AF68E8504}"/>
          </ac:spMkLst>
        </pc:spChg>
        <pc:spChg chg="add del mod modVis">
          <ac:chgData name="David Taylor" userId="d59421a2-ba2c-4629-8f26-3f69c0ffed32" providerId="ADAL" clId="{9280ADEE-A1D7-43FC-9258-13E9288FEE15}" dt="2021-09-10T08:26:02.168" v="8021"/>
          <ac:spMkLst>
            <pc:docMk/>
            <pc:sldMk cId="3934256195" sldId="4069"/>
            <ac:spMk id="14" creationId="{011AE010-3E1E-4218-81D7-F76FBBA6132D}"/>
          </ac:spMkLst>
        </pc:spChg>
        <pc:spChg chg="add mod">
          <ac:chgData name="David Taylor" userId="d59421a2-ba2c-4629-8f26-3f69c0ffed32" providerId="ADAL" clId="{9280ADEE-A1D7-43FC-9258-13E9288FEE15}" dt="2021-09-13T09:47:29.072" v="8842" actId="242"/>
          <ac:spMkLst>
            <pc:docMk/>
            <pc:sldMk cId="3934256195" sldId="4069"/>
            <ac:spMk id="15" creationId="{ECC24E3D-83E4-4089-8A3C-0CA860122A4C}"/>
          </ac:spMkLst>
        </pc:spChg>
        <pc:spChg chg="add mod replST">
          <ac:chgData name="David Taylor" userId="d59421a2-ba2c-4629-8f26-3f69c0ffed32" providerId="ADAL" clId="{9280ADEE-A1D7-43FC-9258-13E9288FEE15}" dt="2021-09-07T13:37:43.944" v="5059"/>
          <ac:spMkLst>
            <pc:docMk/>
            <pc:sldMk cId="3934256195" sldId="4069"/>
            <ac:spMk id="70" creationId="{146F2042-0877-4A07-8205-4DAF39756A49}"/>
          </ac:spMkLst>
        </pc:spChg>
        <pc:spChg chg="add mod replST">
          <ac:chgData name="David Taylor" userId="d59421a2-ba2c-4629-8f26-3f69c0ffed32" providerId="ADAL" clId="{9280ADEE-A1D7-43FC-9258-13E9288FEE15}" dt="2021-09-10T09:06:14.467" v="8794"/>
          <ac:spMkLst>
            <pc:docMk/>
            <pc:sldMk cId="3934256195" sldId="4069"/>
            <ac:spMk id="71" creationId="{B9029AE9-1A71-422A-ACA8-C7E77DDB43E8}"/>
          </ac:spMkLst>
        </pc:spChg>
        <pc:spChg chg="add mod replST">
          <ac:chgData name="David Taylor" userId="d59421a2-ba2c-4629-8f26-3f69c0ffed32" providerId="ADAL" clId="{9280ADEE-A1D7-43FC-9258-13E9288FEE15}" dt="2021-09-10T09:06:14.467" v="8796"/>
          <ac:spMkLst>
            <pc:docMk/>
            <pc:sldMk cId="3934256195" sldId="4069"/>
            <ac:spMk id="73" creationId="{8ED6D19F-408B-4DBB-B19E-BFB8DCDE1D68}"/>
          </ac:spMkLst>
        </pc:spChg>
        <pc:spChg chg="add mod ord replST delST">
          <ac:chgData name="David Taylor" userId="d59421a2-ba2c-4629-8f26-3f69c0ffed32" providerId="ADAL" clId="{9280ADEE-A1D7-43FC-9258-13E9288FEE15}" dt="2021-09-10T08:25:58.569" v="7745"/>
          <ac:spMkLst>
            <pc:docMk/>
            <pc:sldMk cId="3934256195" sldId="4069"/>
            <ac:spMk id="77" creationId="{9F9869AF-B0F6-4E89-B216-4EC18C7334C2}"/>
          </ac:spMkLst>
        </pc:spChg>
        <pc:spChg chg="mod">
          <ac:chgData name="David Taylor" userId="d59421a2-ba2c-4629-8f26-3f69c0ffed32" providerId="ADAL" clId="{9280ADEE-A1D7-43FC-9258-13E9288FEE15}" dt="2021-09-10T09:06:14.483" v="8802"/>
          <ac:spMkLst>
            <pc:docMk/>
            <pc:sldMk cId="3934256195" sldId="4069"/>
            <ac:spMk id="300" creationId="{E1FC29B3-17E1-431F-82E1-0CD8B09295B1}"/>
          </ac:spMkLst>
        </pc:spChg>
        <pc:spChg chg="mod">
          <ac:chgData name="David Taylor" userId="d59421a2-ba2c-4629-8f26-3f69c0ffed32" providerId="ADAL" clId="{9280ADEE-A1D7-43FC-9258-13E9288FEE15}" dt="2021-09-10T09:06:14.483" v="8800"/>
          <ac:spMkLst>
            <pc:docMk/>
            <pc:sldMk cId="3934256195" sldId="4069"/>
            <ac:spMk id="302" creationId="{88A4C6B3-E45A-4643-B592-AD0C1AC98B0E}"/>
          </ac:spMkLst>
        </pc:spChg>
        <pc:spChg chg="mod">
          <ac:chgData name="David Taylor" userId="d59421a2-ba2c-4629-8f26-3f69c0ffed32" providerId="ADAL" clId="{9280ADEE-A1D7-43FC-9258-13E9288FEE15}" dt="2021-09-10T09:06:14.467" v="8795"/>
          <ac:spMkLst>
            <pc:docMk/>
            <pc:sldMk cId="3934256195" sldId="4069"/>
            <ac:spMk id="303" creationId="{5D6886B6-F50D-427C-855A-DE9D1E05EC15}"/>
          </ac:spMkLst>
        </pc:spChg>
        <pc:spChg chg="mod">
          <ac:chgData name="David Taylor" userId="d59421a2-ba2c-4629-8f26-3f69c0ffed32" providerId="ADAL" clId="{9280ADEE-A1D7-43FC-9258-13E9288FEE15}" dt="2021-09-10T09:06:14.483" v="8805"/>
          <ac:spMkLst>
            <pc:docMk/>
            <pc:sldMk cId="3934256195" sldId="4069"/>
            <ac:spMk id="304" creationId="{B7E4CDDA-4466-4CEB-B731-54DA4C4BE39F}"/>
          </ac:spMkLst>
        </pc:spChg>
        <pc:spChg chg="mod">
          <ac:chgData name="David Taylor" userId="d59421a2-ba2c-4629-8f26-3f69c0ffed32" providerId="ADAL" clId="{9280ADEE-A1D7-43FC-9258-13E9288FEE15}" dt="2021-09-10T09:06:14.483" v="8797"/>
          <ac:spMkLst>
            <pc:docMk/>
            <pc:sldMk cId="3934256195" sldId="4069"/>
            <ac:spMk id="305" creationId="{D0065400-F434-4C17-8CFC-8C5A0E648118}"/>
          </ac:spMkLst>
        </pc:spChg>
        <pc:spChg chg="mod">
          <ac:chgData name="David Taylor" userId="d59421a2-ba2c-4629-8f26-3f69c0ffed32" providerId="ADAL" clId="{9280ADEE-A1D7-43FC-9258-13E9288FEE15}" dt="2021-09-10T09:06:14.483" v="8798"/>
          <ac:spMkLst>
            <pc:docMk/>
            <pc:sldMk cId="3934256195" sldId="4069"/>
            <ac:spMk id="306" creationId="{C18607EE-24AA-44DC-A005-D60D7AED5FF2}"/>
          </ac:spMkLst>
        </pc:spChg>
        <pc:spChg chg="mod">
          <ac:chgData name="David Taylor" userId="d59421a2-ba2c-4629-8f26-3f69c0ffed32" providerId="ADAL" clId="{9280ADEE-A1D7-43FC-9258-13E9288FEE15}" dt="2021-09-10T09:06:14.483" v="8801"/>
          <ac:spMkLst>
            <pc:docMk/>
            <pc:sldMk cId="3934256195" sldId="4069"/>
            <ac:spMk id="307" creationId="{1CDFA602-73D3-4749-9EB1-03891B2B14BC}"/>
          </ac:spMkLst>
        </pc:spChg>
        <pc:spChg chg="mod">
          <ac:chgData name="David Taylor" userId="d59421a2-ba2c-4629-8f26-3f69c0ffed32" providerId="ADAL" clId="{9280ADEE-A1D7-43FC-9258-13E9288FEE15}" dt="2021-09-10T09:06:14.483" v="8803"/>
          <ac:spMkLst>
            <pc:docMk/>
            <pc:sldMk cId="3934256195" sldId="4069"/>
            <ac:spMk id="316" creationId="{7A265380-B0A7-48F6-9035-35E1DB62970B}"/>
          </ac:spMkLst>
        </pc:spChg>
        <pc:spChg chg="mod">
          <ac:chgData name="David Taylor" userId="d59421a2-ba2c-4629-8f26-3f69c0ffed32" providerId="ADAL" clId="{9280ADEE-A1D7-43FC-9258-13E9288FEE15}" dt="2021-09-10T09:06:14.483" v="8804"/>
          <ac:spMkLst>
            <pc:docMk/>
            <pc:sldMk cId="3934256195" sldId="4069"/>
            <ac:spMk id="318" creationId="{852AE061-06DC-4C3A-A02B-9CC2CA6DB727}"/>
          </ac:spMkLst>
        </pc:spChg>
        <pc:spChg chg="mod">
          <ac:chgData name="David Taylor" userId="d59421a2-ba2c-4629-8f26-3f69c0ffed32" providerId="ADAL" clId="{9280ADEE-A1D7-43FC-9258-13E9288FEE15}" dt="2021-09-10T09:06:14.498" v="8817"/>
          <ac:spMkLst>
            <pc:docMk/>
            <pc:sldMk cId="3934256195" sldId="4069"/>
            <ac:spMk id="370" creationId="{A901F6E5-CCF3-4C93-9FE1-A4210455C41E}"/>
          </ac:spMkLst>
        </pc:spChg>
        <pc:spChg chg="mod">
          <ac:chgData name="David Taylor" userId="d59421a2-ba2c-4629-8f26-3f69c0ffed32" providerId="ADAL" clId="{9280ADEE-A1D7-43FC-9258-13E9288FEE15}" dt="2021-09-10T09:06:14.498" v="8818"/>
          <ac:spMkLst>
            <pc:docMk/>
            <pc:sldMk cId="3934256195" sldId="4069"/>
            <ac:spMk id="371" creationId="{4E55687B-D9F4-4950-93B5-FD34F55E3670}"/>
          </ac:spMkLst>
        </pc:spChg>
        <pc:spChg chg="mod">
          <ac:chgData name="David Taylor" userId="d59421a2-ba2c-4629-8f26-3f69c0ffed32" providerId="ADAL" clId="{9280ADEE-A1D7-43FC-9258-13E9288FEE15}" dt="2021-09-10T09:06:14.498" v="8819"/>
          <ac:spMkLst>
            <pc:docMk/>
            <pc:sldMk cId="3934256195" sldId="4069"/>
            <ac:spMk id="372" creationId="{A70118E2-5817-4BCB-8198-580A860F8673}"/>
          </ac:spMkLst>
        </pc:spChg>
        <pc:spChg chg="mod">
          <ac:chgData name="David Taylor" userId="d59421a2-ba2c-4629-8f26-3f69c0ffed32" providerId="ADAL" clId="{9280ADEE-A1D7-43FC-9258-13E9288FEE15}" dt="2021-09-10T09:06:14.498" v="8820"/>
          <ac:spMkLst>
            <pc:docMk/>
            <pc:sldMk cId="3934256195" sldId="4069"/>
            <ac:spMk id="373" creationId="{F2938D5C-689F-4A2C-9182-0E6A42A61015}"/>
          </ac:spMkLst>
        </pc:spChg>
        <pc:spChg chg="mod">
          <ac:chgData name="David Taylor" userId="d59421a2-ba2c-4629-8f26-3f69c0ffed32" providerId="ADAL" clId="{9280ADEE-A1D7-43FC-9258-13E9288FEE15}" dt="2021-09-10T09:06:14.498" v="8821"/>
          <ac:spMkLst>
            <pc:docMk/>
            <pc:sldMk cId="3934256195" sldId="4069"/>
            <ac:spMk id="374" creationId="{F93A9BFE-429E-4D28-9536-C5AEF3D8EC42}"/>
          </ac:spMkLst>
        </pc:spChg>
        <pc:spChg chg="mod">
          <ac:chgData name="David Taylor" userId="d59421a2-ba2c-4629-8f26-3f69c0ffed32" providerId="ADAL" clId="{9280ADEE-A1D7-43FC-9258-13E9288FEE15}" dt="2021-09-10T09:06:14.498" v="8822"/>
          <ac:spMkLst>
            <pc:docMk/>
            <pc:sldMk cId="3934256195" sldId="4069"/>
            <ac:spMk id="375" creationId="{FC730F33-D9E7-432F-B1A4-4FDE1BBDFC6E}"/>
          </ac:spMkLst>
        </pc:spChg>
        <pc:spChg chg="mod">
          <ac:chgData name="David Taylor" userId="d59421a2-ba2c-4629-8f26-3f69c0ffed32" providerId="ADAL" clId="{9280ADEE-A1D7-43FC-9258-13E9288FEE15}" dt="2021-09-10T09:06:14.498" v="8823"/>
          <ac:spMkLst>
            <pc:docMk/>
            <pc:sldMk cId="3934256195" sldId="4069"/>
            <ac:spMk id="376" creationId="{2AA57A0C-63F3-4F72-834B-748B4DF16F44}"/>
          </ac:spMkLst>
        </pc:spChg>
        <pc:spChg chg="mod">
          <ac:chgData name="David Taylor" userId="d59421a2-ba2c-4629-8f26-3f69c0ffed32" providerId="ADAL" clId="{9280ADEE-A1D7-43FC-9258-13E9288FEE15}" dt="2021-09-10T09:06:14.498" v="8824"/>
          <ac:spMkLst>
            <pc:docMk/>
            <pc:sldMk cId="3934256195" sldId="4069"/>
            <ac:spMk id="377" creationId="{6FE1D227-CD8B-49B7-AF66-27240E8605C0}"/>
          </ac:spMkLst>
        </pc:spChg>
        <pc:spChg chg="mod">
          <ac:chgData name="David Taylor" userId="d59421a2-ba2c-4629-8f26-3f69c0ffed32" providerId="ADAL" clId="{9280ADEE-A1D7-43FC-9258-13E9288FEE15}" dt="2021-09-10T09:06:14.498" v="8825"/>
          <ac:spMkLst>
            <pc:docMk/>
            <pc:sldMk cId="3934256195" sldId="4069"/>
            <ac:spMk id="378" creationId="{77605E41-AA5F-42A8-9C0C-AA27AA8E3107}"/>
          </ac:spMkLst>
        </pc:spChg>
        <pc:spChg chg="mod">
          <ac:chgData name="David Taylor" userId="d59421a2-ba2c-4629-8f26-3f69c0ffed32" providerId="ADAL" clId="{9280ADEE-A1D7-43FC-9258-13E9288FEE15}" dt="2021-09-10T09:06:14.498" v="8826"/>
          <ac:spMkLst>
            <pc:docMk/>
            <pc:sldMk cId="3934256195" sldId="4069"/>
            <ac:spMk id="379" creationId="{F4D9CC93-0AE9-474C-B9DA-EB89DDF8D9B0}"/>
          </ac:spMkLst>
        </pc:spChg>
        <pc:spChg chg="mod">
          <ac:chgData name="David Taylor" userId="d59421a2-ba2c-4629-8f26-3f69c0ffed32" providerId="ADAL" clId="{9280ADEE-A1D7-43FC-9258-13E9288FEE15}" dt="2021-09-10T09:06:14.498" v="8827"/>
          <ac:spMkLst>
            <pc:docMk/>
            <pc:sldMk cId="3934256195" sldId="4069"/>
            <ac:spMk id="380" creationId="{A8C879CD-E7B9-4BA6-90E3-21251E0BDAB9}"/>
          </ac:spMkLst>
        </pc:spChg>
        <pc:spChg chg="mod">
          <ac:chgData name="David Taylor" userId="d59421a2-ba2c-4629-8f26-3f69c0ffed32" providerId="ADAL" clId="{9280ADEE-A1D7-43FC-9258-13E9288FEE15}" dt="2021-09-10T09:06:14.498" v="8828"/>
          <ac:spMkLst>
            <pc:docMk/>
            <pc:sldMk cId="3934256195" sldId="4069"/>
            <ac:spMk id="381" creationId="{E0B41B33-2150-4359-8956-10C5CFED2176}"/>
          </ac:spMkLst>
        </pc:spChg>
        <pc:spChg chg="mod">
          <ac:chgData name="David Taylor" userId="d59421a2-ba2c-4629-8f26-3f69c0ffed32" providerId="ADAL" clId="{9280ADEE-A1D7-43FC-9258-13E9288FEE15}" dt="2021-09-10T09:06:14.498" v="8829"/>
          <ac:spMkLst>
            <pc:docMk/>
            <pc:sldMk cId="3934256195" sldId="4069"/>
            <ac:spMk id="382" creationId="{3088C543-F10F-4A61-A7DB-1B15E48C5A2E}"/>
          </ac:spMkLst>
        </pc:spChg>
        <pc:spChg chg="mod">
          <ac:chgData name="David Taylor" userId="d59421a2-ba2c-4629-8f26-3f69c0ffed32" providerId="ADAL" clId="{9280ADEE-A1D7-43FC-9258-13E9288FEE15}" dt="2021-09-10T09:06:14.498" v="8830"/>
          <ac:spMkLst>
            <pc:docMk/>
            <pc:sldMk cId="3934256195" sldId="4069"/>
            <ac:spMk id="383" creationId="{7ADE4A9B-5CB6-462A-A7DF-5C278CF67C75}"/>
          </ac:spMkLst>
        </pc:spChg>
        <pc:spChg chg="mod">
          <ac:chgData name="David Taylor" userId="d59421a2-ba2c-4629-8f26-3f69c0ffed32" providerId="ADAL" clId="{9280ADEE-A1D7-43FC-9258-13E9288FEE15}" dt="2021-09-10T09:06:14.498" v="8831"/>
          <ac:spMkLst>
            <pc:docMk/>
            <pc:sldMk cId="3934256195" sldId="4069"/>
            <ac:spMk id="384" creationId="{E9F223C5-E227-4C81-976E-BABE3E9FDAF5}"/>
          </ac:spMkLst>
        </pc:spChg>
        <pc:spChg chg="mod">
          <ac:chgData name="David Taylor" userId="d59421a2-ba2c-4629-8f26-3f69c0ffed32" providerId="ADAL" clId="{9280ADEE-A1D7-43FC-9258-13E9288FEE15}" dt="2021-09-10T09:06:14.498" v="8832"/>
          <ac:spMkLst>
            <pc:docMk/>
            <pc:sldMk cId="3934256195" sldId="4069"/>
            <ac:spMk id="385" creationId="{ABCB6316-D71E-411C-96CD-554F5933BAE6}"/>
          </ac:spMkLst>
        </pc:spChg>
        <pc:spChg chg="mod">
          <ac:chgData name="David Taylor" userId="d59421a2-ba2c-4629-8f26-3f69c0ffed32" providerId="ADAL" clId="{9280ADEE-A1D7-43FC-9258-13E9288FEE15}" dt="2021-09-10T09:06:14.498" v="8833"/>
          <ac:spMkLst>
            <pc:docMk/>
            <pc:sldMk cId="3934256195" sldId="4069"/>
            <ac:spMk id="386" creationId="{76838031-C646-4D15-A1DA-875DEC93F514}"/>
          </ac:spMkLst>
        </pc:spChg>
        <pc:spChg chg="mod">
          <ac:chgData name="David Taylor" userId="d59421a2-ba2c-4629-8f26-3f69c0ffed32" providerId="ADAL" clId="{9280ADEE-A1D7-43FC-9258-13E9288FEE15}" dt="2021-09-10T09:06:14.498" v="8834"/>
          <ac:spMkLst>
            <pc:docMk/>
            <pc:sldMk cId="3934256195" sldId="4069"/>
            <ac:spMk id="387" creationId="{6876D980-E81B-4837-8829-7790E164AC00}"/>
          </ac:spMkLst>
        </pc:spChg>
        <pc:spChg chg="mod">
          <ac:chgData name="David Taylor" userId="d59421a2-ba2c-4629-8f26-3f69c0ffed32" providerId="ADAL" clId="{9280ADEE-A1D7-43FC-9258-13E9288FEE15}" dt="2021-09-10T09:06:14.514" v="8835"/>
          <ac:spMkLst>
            <pc:docMk/>
            <pc:sldMk cId="3934256195" sldId="4069"/>
            <ac:spMk id="388" creationId="{E44038A8-C883-4464-A09B-9FAE1617DD4E}"/>
          </ac:spMkLst>
        </pc:spChg>
        <pc:spChg chg="mod">
          <ac:chgData name="David Taylor" userId="d59421a2-ba2c-4629-8f26-3f69c0ffed32" providerId="ADAL" clId="{9280ADEE-A1D7-43FC-9258-13E9288FEE15}" dt="2021-09-10T09:06:14.514" v="8836"/>
          <ac:spMkLst>
            <pc:docMk/>
            <pc:sldMk cId="3934256195" sldId="4069"/>
            <ac:spMk id="389" creationId="{7ACB8340-E229-4EF4-BDE7-32072DAEF4E1}"/>
          </ac:spMkLst>
        </pc:spChg>
        <pc:spChg chg="mod">
          <ac:chgData name="David Taylor" userId="d59421a2-ba2c-4629-8f26-3f69c0ffed32" providerId="ADAL" clId="{9280ADEE-A1D7-43FC-9258-13E9288FEE15}" dt="2021-09-10T09:06:14.514" v="8837"/>
          <ac:spMkLst>
            <pc:docMk/>
            <pc:sldMk cId="3934256195" sldId="4069"/>
            <ac:spMk id="390" creationId="{C23077DA-9F8B-422E-9FB0-FE167B6E55DD}"/>
          </ac:spMkLst>
        </pc:spChg>
        <pc:spChg chg="mod">
          <ac:chgData name="David Taylor" userId="d59421a2-ba2c-4629-8f26-3f69c0ffed32" providerId="ADAL" clId="{9280ADEE-A1D7-43FC-9258-13E9288FEE15}" dt="2021-09-10T09:06:14.514" v="8838"/>
          <ac:spMkLst>
            <pc:docMk/>
            <pc:sldMk cId="3934256195" sldId="4069"/>
            <ac:spMk id="391" creationId="{1FC5E8CA-9F64-4BFD-B868-AA93D23329D1}"/>
          </ac:spMkLst>
        </pc:spChg>
        <pc:spChg chg="mod">
          <ac:chgData name="David Taylor" userId="d59421a2-ba2c-4629-8f26-3f69c0ffed32" providerId="ADAL" clId="{9280ADEE-A1D7-43FC-9258-13E9288FEE15}" dt="2021-09-10T09:06:14.498" v="8811"/>
          <ac:spMkLst>
            <pc:docMk/>
            <pc:sldMk cId="3934256195" sldId="4069"/>
            <ac:spMk id="393" creationId="{3722657B-9841-492C-89A9-F882E10365D2}"/>
          </ac:spMkLst>
        </pc:spChg>
        <pc:spChg chg="mod">
          <ac:chgData name="David Taylor" userId="d59421a2-ba2c-4629-8f26-3f69c0ffed32" providerId="ADAL" clId="{9280ADEE-A1D7-43FC-9258-13E9288FEE15}" dt="2021-09-10T09:06:14.498" v="8812"/>
          <ac:spMkLst>
            <pc:docMk/>
            <pc:sldMk cId="3934256195" sldId="4069"/>
            <ac:spMk id="394" creationId="{7FCE7908-C6EB-40F5-9A38-4552131C6EE6}"/>
          </ac:spMkLst>
        </pc:spChg>
        <pc:spChg chg="mod">
          <ac:chgData name="David Taylor" userId="d59421a2-ba2c-4629-8f26-3f69c0ffed32" providerId="ADAL" clId="{9280ADEE-A1D7-43FC-9258-13E9288FEE15}" dt="2021-09-10T09:06:14.498" v="8813"/>
          <ac:spMkLst>
            <pc:docMk/>
            <pc:sldMk cId="3934256195" sldId="4069"/>
            <ac:spMk id="395" creationId="{B94223A1-3D6F-4189-918E-833B862206B6}"/>
          </ac:spMkLst>
        </pc:spChg>
        <pc:spChg chg="mod">
          <ac:chgData name="David Taylor" userId="d59421a2-ba2c-4629-8f26-3f69c0ffed32" providerId="ADAL" clId="{9280ADEE-A1D7-43FC-9258-13E9288FEE15}" dt="2021-09-10T09:06:14.498" v="8814"/>
          <ac:spMkLst>
            <pc:docMk/>
            <pc:sldMk cId="3934256195" sldId="4069"/>
            <ac:spMk id="396" creationId="{A9ABF2D5-D4DB-406E-9528-A1B460CEEDAB}"/>
          </ac:spMkLst>
        </pc:spChg>
        <pc:spChg chg="mod">
          <ac:chgData name="David Taylor" userId="d59421a2-ba2c-4629-8f26-3f69c0ffed32" providerId="ADAL" clId="{9280ADEE-A1D7-43FC-9258-13E9288FEE15}" dt="2021-09-10T09:06:14.498" v="8815"/>
          <ac:spMkLst>
            <pc:docMk/>
            <pc:sldMk cId="3934256195" sldId="4069"/>
            <ac:spMk id="397" creationId="{83A3D45C-AB28-4005-92FE-6CB119AA4879}"/>
          </ac:spMkLst>
        </pc:spChg>
        <pc:spChg chg="mod">
          <ac:chgData name="David Taylor" userId="d59421a2-ba2c-4629-8f26-3f69c0ffed32" providerId="ADAL" clId="{9280ADEE-A1D7-43FC-9258-13E9288FEE15}" dt="2021-09-10T09:06:14.483" v="8810"/>
          <ac:spMkLst>
            <pc:docMk/>
            <pc:sldMk cId="3934256195" sldId="4069"/>
            <ac:spMk id="399" creationId="{50589E48-4BFD-49A6-8109-0DE4B8F1F1A0}"/>
          </ac:spMkLst>
        </pc:spChg>
        <pc:spChg chg="mod ord">
          <ac:chgData name="David Taylor" userId="d59421a2-ba2c-4629-8f26-3f69c0ffed32" providerId="ADAL" clId="{9280ADEE-A1D7-43FC-9258-13E9288FEE15}" dt="2021-09-10T09:06:07.161" v="8760"/>
          <ac:spMkLst>
            <pc:docMk/>
            <pc:sldMk cId="3934256195" sldId="4069"/>
            <ac:spMk id="431" creationId="{194AA341-5F29-455A-826E-E7D4EF41ED6C}"/>
          </ac:spMkLst>
        </pc:spChg>
        <pc:spChg chg="mod ord">
          <ac:chgData name="David Taylor" userId="d59421a2-ba2c-4629-8f26-3f69c0ffed32" providerId="ADAL" clId="{9280ADEE-A1D7-43FC-9258-13E9288FEE15}" dt="2021-09-10T08:26:02.152" v="7986"/>
          <ac:spMkLst>
            <pc:docMk/>
            <pc:sldMk cId="3934256195" sldId="4069"/>
            <ac:spMk id="432" creationId="{A5404474-C4E5-42B3-9BEF-2E30C8E0313C}"/>
          </ac:spMkLst>
        </pc:spChg>
        <pc:spChg chg="mod ord">
          <ac:chgData name="David Taylor" userId="d59421a2-ba2c-4629-8f26-3f69c0ffed32" providerId="ADAL" clId="{9280ADEE-A1D7-43FC-9258-13E9288FEE15}" dt="2021-09-10T08:26:02.152" v="7988"/>
          <ac:spMkLst>
            <pc:docMk/>
            <pc:sldMk cId="3934256195" sldId="4069"/>
            <ac:spMk id="433" creationId="{EBC78F5D-0984-4573-992E-A46FBE4512FC}"/>
          </ac:spMkLst>
        </pc:spChg>
        <pc:spChg chg="mod ord">
          <ac:chgData name="David Taylor" userId="d59421a2-ba2c-4629-8f26-3f69c0ffed32" providerId="ADAL" clId="{9280ADEE-A1D7-43FC-9258-13E9288FEE15}" dt="2021-09-10T08:26:02.152" v="7990"/>
          <ac:spMkLst>
            <pc:docMk/>
            <pc:sldMk cId="3934256195" sldId="4069"/>
            <ac:spMk id="435" creationId="{87C310E1-697A-421E-9853-F3303A212020}"/>
          </ac:spMkLst>
        </pc:spChg>
        <pc:spChg chg="mod ord">
          <ac:chgData name="David Taylor" userId="d59421a2-ba2c-4629-8f26-3f69c0ffed32" providerId="ADAL" clId="{9280ADEE-A1D7-43FC-9258-13E9288FEE15}" dt="2021-09-10T08:26:02.152" v="7982"/>
          <ac:spMkLst>
            <pc:docMk/>
            <pc:sldMk cId="3934256195" sldId="4069"/>
            <ac:spMk id="436" creationId="{BD49F521-0740-4325-925D-11789AF325C1}"/>
          </ac:spMkLst>
        </pc:spChg>
        <pc:spChg chg="mod">
          <ac:chgData name="David Taylor" userId="d59421a2-ba2c-4629-8f26-3f69c0ffed32" providerId="ADAL" clId="{9280ADEE-A1D7-43FC-9258-13E9288FEE15}" dt="2021-09-10T09:06:14.483" v="8799"/>
          <ac:spMkLst>
            <pc:docMk/>
            <pc:sldMk cId="3934256195" sldId="4069"/>
            <ac:spMk id="440" creationId="{D0A1A28C-443D-4A48-885B-744B633114B5}"/>
          </ac:spMkLst>
        </pc:spChg>
        <pc:spChg chg="mod ord">
          <ac:chgData name="David Taylor" userId="d59421a2-ba2c-4629-8f26-3f69c0ffed32" providerId="ADAL" clId="{9280ADEE-A1D7-43FC-9258-13E9288FEE15}" dt="2021-09-10T08:26:02.152" v="7994"/>
          <ac:spMkLst>
            <pc:docMk/>
            <pc:sldMk cId="3934256195" sldId="4069"/>
            <ac:spMk id="443" creationId="{D77BA559-3D0D-4371-8D31-6A2ACCD3ECD9}"/>
          </ac:spMkLst>
        </pc:spChg>
        <pc:spChg chg="mod ord">
          <ac:chgData name="David Taylor" userId="d59421a2-ba2c-4629-8f26-3f69c0ffed32" providerId="ADAL" clId="{9280ADEE-A1D7-43FC-9258-13E9288FEE15}" dt="2021-09-10T08:26:02.152" v="7992"/>
          <ac:spMkLst>
            <pc:docMk/>
            <pc:sldMk cId="3934256195" sldId="4069"/>
            <ac:spMk id="445" creationId="{4270142C-C3AB-40FE-BB59-02B59DD036C0}"/>
          </ac:spMkLst>
        </pc:spChg>
        <pc:spChg chg="mod ord">
          <ac:chgData name="David Taylor" userId="d59421a2-ba2c-4629-8f26-3f69c0ffed32" providerId="ADAL" clId="{9280ADEE-A1D7-43FC-9258-13E9288FEE15}" dt="2021-09-10T08:26:02.152" v="7998"/>
          <ac:spMkLst>
            <pc:docMk/>
            <pc:sldMk cId="3934256195" sldId="4069"/>
            <ac:spMk id="453" creationId="{2B79C98D-467B-4E75-89BA-C12035AFA78B}"/>
          </ac:spMkLst>
        </pc:spChg>
        <pc:spChg chg="mod ord">
          <ac:chgData name="David Taylor" userId="d59421a2-ba2c-4629-8f26-3f69c0ffed32" providerId="ADAL" clId="{9280ADEE-A1D7-43FC-9258-13E9288FEE15}" dt="2021-09-10T08:26:02.152" v="7996"/>
          <ac:spMkLst>
            <pc:docMk/>
            <pc:sldMk cId="3934256195" sldId="4069"/>
            <ac:spMk id="454" creationId="{B40E10C6-1298-4CAB-892E-FFE7C8BC0130}"/>
          </ac:spMkLst>
        </pc:spChg>
        <pc:spChg chg="mod ord">
          <ac:chgData name="David Taylor" userId="d59421a2-ba2c-4629-8f26-3f69c0ffed32" providerId="ADAL" clId="{9280ADEE-A1D7-43FC-9258-13E9288FEE15}" dt="2021-09-10T08:26:02.168" v="8014"/>
          <ac:spMkLst>
            <pc:docMk/>
            <pc:sldMk cId="3934256195" sldId="4069"/>
            <ac:spMk id="458" creationId="{058CC511-92F7-4307-9050-2BEB20157EE6}"/>
          </ac:spMkLst>
        </pc:spChg>
        <pc:spChg chg="mod ord">
          <ac:chgData name="David Taylor" userId="d59421a2-ba2c-4629-8f26-3f69c0ffed32" providerId="ADAL" clId="{9280ADEE-A1D7-43FC-9258-13E9288FEE15}" dt="2021-09-10T08:26:02.168" v="8018"/>
          <ac:spMkLst>
            <pc:docMk/>
            <pc:sldMk cId="3934256195" sldId="4069"/>
            <ac:spMk id="462" creationId="{FC0953D0-0D03-4A3C-A4AD-F40849C26EFC}"/>
          </ac:spMkLst>
        </pc:spChg>
        <pc:graphicFrameChg chg="mod">
          <ac:chgData name="David Taylor" userId="d59421a2-ba2c-4629-8f26-3f69c0ffed32" providerId="ADAL" clId="{9280ADEE-A1D7-43FC-9258-13E9288FEE15}" dt="2021-09-10T09:06:14.520" v="8841"/>
          <ac:graphicFrameMkLst>
            <pc:docMk/>
            <pc:sldMk cId="3934256195" sldId="4069"/>
            <ac:graphicFrameMk id="12" creationId="{2CF4AFA0-8396-4951-931D-400D091B3665}"/>
          </ac:graphicFrameMkLst>
        </pc:graphicFrameChg>
        <pc:cxnChg chg="mod ord">
          <ac:chgData name="David Taylor" userId="d59421a2-ba2c-4629-8f26-3f69c0ffed32" providerId="ADAL" clId="{9280ADEE-A1D7-43FC-9258-13E9288FEE15}" dt="2021-09-10T08:26:02.152" v="7956"/>
          <ac:cxnSpMkLst>
            <pc:docMk/>
            <pc:sldMk cId="3934256195" sldId="4069"/>
            <ac:cxnSpMk id="127" creationId="{6124FE15-C375-43CF-B35A-230901C5E358}"/>
          </ac:cxnSpMkLst>
        </pc:cxnChg>
        <pc:cxnChg chg="mod ord">
          <ac:chgData name="David Taylor" userId="d59421a2-ba2c-4629-8f26-3f69c0ffed32" providerId="ADAL" clId="{9280ADEE-A1D7-43FC-9258-13E9288FEE15}" dt="2021-09-10T08:26:02.152" v="7964"/>
          <ac:cxnSpMkLst>
            <pc:docMk/>
            <pc:sldMk cId="3934256195" sldId="4069"/>
            <ac:cxnSpMk id="128" creationId="{711593DD-278A-4FEB-98A3-2724DE2F4385}"/>
          </ac:cxnSpMkLst>
        </pc:cxnChg>
        <pc:cxnChg chg="mod ord">
          <ac:chgData name="David Taylor" userId="d59421a2-ba2c-4629-8f26-3f69c0ffed32" providerId="ADAL" clId="{9280ADEE-A1D7-43FC-9258-13E9288FEE15}" dt="2021-09-10T08:26:02.152" v="7962"/>
          <ac:cxnSpMkLst>
            <pc:docMk/>
            <pc:sldMk cId="3934256195" sldId="4069"/>
            <ac:cxnSpMk id="130" creationId="{F6D87B9D-3A38-4BD6-A7F2-950E4C259652}"/>
          </ac:cxnSpMkLst>
        </pc:cxnChg>
        <pc:cxnChg chg="mod ord">
          <ac:chgData name="David Taylor" userId="d59421a2-ba2c-4629-8f26-3f69c0ffed32" providerId="ADAL" clId="{9280ADEE-A1D7-43FC-9258-13E9288FEE15}" dt="2021-09-10T08:26:02.152" v="7960"/>
          <ac:cxnSpMkLst>
            <pc:docMk/>
            <pc:sldMk cId="3934256195" sldId="4069"/>
            <ac:cxnSpMk id="263" creationId="{4B3B4FD3-03A7-42C2-B450-180E7D8ABCB3}"/>
          </ac:cxnSpMkLst>
        </pc:cxnChg>
        <pc:cxnChg chg="mod ord">
          <ac:chgData name="David Taylor" userId="d59421a2-ba2c-4629-8f26-3f69c0ffed32" providerId="ADAL" clId="{9280ADEE-A1D7-43FC-9258-13E9288FEE15}" dt="2021-09-10T08:26:02.152" v="7968"/>
          <ac:cxnSpMkLst>
            <pc:docMk/>
            <pc:sldMk cId="3934256195" sldId="4069"/>
            <ac:cxnSpMk id="265" creationId="{2719A5E0-015A-4F07-84DC-5E8CADB66BA3}"/>
          </ac:cxnSpMkLst>
        </pc:cxnChg>
        <pc:cxnChg chg="mod ord">
          <ac:chgData name="David Taylor" userId="d59421a2-ba2c-4629-8f26-3f69c0ffed32" providerId="ADAL" clId="{9280ADEE-A1D7-43FC-9258-13E9288FEE15}" dt="2021-09-10T08:26:02.152" v="7966"/>
          <ac:cxnSpMkLst>
            <pc:docMk/>
            <pc:sldMk cId="3934256195" sldId="4069"/>
            <ac:cxnSpMk id="267" creationId="{59130DB5-0E5C-47FA-A398-8E424E80336F}"/>
          </ac:cxnSpMkLst>
        </pc:cxnChg>
        <pc:cxnChg chg="mod ord">
          <ac:chgData name="David Taylor" userId="d59421a2-ba2c-4629-8f26-3f69c0ffed32" providerId="ADAL" clId="{9280ADEE-A1D7-43FC-9258-13E9288FEE15}" dt="2021-09-10T08:26:02.152" v="7974"/>
          <ac:cxnSpMkLst>
            <pc:docMk/>
            <pc:sldMk cId="3934256195" sldId="4069"/>
            <ac:cxnSpMk id="283" creationId="{58CA6A99-16ED-4B96-8E83-3B7486943FB1}"/>
          </ac:cxnSpMkLst>
        </pc:cxnChg>
        <pc:cxnChg chg="mod ord">
          <ac:chgData name="David Taylor" userId="d59421a2-ba2c-4629-8f26-3f69c0ffed32" providerId="ADAL" clId="{9280ADEE-A1D7-43FC-9258-13E9288FEE15}" dt="2021-09-10T08:26:02.152" v="7970"/>
          <ac:cxnSpMkLst>
            <pc:docMk/>
            <pc:sldMk cId="3934256195" sldId="4069"/>
            <ac:cxnSpMk id="284" creationId="{7B7422EB-F7C4-4FF1-A64B-D0A53FF32ADC}"/>
          </ac:cxnSpMkLst>
        </pc:cxnChg>
        <pc:cxnChg chg="mod ord">
          <ac:chgData name="David Taylor" userId="d59421a2-ba2c-4629-8f26-3f69c0ffed32" providerId="ADAL" clId="{9280ADEE-A1D7-43FC-9258-13E9288FEE15}" dt="2021-09-10T08:26:02.152" v="7976"/>
          <ac:cxnSpMkLst>
            <pc:docMk/>
            <pc:sldMk cId="3934256195" sldId="4069"/>
            <ac:cxnSpMk id="285" creationId="{DC2CC514-0C05-4F03-869B-93E088045028}"/>
          </ac:cxnSpMkLst>
        </pc:cxnChg>
        <pc:cxnChg chg="mod ord">
          <ac:chgData name="David Taylor" userId="d59421a2-ba2c-4629-8f26-3f69c0ffed32" providerId="ADAL" clId="{9280ADEE-A1D7-43FC-9258-13E9288FEE15}" dt="2021-09-10T08:26:02.152" v="7978"/>
          <ac:cxnSpMkLst>
            <pc:docMk/>
            <pc:sldMk cId="3934256195" sldId="4069"/>
            <ac:cxnSpMk id="286" creationId="{DBC13B1B-7E03-4466-8F4D-51EA0F3F0086}"/>
          </ac:cxnSpMkLst>
        </pc:cxnChg>
        <pc:cxnChg chg="mod ord">
          <ac:chgData name="David Taylor" userId="d59421a2-ba2c-4629-8f26-3f69c0ffed32" providerId="ADAL" clId="{9280ADEE-A1D7-43FC-9258-13E9288FEE15}" dt="2021-09-10T08:26:02.152" v="7958"/>
          <ac:cxnSpMkLst>
            <pc:docMk/>
            <pc:sldMk cId="3934256195" sldId="4069"/>
            <ac:cxnSpMk id="401" creationId="{CE920B71-7C33-42A9-B625-212FB2C1B924}"/>
          </ac:cxnSpMkLst>
        </pc:cxnChg>
        <pc:cxnChg chg="mod ord">
          <ac:chgData name="David Taylor" userId="d59421a2-ba2c-4629-8f26-3f69c0ffed32" providerId="ADAL" clId="{9280ADEE-A1D7-43FC-9258-13E9288FEE15}" dt="2021-09-10T08:26:02.152" v="7972"/>
          <ac:cxnSpMkLst>
            <pc:docMk/>
            <pc:sldMk cId="3934256195" sldId="4069"/>
            <ac:cxnSpMk id="439" creationId="{B27F2F05-93C2-40CC-ABAC-4BAEBAB1897C}"/>
          </ac:cxnSpMkLst>
        </pc:cxnChg>
        <pc:cxnChg chg="mod ord">
          <ac:chgData name="David Taylor" userId="d59421a2-ba2c-4629-8f26-3f69c0ffed32" providerId="ADAL" clId="{9280ADEE-A1D7-43FC-9258-13E9288FEE15}" dt="2021-09-10T08:26:02.168" v="8016"/>
          <ac:cxnSpMkLst>
            <pc:docMk/>
            <pc:sldMk cId="3934256195" sldId="4069"/>
            <ac:cxnSpMk id="459" creationId="{A8B55966-0089-410B-8EA9-F83B61A5EB9F}"/>
          </ac:cxnSpMkLst>
        </pc:cxnChg>
      </pc:sldChg>
      <pc:sldChg chg="del">
        <pc:chgData name="David Taylor" userId="d59421a2-ba2c-4629-8f26-3f69c0ffed32" providerId="ADAL" clId="{9280ADEE-A1D7-43FC-9258-13E9288FEE15}" dt="2021-09-07T13:37:31.393" v="4299" actId="47"/>
        <pc:sldMkLst>
          <pc:docMk/>
          <pc:sldMk cId="2338885973" sldId="4086"/>
        </pc:sldMkLst>
      </pc:sldChg>
      <pc:sldChg chg="addSp delSp modSp new add mod modClrScheme chgLayout">
        <pc:chgData name="David Taylor" userId="d59421a2-ba2c-4629-8f26-3f69c0ffed32" providerId="ADAL" clId="{9280ADEE-A1D7-43FC-9258-13E9288FEE15}" dt="2021-09-10T09:05:28.884" v="8694" actId="20577"/>
        <pc:sldMkLst>
          <pc:docMk/>
          <pc:sldMk cId="1505667713" sldId="4087"/>
        </pc:sldMkLst>
        <pc:spChg chg="del mod ord">
          <ac:chgData name="David Taylor" userId="d59421a2-ba2c-4629-8f26-3f69c0ffed32" providerId="ADAL" clId="{9280ADEE-A1D7-43FC-9258-13E9288FEE15}" dt="2021-09-07T12:35:13.695" v="1852"/>
          <ac:spMkLst>
            <pc:docMk/>
            <pc:sldMk cId="1505667713" sldId="4087"/>
            <ac:spMk id="2" creationId="{544650C7-0228-44D4-806E-FEFEB0FDC952}"/>
          </ac:spMkLst>
        </pc:spChg>
        <pc:spChg chg="del">
          <ac:chgData name="David Taylor" userId="d59421a2-ba2c-4629-8f26-3f69c0ffed32" providerId="ADAL" clId="{9280ADEE-A1D7-43FC-9258-13E9288FEE15}" dt="2021-09-07T12:35:13.695" v="1852"/>
          <ac:spMkLst>
            <pc:docMk/>
            <pc:sldMk cId="1505667713" sldId="4087"/>
            <ac:spMk id="3" creationId="{0954DC09-01CD-4899-8595-BC1B02270C02}"/>
          </ac:spMkLst>
        </pc:spChg>
        <pc:spChg chg="del mod ord">
          <ac:chgData name="David Taylor" userId="d59421a2-ba2c-4629-8f26-3f69c0ffed32" providerId="ADAL" clId="{9280ADEE-A1D7-43FC-9258-13E9288FEE15}" dt="2021-09-07T12:35:13.695" v="1852"/>
          <ac:spMkLst>
            <pc:docMk/>
            <pc:sldMk cId="1505667713" sldId="4087"/>
            <ac:spMk id="4" creationId="{138AD752-BB1C-41B8-ABED-7FF848D89FAD}"/>
          </ac:spMkLst>
        </pc:spChg>
        <pc:spChg chg="del">
          <ac:chgData name="David Taylor" userId="d59421a2-ba2c-4629-8f26-3f69c0ffed32" providerId="ADAL" clId="{9280ADEE-A1D7-43FC-9258-13E9288FEE15}" dt="2021-09-07T12:35:13.695" v="1852"/>
          <ac:spMkLst>
            <pc:docMk/>
            <pc:sldMk cId="1505667713" sldId="4087"/>
            <ac:spMk id="5" creationId="{E26D521A-AEB0-4B8F-8278-D19ABBF2DF16}"/>
          </ac:spMkLst>
        </pc:spChg>
        <pc:spChg chg="del mod ord">
          <ac:chgData name="David Taylor" userId="d59421a2-ba2c-4629-8f26-3f69c0ffed32" providerId="ADAL" clId="{9280ADEE-A1D7-43FC-9258-13E9288FEE15}" dt="2021-09-07T12:35:13.695" v="1852"/>
          <ac:spMkLst>
            <pc:docMk/>
            <pc:sldMk cId="1505667713" sldId="4087"/>
            <ac:spMk id="6" creationId="{2DAE6D4A-C687-41A6-BF4A-5D4DFE2C6A74}"/>
          </ac:spMkLst>
        </pc:spChg>
        <pc:spChg chg="del mod ord">
          <ac:chgData name="David Taylor" userId="d59421a2-ba2c-4629-8f26-3f69c0ffed32" providerId="ADAL" clId="{9280ADEE-A1D7-43FC-9258-13E9288FEE15}" dt="2021-09-07T12:35:13.695" v="1852"/>
          <ac:spMkLst>
            <pc:docMk/>
            <pc:sldMk cId="1505667713" sldId="4087"/>
            <ac:spMk id="7" creationId="{DABE098B-E58B-4457-8361-F849577EE5F2}"/>
          </ac:spMkLst>
        </pc:spChg>
        <pc:spChg chg="del">
          <ac:chgData name="David Taylor" userId="d59421a2-ba2c-4629-8f26-3f69c0ffed32" providerId="ADAL" clId="{9280ADEE-A1D7-43FC-9258-13E9288FEE15}" dt="2021-09-07T12:35:13.695" v="1852"/>
          <ac:spMkLst>
            <pc:docMk/>
            <pc:sldMk cId="1505667713" sldId="4087"/>
            <ac:spMk id="8" creationId="{99336D09-5394-4576-BE75-068237482E7A}"/>
          </ac:spMkLst>
        </pc:spChg>
        <pc:spChg chg="del">
          <ac:chgData name="David Taylor" userId="d59421a2-ba2c-4629-8f26-3f69c0ffed32" providerId="ADAL" clId="{9280ADEE-A1D7-43FC-9258-13E9288FEE15}" dt="2021-09-07T12:35:13.695" v="1852"/>
          <ac:spMkLst>
            <pc:docMk/>
            <pc:sldMk cId="1505667713" sldId="4087"/>
            <ac:spMk id="9" creationId="{0908F07A-C0BE-46C2-8818-D282CE52592F}"/>
          </ac:spMkLst>
        </pc:spChg>
        <pc:spChg chg="del">
          <ac:chgData name="David Taylor" userId="d59421a2-ba2c-4629-8f26-3f69c0ffed32" providerId="ADAL" clId="{9280ADEE-A1D7-43FC-9258-13E9288FEE15}" dt="2021-09-07T12:35:13.695" v="1852"/>
          <ac:spMkLst>
            <pc:docMk/>
            <pc:sldMk cId="1505667713" sldId="4087"/>
            <ac:spMk id="10" creationId="{721B8A4B-A628-4AAD-80CF-2F85DDA4D8C9}"/>
          </ac:spMkLst>
        </pc:spChg>
        <pc:spChg chg="del">
          <ac:chgData name="David Taylor" userId="d59421a2-ba2c-4629-8f26-3f69c0ffed32" providerId="ADAL" clId="{9280ADEE-A1D7-43FC-9258-13E9288FEE15}" dt="2021-09-07T12:35:13.695" v="1852"/>
          <ac:spMkLst>
            <pc:docMk/>
            <pc:sldMk cId="1505667713" sldId="4087"/>
            <ac:spMk id="11" creationId="{B4170037-C011-45A6-B3D4-5737ACEE5C96}"/>
          </ac:spMkLst>
        </pc:spChg>
        <pc:spChg chg="del">
          <ac:chgData name="David Taylor" userId="d59421a2-ba2c-4629-8f26-3f69c0ffed32" providerId="ADAL" clId="{9280ADEE-A1D7-43FC-9258-13E9288FEE15}" dt="2021-09-07T12:35:13.695" v="1852"/>
          <ac:spMkLst>
            <pc:docMk/>
            <pc:sldMk cId="1505667713" sldId="4087"/>
            <ac:spMk id="12" creationId="{E2CFB2C5-2EE4-4F48-856D-42C9E090E9DD}"/>
          </ac:spMkLst>
        </pc:spChg>
        <pc:spChg chg="del">
          <ac:chgData name="David Taylor" userId="d59421a2-ba2c-4629-8f26-3f69c0ffed32" providerId="ADAL" clId="{9280ADEE-A1D7-43FC-9258-13E9288FEE15}" dt="2021-09-07T12:35:13.695" v="1852"/>
          <ac:spMkLst>
            <pc:docMk/>
            <pc:sldMk cId="1505667713" sldId="4087"/>
            <ac:spMk id="13" creationId="{76896B24-3CA3-4155-8F42-3769D213F704}"/>
          </ac:spMkLst>
        </pc:spChg>
        <pc:spChg chg="add mod ord">
          <ac:chgData name="David Taylor" userId="d59421a2-ba2c-4629-8f26-3f69c0ffed32" providerId="ADAL" clId="{9280ADEE-A1D7-43FC-9258-13E9288FEE15}" dt="2021-09-07T12:35:20.431" v="1871" actId="948"/>
          <ac:spMkLst>
            <pc:docMk/>
            <pc:sldMk cId="1505667713" sldId="4087"/>
            <ac:spMk id="14" creationId="{01D12D11-9098-4F9E-B8CC-4FEAC03E24A7}"/>
          </ac:spMkLst>
        </pc:spChg>
        <pc:spChg chg="add mod ord">
          <ac:chgData name="David Taylor" userId="d59421a2-ba2c-4629-8f26-3f69c0ffed32" providerId="ADAL" clId="{9280ADEE-A1D7-43FC-9258-13E9288FEE15}" dt="2021-09-07T12:35:13.695" v="1852"/>
          <ac:spMkLst>
            <pc:docMk/>
            <pc:sldMk cId="1505667713" sldId="4087"/>
            <ac:spMk id="15" creationId="{F5C5E461-FFF0-44F8-BCD1-ECADEFE04803}"/>
          </ac:spMkLst>
        </pc:spChg>
        <pc:spChg chg="add mod ord">
          <ac:chgData name="David Taylor" userId="d59421a2-ba2c-4629-8f26-3f69c0ffed32" providerId="ADAL" clId="{9280ADEE-A1D7-43FC-9258-13E9288FEE15}" dt="2021-09-07T12:35:13.695" v="1852"/>
          <ac:spMkLst>
            <pc:docMk/>
            <pc:sldMk cId="1505667713" sldId="4087"/>
            <ac:spMk id="16" creationId="{FD1008BE-607C-4A05-8CC9-A7B49B435C25}"/>
          </ac:spMkLst>
        </pc:spChg>
        <pc:spChg chg="add mod ord">
          <ac:chgData name="David Taylor" userId="d59421a2-ba2c-4629-8f26-3f69c0ffed32" providerId="ADAL" clId="{9280ADEE-A1D7-43FC-9258-13E9288FEE15}" dt="2021-09-07T12:35:13.695" v="1852"/>
          <ac:spMkLst>
            <pc:docMk/>
            <pc:sldMk cId="1505667713" sldId="4087"/>
            <ac:spMk id="17" creationId="{320F204D-BC70-41F4-8FD9-B82BD72ACD5C}"/>
          </ac:spMkLst>
        </pc:spChg>
        <pc:spChg chg="add del mod modVis">
          <ac:chgData name="David Taylor" userId="d59421a2-ba2c-4629-8f26-3f69c0ffed32" providerId="ADAL" clId="{9280ADEE-A1D7-43FC-9258-13E9288FEE15}" dt="2021-09-07T12:35:20.485" v="1911"/>
          <ac:spMkLst>
            <pc:docMk/>
            <pc:sldMk cId="1505667713" sldId="4087"/>
            <ac:spMk id="19" creationId="{BE531A2C-8590-4D5F-A6A7-B59C01813FE8}"/>
          </ac:spMkLst>
        </pc:spChg>
        <pc:spChg chg="add mod">
          <ac:chgData name="David Taylor" userId="d59421a2-ba2c-4629-8f26-3f69c0ffed32" providerId="ADAL" clId="{9280ADEE-A1D7-43FC-9258-13E9288FEE15}" dt="2021-09-10T09:04:41.391" v="8651" actId="6549"/>
          <ac:spMkLst>
            <pc:docMk/>
            <pc:sldMk cId="1505667713" sldId="4087"/>
            <ac:spMk id="20" creationId="{A08A9210-1DEB-46A3-88F7-74E15D694756}"/>
          </ac:spMkLst>
        </pc:spChg>
        <pc:spChg chg="add del mod">
          <ac:chgData name="David Taylor" userId="d59421a2-ba2c-4629-8f26-3f69c0ffed32" providerId="ADAL" clId="{9280ADEE-A1D7-43FC-9258-13E9288FEE15}" dt="2021-09-07T12:37:41.962" v="1970" actId="478"/>
          <ac:spMkLst>
            <pc:docMk/>
            <pc:sldMk cId="1505667713" sldId="4087"/>
            <ac:spMk id="21" creationId="{BA907CAA-BA65-4DC4-8607-A365EC58856F}"/>
          </ac:spMkLst>
        </pc:spChg>
        <pc:spChg chg="add mod">
          <ac:chgData name="David Taylor" userId="d59421a2-ba2c-4629-8f26-3f69c0ffed32" providerId="ADAL" clId="{9280ADEE-A1D7-43FC-9258-13E9288FEE15}" dt="2021-09-10T08:27:46.233" v="8027" actId="1076"/>
          <ac:spMkLst>
            <pc:docMk/>
            <pc:sldMk cId="1505667713" sldId="4087"/>
            <ac:spMk id="22" creationId="{56473727-BE8E-42A1-9ECD-A3806BA25A7D}"/>
          </ac:spMkLst>
        </pc:spChg>
        <pc:spChg chg="add mod">
          <ac:chgData name="David Taylor" userId="d59421a2-ba2c-4629-8f26-3f69c0ffed32" providerId="ADAL" clId="{9280ADEE-A1D7-43FC-9258-13E9288FEE15}" dt="2021-09-10T08:27:30.629" v="8025" actId="1076"/>
          <ac:spMkLst>
            <pc:docMk/>
            <pc:sldMk cId="1505667713" sldId="4087"/>
            <ac:spMk id="23" creationId="{E1637C75-BD0A-4195-9465-5575B7C55CE8}"/>
          </ac:spMkLst>
        </pc:spChg>
        <pc:spChg chg="add del mod">
          <ac:chgData name="David Taylor" userId="d59421a2-ba2c-4629-8f26-3f69c0ffed32" providerId="ADAL" clId="{9280ADEE-A1D7-43FC-9258-13E9288FEE15}" dt="2021-09-07T12:40:18.929" v="2062" actId="478"/>
          <ac:spMkLst>
            <pc:docMk/>
            <pc:sldMk cId="1505667713" sldId="4087"/>
            <ac:spMk id="24" creationId="{F3599851-6F48-4E52-846C-791879A30643}"/>
          </ac:spMkLst>
        </pc:spChg>
        <pc:spChg chg="add mod">
          <ac:chgData name="David Taylor" userId="d59421a2-ba2c-4629-8f26-3f69c0ffed32" providerId="ADAL" clId="{9280ADEE-A1D7-43FC-9258-13E9288FEE15}" dt="2021-09-10T08:31:32.757" v="8209" actId="20577"/>
          <ac:spMkLst>
            <pc:docMk/>
            <pc:sldMk cId="1505667713" sldId="4087"/>
            <ac:spMk id="25" creationId="{98742858-BC9F-4B53-B817-9E201BB54F36}"/>
          </ac:spMkLst>
        </pc:spChg>
        <pc:spChg chg="add del mod">
          <ac:chgData name="David Taylor" userId="d59421a2-ba2c-4629-8f26-3f69c0ffed32" providerId="ADAL" clId="{9280ADEE-A1D7-43FC-9258-13E9288FEE15}" dt="2021-09-07T12:37:42.648" v="1971" actId="478"/>
          <ac:spMkLst>
            <pc:docMk/>
            <pc:sldMk cId="1505667713" sldId="4087"/>
            <ac:spMk id="26" creationId="{3F3B88FA-CC7F-47F6-B636-ED99C584B8F4}"/>
          </ac:spMkLst>
        </pc:spChg>
        <pc:spChg chg="add mod">
          <ac:chgData name="David Taylor" userId="d59421a2-ba2c-4629-8f26-3f69c0ffed32" providerId="ADAL" clId="{9280ADEE-A1D7-43FC-9258-13E9288FEE15}" dt="2021-09-10T08:29:00.582" v="8048" actId="1035"/>
          <ac:spMkLst>
            <pc:docMk/>
            <pc:sldMk cId="1505667713" sldId="4087"/>
            <ac:spMk id="27" creationId="{7F69ED6B-0E42-41BC-B875-B8366720899F}"/>
          </ac:spMkLst>
        </pc:spChg>
        <pc:spChg chg="add mod">
          <ac:chgData name="David Taylor" userId="d59421a2-ba2c-4629-8f26-3f69c0ffed32" providerId="ADAL" clId="{9280ADEE-A1D7-43FC-9258-13E9288FEE15}" dt="2021-09-07T12:39:19.249" v="2046" actId="552"/>
          <ac:spMkLst>
            <pc:docMk/>
            <pc:sldMk cId="1505667713" sldId="4087"/>
            <ac:spMk id="28" creationId="{F27ECA42-1C94-4D13-90E8-7BE0FAFB3C8D}"/>
          </ac:spMkLst>
        </pc:spChg>
        <pc:spChg chg="add mod">
          <ac:chgData name="David Taylor" userId="d59421a2-ba2c-4629-8f26-3f69c0ffed32" providerId="ADAL" clId="{9280ADEE-A1D7-43FC-9258-13E9288FEE15}" dt="2021-09-07T12:39:22.458" v="2047" actId="552"/>
          <ac:spMkLst>
            <pc:docMk/>
            <pc:sldMk cId="1505667713" sldId="4087"/>
            <ac:spMk id="29" creationId="{D8624B97-B66E-481D-A56B-259B257201D1}"/>
          </ac:spMkLst>
        </pc:spChg>
        <pc:spChg chg="add mod">
          <ac:chgData name="David Taylor" userId="d59421a2-ba2c-4629-8f26-3f69c0ffed32" providerId="ADAL" clId="{9280ADEE-A1D7-43FC-9258-13E9288FEE15}" dt="2021-09-10T08:29:00.582" v="8048" actId="1035"/>
          <ac:spMkLst>
            <pc:docMk/>
            <pc:sldMk cId="1505667713" sldId="4087"/>
            <ac:spMk id="30" creationId="{D3863C82-BADF-40EC-A797-F6875DF201C6}"/>
          </ac:spMkLst>
        </pc:spChg>
        <pc:spChg chg="add mod">
          <ac:chgData name="David Taylor" userId="d59421a2-ba2c-4629-8f26-3f69c0ffed32" providerId="ADAL" clId="{9280ADEE-A1D7-43FC-9258-13E9288FEE15}" dt="2021-09-10T08:28:25.114" v="8034" actId="1036"/>
          <ac:spMkLst>
            <pc:docMk/>
            <pc:sldMk cId="1505667713" sldId="4087"/>
            <ac:spMk id="31" creationId="{3D1FF0D1-2212-42FF-9D7F-385D18EB3638}"/>
          </ac:spMkLst>
        </pc:spChg>
        <pc:spChg chg="add mod">
          <ac:chgData name="David Taylor" userId="d59421a2-ba2c-4629-8f26-3f69c0ffed32" providerId="ADAL" clId="{9280ADEE-A1D7-43FC-9258-13E9288FEE15}" dt="2021-09-10T09:05:28.884" v="8694" actId="20577"/>
          <ac:spMkLst>
            <pc:docMk/>
            <pc:sldMk cId="1505667713" sldId="4087"/>
            <ac:spMk id="32" creationId="{8900D08C-8019-4607-818B-AE321720F8E9}"/>
          </ac:spMkLst>
        </pc:spChg>
        <pc:spChg chg="add del mod">
          <ac:chgData name="David Taylor" userId="d59421a2-ba2c-4629-8f26-3f69c0ffed32" providerId="ADAL" clId="{9280ADEE-A1D7-43FC-9258-13E9288FEE15}" dt="2021-09-07T12:47:29.714" v="2151" actId="478"/>
          <ac:spMkLst>
            <pc:docMk/>
            <pc:sldMk cId="1505667713" sldId="4087"/>
            <ac:spMk id="33" creationId="{3881AAB9-6495-4AB8-A447-E555547C8720}"/>
          </ac:spMkLst>
        </pc:spChg>
        <pc:spChg chg="add mod">
          <ac:chgData name="David Taylor" userId="d59421a2-ba2c-4629-8f26-3f69c0ffed32" providerId="ADAL" clId="{9280ADEE-A1D7-43FC-9258-13E9288FEE15}" dt="2021-09-10T09:02:38.487" v="8511" actId="404"/>
          <ac:spMkLst>
            <pc:docMk/>
            <pc:sldMk cId="1505667713" sldId="4087"/>
            <ac:spMk id="34" creationId="{77A247BF-A3CD-4DB6-9413-8FF3F07F2C17}"/>
          </ac:spMkLst>
        </pc:spChg>
        <pc:graphicFrameChg chg="add mod ord modVis replST">
          <ac:chgData name="David Taylor" userId="d59421a2-ba2c-4629-8f26-3f69c0ffed32" providerId="ADAL" clId="{9280ADEE-A1D7-43FC-9258-13E9288FEE15}" dt="2021-09-07T12:35:20.485" v="1913"/>
          <ac:graphicFrameMkLst>
            <pc:docMk/>
            <pc:sldMk cId="1505667713" sldId="4087"/>
            <ac:graphicFrameMk id="18" creationId="{949C00EB-98C5-4663-B170-589CB4DC4957}"/>
          </ac:graphicFrameMkLst>
        </pc:graphicFrameChg>
      </pc:sldChg>
    </pc:docChg>
  </pc:docChgLst>
  <pc:docChgLst>
    <pc:chgData name="Jonathan Black" userId="S::jonathan.black@auroraer.com::e5795b31-d80f-4d2c-b0dc-20dfa8a62476" providerId="AD" clId="Web-{F44FDD0F-8D3E-7AD9-EFCC-3CF6FE656F21}"/>
    <pc:docChg chg="addSld delSld modSld sldOrd">
      <pc:chgData name="Jonathan Black" userId="S::jonathan.black@auroraer.com::e5795b31-d80f-4d2c-b0dc-20dfa8a62476" providerId="AD" clId="Web-{F44FDD0F-8D3E-7AD9-EFCC-3CF6FE656F21}" dt="2021-09-03T09:08:24.310" v="677" actId="1076"/>
      <pc:docMkLst>
        <pc:docMk/>
      </pc:docMkLst>
      <pc:sldChg chg="modSp">
        <pc:chgData name="Jonathan Black" userId="S::jonathan.black@auroraer.com::e5795b31-d80f-4d2c-b0dc-20dfa8a62476" providerId="AD" clId="Web-{F44FDD0F-8D3E-7AD9-EFCC-3CF6FE656F21}" dt="2021-09-03T08:43:53.494" v="309" actId="20577"/>
        <pc:sldMkLst>
          <pc:docMk/>
          <pc:sldMk cId="2910892799" sldId="4017"/>
        </pc:sldMkLst>
        <pc:spChg chg="mod">
          <ac:chgData name="Jonathan Black" userId="S::jonathan.black@auroraer.com::e5795b31-d80f-4d2c-b0dc-20dfa8a62476" providerId="AD" clId="Web-{F44FDD0F-8D3E-7AD9-EFCC-3CF6FE656F21}" dt="2021-09-03T08:41:54.304" v="285" actId="20577"/>
          <ac:spMkLst>
            <pc:docMk/>
            <pc:sldMk cId="2910892799" sldId="4017"/>
            <ac:spMk id="13" creationId="{160D0F39-DBF0-407A-911D-D74DE9E1C108}"/>
          </ac:spMkLst>
        </pc:spChg>
        <pc:spChg chg="mod">
          <ac:chgData name="Jonathan Black" userId="S::jonathan.black@auroraer.com::e5795b31-d80f-4d2c-b0dc-20dfa8a62476" providerId="AD" clId="Web-{F44FDD0F-8D3E-7AD9-EFCC-3CF6FE656F21}" dt="2021-09-03T08:43:53.494" v="309" actId="20577"/>
          <ac:spMkLst>
            <pc:docMk/>
            <pc:sldMk cId="2910892799" sldId="4017"/>
            <ac:spMk id="18" creationId="{3D34385D-AC0A-440C-8DCA-8A708ED2C7CB}"/>
          </ac:spMkLst>
        </pc:spChg>
      </pc:sldChg>
      <pc:sldChg chg="modSp">
        <pc:chgData name="Jonathan Black" userId="S::jonathan.black@auroraer.com::e5795b31-d80f-4d2c-b0dc-20dfa8a62476" providerId="AD" clId="Web-{F44FDD0F-8D3E-7AD9-EFCC-3CF6FE656F21}" dt="2021-09-03T09:08:24.310" v="677" actId="1076"/>
        <pc:sldMkLst>
          <pc:docMk/>
          <pc:sldMk cId="2516155089" sldId="4054"/>
        </pc:sldMkLst>
        <pc:spChg chg="mod">
          <ac:chgData name="Jonathan Black" userId="S::jonathan.black@auroraer.com::e5795b31-d80f-4d2c-b0dc-20dfa8a62476" providerId="AD" clId="Web-{F44FDD0F-8D3E-7AD9-EFCC-3CF6FE656F21}" dt="2021-09-03T09:08:24.310" v="677" actId="1076"/>
          <ac:spMkLst>
            <pc:docMk/>
            <pc:sldMk cId="2516155089" sldId="4054"/>
            <ac:spMk id="10" creationId="{46DD9886-A260-4C5A-A3D9-BCFEB492D441}"/>
          </ac:spMkLst>
        </pc:spChg>
      </pc:sldChg>
      <pc:sldChg chg="addSp modSp">
        <pc:chgData name="Jonathan Black" userId="S::jonathan.black@auroraer.com::e5795b31-d80f-4d2c-b0dc-20dfa8a62476" providerId="AD" clId="Web-{F44FDD0F-8D3E-7AD9-EFCC-3CF6FE656F21}" dt="2021-09-03T08:47:02.655" v="311" actId="20577"/>
        <pc:sldMkLst>
          <pc:docMk/>
          <pc:sldMk cId="2175772416" sldId="4064"/>
        </pc:sldMkLst>
        <pc:spChg chg="add mod">
          <ac:chgData name="Jonathan Black" userId="S::jonathan.black@auroraer.com::e5795b31-d80f-4d2c-b0dc-20dfa8a62476" providerId="AD" clId="Web-{F44FDD0F-8D3E-7AD9-EFCC-3CF6FE656F21}" dt="2021-09-03T08:47:02.655" v="311" actId="20577"/>
          <ac:spMkLst>
            <pc:docMk/>
            <pc:sldMk cId="2175772416" sldId="4064"/>
            <ac:spMk id="2" creationId="{3FA2D8F7-4681-450B-885F-E23DB565EBF4}"/>
          </ac:spMkLst>
        </pc:spChg>
      </pc:sldChg>
      <pc:sldChg chg="mod modShow">
        <pc:chgData name="Jonathan Black" userId="S::jonathan.black@auroraer.com::e5795b31-d80f-4d2c-b0dc-20dfa8a62476" providerId="AD" clId="Web-{F44FDD0F-8D3E-7AD9-EFCC-3CF6FE656F21}" dt="2021-09-03T08:20:08.836" v="69"/>
        <pc:sldMkLst>
          <pc:docMk/>
          <pc:sldMk cId="4012247648" sldId="4066"/>
        </pc:sldMkLst>
      </pc:sldChg>
      <pc:sldChg chg="addSp modSp">
        <pc:chgData name="Jonathan Black" userId="S::jonathan.black@auroraer.com::e5795b31-d80f-4d2c-b0dc-20dfa8a62476" providerId="AD" clId="Web-{F44FDD0F-8D3E-7AD9-EFCC-3CF6FE656F21}" dt="2021-09-03T09:03:51.194" v="428" actId="1076"/>
        <pc:sldMkLst>
          <pc:docMk/>
          <pc:sldMk cId="1196129177" sldId="4081"/>
        </pc:sldMkLst>
        <pc:spChg chg="add mod">
          <ac:chgData name="Jonathan Black" userId="S::jonathan.black@auroraer.com::e5795b31-d80f-4d2c-b0dc-20dfa8a62476" providerId="AD" clId="Web-{F44FDD0F-8D3E-7AD9-EFCC-3CF6FE656F21}" dt="2021-09-03T09:03:51.194" v="428" actId="1076"/>
          <ac:spMkLst>
            <pc:docMk/>
            <pc:sldMk cId="1196129177" sldId="4081"/>
            <ac:spMk id="2" creationId="{2AC1942B-F81B-48B9-94AE-19DA47E61C8E}"/>
          </ac:spMkLst>
        </pc:spChg>
      </pc:sldChg>
      <pc:sldChg chg="addSp modSp">
        <pc:chgData name="Jonathan Black" userId="S::jonathan.black@auroraer.com::e5795b31-d80f-4d2c-b0dc-20dfa8a62476" providerId="AD" clId="Web-{F44FDD0F-8D3E-7AD9-EFCC-3CF6FE656F21}" dt="2021-09-03T09:06:37.604" v="522" actId="20577"/>
        <pc:sldMkLst>
          <pc:docMk/>
          <pc:sldMk cId="3430183779" sldId="4082"/>
        </pc:sldMkLst>
        <pc:spChg chg="add mod">
          <ac:chgData name="Jonathan Black" userId="S::jonathan.black@auroraer.com::e5795b31-d80f-4d2c-b0dc-20dfa8a62476" providerId="AD" clId="Web-{F44FDD0F-8D3E-7AD9-EFCC-3CF6FE656F21}" dt="2021-09-03T09:06:37.604" v="522" actId="20577"/>
          <ac:spMkLst>
            <pc:docMk/>
            <pc:sldMk cId="3430183779" sldId="4082"/>
            <ac:spMk id="13" creationId="{224055F4-1D25-4DA1-8F1B-CB1973696816}"/>
          </ac:spMkLst>
        </pc:spChg>
      </pc:sldChg>
      <pc:sldChg chg="add del replId">
        <pc:chgData name="Jonathan Black" userId="S::jonathan.black@auroraer.com::e5795b31-d80f-4d2c-b0dc-20dfa8a62476" providerId="AD" clId="Web-{F44FDD0F-8D3E-7AD9-EFCC-3CF6FE656F21}" dt="2021-09-03T08:23:59.373" v="71"/>
        <pc:sldMkLst>
          <pc:docMk/>
          <pc:sldMk cId="599935899" sldId="4083"/>
        </pc:sldMkLst>
      </pc:sldChg>
      <pc:sldChg chg="delSp modSp add ord replId">
        <pc:chgData name="Jonathan Black" userId="S::jonathan.black@auroraer.com::e5795b31-d80f-4d2c-b0dc-20dfa8a62476" providerId="AD" clId="Web-{F44FDD0F-8D3E-7AD9-EFCC-3CF6FE656F21}" dt="2021-09-03T08:58:19.796" v="369" actId="20577"/>
        <pc:sldMkLst>
          <pc:docMk/>
          <pc:sldMk cId="967939450" sldId="4083"/>
        </pc:sldMkLst>
        <pc:spChg chg="del">
          <ac:chgData name="Jonathan Black" userId="S::jonathan.black@auroraer.com::e5795b31-d80f-4d2c-b0dc-20dfa8a62476" providerId="AD" clId="Web-{F44FDD0F-8D3E-7AD9-EFCC-3CF6FE656F21}" dt="2021-09-03T08:24:25.561" v="86"/>
          <ac:spMkLst>
            <pc:docMk/>
            <pc:sldMk cId="967939450" sldId="4083"/>
            <ac:spMk id="4" creationId="{88F975F1-0411-4875-85CC-3E3638838A76}"/>
          </ac:spMkLst>
        </pc:spChg>
        <pc:spChg chg="mod">
          <ac:chgData name="Jonathan Black" userId="S::jonathan.black@auroraer.com::e5795b31-d80f-4d2c-b0dc-20dfa8a62476" providerId="AD" clId="Web-{F44FDD0F-8D3E-7AD9-EFCC-3CF6FE656F21}" dt="2021-09-03T08:24:11.920" v="84" actId="20577"/>
          <ac:spMkLst>
            <pc:docMk/>
            <pc:sldMk cId="967939450" sldId="4083"/>
            <ac:spMk id="6" creationId="{B7FE6929-531D-4F05-902E-A45ACC12C34A}"/>
          </ac:spMkLst>
        </pc:spChg>
        <pc:spChg chg="del">
          <ac:chgData name="Jonathan Black" userId="S::jonathan.black@auroraer.com::e5795b31-d80f-4d2c-b0dc-20dfa8a62476" providerId="AD" clId="Web-{F44FDD0F-8D3E-7AD9-EFCC-3CF6FE656F21}" dt="2021-09-03T08:24:26.873" v="87"/>
          <ac:spMkLst>
            <pc:docMk/>
            <pc:sldMk cId="967939450" sldId="4083"/>
            <ac:spMk id="11" creationId="{BDB1E825-0738-475F-A16A-05770B832D25}"/>
          </ac:spMkLst>
        </pc:spChg>
        <pc:spChg chg="mod">
          <ac:chgData name="Jonathan Black" userId="S::jonathan.black@auroraer.com::e5795b31-d80f-4d2c-b0dc-20dfa8a62476" providerId="AD" clId="Web-{F44FDD0F-8D3E-7AD9-EFCC-3CF6FE656F21}" dt="2021-09-03T08:58:19.796" v="369" actId="20577"/>
          <ac:spMkLst>
            <pc:docMk/>
            <pc:sldMk cId="967939450" sldId="4083"/>
            <ac:spMk id="244" creationId="{821BB02E-B180-474E-8A98-B1FC38B7919B}"/>
          </ac:spMkLst>
        </pc:spChg>
        <pc:graphicFrameChg chg="del">
          <ac:chgData name="Jonathan Black" userId="S::jonathan.black@auroraer.com::e5795b31-d80f-4d2c-b0dc-20dfa8a62476" providerId="AD" clId="Web-{F44FDD0F-8D3E-7AD9-EFCC-3CF6FE656F21}" dt="2021-09-03T08:24:23.779" v="85"/>
          <ac:graphicFrameMkLst>
            <pc:docMk/>
            <pc:sldMk cId="967939450" sldId="4083"/>
            <ac:graphicFrameMk id="2" creationId="{CC0AF3C5-5DDD-4DFB-9001-A0A99719B909}"/>
          </ac:graphicFrameMkLst>
        </pc:graphicFrameChg>
      </pc:sldChg>
    </pc:docChg>
  </pc:docChgLst>
  <pc:docChgLst>
    <pc:chgData name="Jonathan Black" userId="e5795b31-d80f-4d2c-b0dc-20dfa8a62476" providerId="ADAL" clId="{EFDAEDCD-7DF7-4DBF-B436-DF651584B0BF}"/>
    <pc:docChg chg="custSel modSld replTag">
      <pc:chgData name="Jonathan Black" userId="e5795b31-d80f-4d2c-b0dc-20dfa8a62476" providerId="ADAL" clId="{EFDAEDCD-7DF7-4DBF-B436-DF651584B0BF}" dt="2021-09-15T08:50:58.822" v="172"/>
      <pc:docMkLst>
        <pc:docMk/>
      </pc:docMkLst>
      <pc:sldChg chg="addSp delSp modSp mod">
        <pc:chgData name="Jonathan Black" userId="e5795b31-d80f-4d2c-b0dc-20dfa8a62476" providerId="ADAL" clId="{EFDAEDCD-7DF7-4DBF-B436-DF651584B0BF}" dt="2021-09-15T08:50:58.822" v="172"/>
        <pc:sldMkLst>
          <pc:docMk/>
          <pc:sldMk cId="3934256195" sldId="4069"/>
        </pc:sldMkLst>
        <pc:spChg chg="add del mod modVis">
          <ac:chgData name="Jonathan Black" userId="e5795b31-d80f-4d2c-b0dc-20dfa8a62476" providerId="ADAL" clId="{EFDAEDCD-7DF7-4DBF-B436-DF651584B0BF}" dt="2021-09-15T08:50:58.822" v="170"/>
          <ac:spMkLst>
            <pc:docMk/>
            <pc:sldMk cId="3934256195" sldId="4069"/>
            <ac:spMk id="2" creationId="{A7307255-31CF-43B4-B231-A1D37A27DCF3}"/>
          </ac:spMkLst>
        </pc:spChg>
        <pc:spChg chg="mod">
          <ac:chgData name="Jonathan Black" userId="e5795b31-d80f-4d2c-b0dc-20dfa8a62476" providerId="ADAL" clId="{EFDAEDCD-7DF7-4DBF-B436-DF651584B0BF}" dt="2021-09-15T08:50:58.545" v="5" actId="948"/>
          <ac:spMkLst>
            <pc:docMk/>
            <pc:sldMk cId="3934256195" sldId="4069"/>
            <ac:spMk id="6" creationId="{B7FE6929-531D-4F05-902E-A45ACC12C34A}"/>
          </ac:spMkLst>
        </pc:spChg>
        <pc:spChg chg="mod">
          <ac:chgData name="Jonathan Black" userId="e5795b31-d80f-4d2c-b0dc-20dfa8a62476" providerId="ADAL" clId="{EFDAEDCD-7DF7-4DBF-B436-DF651584B0BF}" dt="2021-09-15T08:50:58.594" v="44"/>
          <ac:spMkLst>
            <pc:docMk/>
            <pc:sldMk cId="3934256195" sldId="4069"/>
            <ac:spMk id="73" creationId="{8ED6D19F-408B-4DBB-B19E-BFB8DCDE1D68}"/>
          </ac:spMkLst>
        </pc:spChg>
        <pc:spChg chg="mod">
          <ac:chgData name="Jonathan Black" userId="e5795b31-d80f-4d2c-b0dc-20dfa8a62476" providerId="ADAL" clId="{EFDAEDCD-7DF7-4DBF-B436-DF651584B0BF}" dt="2021-09-15T08:50:58.793" v="164" actId="948"/>
          <ac:spMkLst>
            <pc:docMk/>
            <pc:sldMk cId="3934256195" sldId="4069"/>
            <ac:spMk id="78" creationId="{9F9869AF-B0F6-4E89-B216-4EC18C7334C2}"/>
          </ac:spMkLst>
        </pc:spChg>
        <pc:spChg chg="mod">
          <ac:chgData name="Jonathan Black" userId="e5795b31-d80f-4d2c-b0dc-20dfa8a62476" providerId="ADAL" clId="{EFDAEDCD-7DF7-4DBF-B436-DF651584B0BF}" dt="2021-09-15T08:50:58.609" v="52"/>
          <ac:spMkLst>
            <pc:docMk/>
            <pc:sldMk cId="3934256195" sldId="4069"/>
            <ac:spMk id="79" creationId="{54EC508F-9ABC-42FF-94CF-191E01D4CFCD}"/>
          </ac:spMkLst>
        </pc:spChg>
        <pc:spChg chg="mod">
          <ac:chgData name="Jonathan Black" userId="e5795b31-d80f-4d2c-b0dc-20dfa8a62476" providerId="ADAL" clId="{EFDAEDCD-7DF7-4DBF-B436-DF651584B0BF}" dt="2021-09-15T08:50:58.609" v="53"/>
          <ac:spMkLst>
            <pc:docMk/>
            <pc:sldMk cId="3934256195" sldId="4069"/>
            <ac:spMk id="81" creationId="{6DC91FFC-828B-47D1-9435-C5DAB66A5DDD}"/>
          </ac:spMkLst>
        </pc:spChg>
        <pc:spChg chg="mod">
          <ac:chgData name="Jonathan Black" userId="e5795b31-d80f-4d2c-b0dc-20dfa8a62476" providerId="ADAL" clId="{EFDAEDCD-7DF7-4DBF-B436-DF651584B0BF}" dt="2021-09-15T08:50:58.594" v="48"/>
          <ac:spMkLst>
            <pc:docMk/>
            <pc:sldMk cId="3934256195" sldId="4069"/>
            <ac:spMk id="86" creationId="{6E493F56-3E9D-4AB5-88B0-E1E47A3CD1A9}"/>
          </ac:spMkLst>
        </pc:spChg>
        <pc:spChg chg="mod">
          <ac:chgData name="Jonathan Black" userId="e5795b31-d80f-4d2c-b0dc-20dfa8a62476" providerId="ADAL" clId="{EFDAEDCD-7DF7-4DBF-B436-DF651584B0BF}" dt="2021-09-15T08:50:58.746" v="137"/>
          <ac:spMkLst>
            <pc:docMk/>
            <pc:sldMk cId="3934256195" sldId="4069"/>
            <ac:spMk id="90" creationId="{26938B80-2795-4CC8-95AA-445CC83816B1}"/>
          </ac:spMkLst>
        </pc:spChg>
        <pc:spChg chg="mod">
          <ac:chgData name="Jonathan Black" userId="e5795b31-d80f-4d2c-b0dc-20dfa8a62476" providerId="ADAL" clId="{EFDAEDCD-7DF7-4DBF-B436-DF651584B0BF}" dt="2021-09-15T08:50:58.746" v="140"/>
          <ac:spMkLst>
            <pc:docMk/>
            <pc:sldMk cId="3934256195" sldId="4069"/>
            <ac:spMk id="92" creationId="{DF45614C-6A8F-40E6-AD4C-73B7CB9FC8C5}"/>
          </ac:spMkLst>
        </pc:spChg>
        <pc:spChg chg="mod">
          <ac:chgData name="Jonathan Black" userId="e5795b31-d80f-4d2c-b0dc-20dfa8a62476" providerId="ADAL" clId="{EFDAEDCD-7DF7-4DBF-B436-DF651584B0BF}" dt="2021-09-15T08:50:58.746" v="143"/>
          <ac:spMkLst>
            <pc:docMk/>
            <pc:sldMk cId="3934256195" sldId="4069"/>
            <ac:spMk id="93" creationId="{412A4C43-D0A8-43F3-A002-E36702C32238}"/>
          </ac:spMkLst>
        </pc:spChg>
        <pc:spChg chg="mod">
          <ac:chgData name="Jonathan Black" userId="e5795b31-d80f-4d2c-b0dc-20dfa8a62476" providerId="ADAL" clId="{EFDAEDCD-7DF7-4DBF-B436-DF651584B0BF}" dt="2021-09-15T08:50:58.594" v="50"/>
          <ac:spMkLst>
            <pc:docMk/>
            <pc:sldMk cId="3934256195" sldId="4069"/>
            <ac:spMk id="300" creationId="{E1FC29B3-17E1-431F-82E1-0CD8B09295B1}"/>
          </ac:spMkLst>
        </pc:spChg>
        <pc:spChg chg="mod">
          <ac:chgData name="Jonathan Black" userId="e5795b31-d80f-4d2c-b0dc-20dfa8a62476" providerId="ADAL" clId="{EFDAEDCD-7DF7-4DBF-B436-DF651584B0BF}" dt="2021-09-15T08:50:58.594" v="47"/>
          <ac:spMkLst>
            <pc:docMk/>
            <pc:sldMk cId="3934256195" sldId="4069"/>
            <ac:spMk id="302" creationId="{88A4C6B3-E45A-4643-B592-AD0C1AC98B0E}"/>
          </ac:spMkLst>
        </pc:spChg>
        <pc:spChg chg="mod">
          <ac:chgData name="Jonathan Black" userId="e5795b31-d80f-4d2c-b0dc-20dfa8a62476" providerId="ADAL" clId="{EFDAEDCD-7DF7-4DBF-B436-DF651584B0BF}" dt="2021-09-15T08:50:58.812" v="166"/>
          <ac:spMkLst>
            <pc:docMk/>
            <pc:sldMk cId="3934256195" sldId="4069"/>
            <ac:spMk id="303" creationId="{5D6886B6-F50D-427C-855A-DE9D1E05EC15}"/>
          </ac:spMkLst>
        </pc:spChg>
        <pc:spChg chg="mod">
          <ac:chgData name="Jonathan Black" userId="e5795b31-d80f-4d2c-b0dc-20dfa8a62476" providerId="ADAL" clId="{EFDAEDCD-7DF7-4DBF-B436-DF651584B0BF}" dt="2021-09-15T08:50:58.609" v="54"/>
          <ac:spMkLst>
            <pc:docMk/>
            <pc:sldMk cId="3934256195" sldId="4069"/>
            <ac:spMk id="304" creationId="{B7E4CDDA-4466-4CEB-B731-54DA4C4BE39F}"/>
          </ac:spMkLst>
        </pc:spChg>
        <pc:spChg chg="mod">
          <ac:chgData name="Jonathan Black" userId="e5795b31-d80f-4d2c-b0dc-20dfa8a62476" providerId="ADAL" clId="{EFDAEDCD-7DF7-4DBF-B436-DF651584B0BF}" dt="2021-09-15T08:50:58.594" v="45"/>
          <ac:spMkLst>
            <pc:docMk/>
            <pc:sldMk cId="3934256195" sldId="4069"/>
            <ac:spMk id="305" creationId="{D0065400-F434-4C17-8CFC-8C5A0E648118}"/>
          </ac:spMkLst>
        </pc:spChg>
        <pc:spChg chg="mod">
          <ac:chgData name="Jonathan Black" userId="e5795b31-d80f-4d2c-b0dc-20dfa8a62476" providerId="ADAL" clId="{EFDAEDCD-7DF7-4DBF-B436-DF651584B0BF}" dt="2021-09-15T08:50:58.594" v="46"/>
          <ac:spMkLst>
            <pc:docMk/>
            <pc:sldMk cId="3934256195" sldId="4069"/>
            <ac:spMk id="306" creationId="{C18607EE-24AA-44DC-A005-D60D7AED5FF2}"/>
          </ac:spMkLst>
        </pc:spChg>
        <pc:spChg chg="mod">
          <ac:chgData name="Jonathan Black" userId="e5795b31-d80f-4d2c-b0dc-20dfa8a62476" providerId="ADAL" clId="{EFDAEDCD-7DF7-4DBF-B436-DF651584B0BF}" dt="2021-09-15T08:50:58.594" v="49"/>
          <ac:spMkLst>
            <pc:docMk/>
            <pc:sldMk cId="3934256195" sldId="4069"/>
            <ac:spMk id="307" creationId="{1CDFA602-73D3-4749-9EB1-03891B2B14BC}"/>
          </ac:spMkLst>
        </pc:spChg>
        <pc:spChg chg="mod">
          <ac:chgData name="Jonathan Black" userId="e5795b31-d80f-4d2c-b0dc-20dfa8a62476" providerId="ADAL" clId="{EFDAEDCD-7DF7-4DBF-B436-DF651584B0BF}" dt="2021-09-15T08:50:58.594" v="51"/>
          <ac:spMkLst>
            <pc:docMk/>
            <pc:sldMk cId="3934256195" sldId="4069"/>
            <ac:spMk id="318" creationId="{852AE061-06DC-4C3A-A02B-9CC2CA6DB727}"/>
          </ac:spMkLst>
        </pc:spChg>
        <pc:spChg chg="mod">
          <ac:chgData name="Jonathan Black" userId="e5795b31-d80f-4d2c-b0dc-20dfa8a62476" providerId="ADAL" clId="{EFDAEDCD-7DF7-4DBF-B436-DF651584B0BF}" dt="2021-09-15T08:50:58.816" v="167"/>
          <ac:spMkLst>
            <pc:docMk/>
            <pc:sldMk cId="3934256195" sldId="4069"/>
            <ac:spMk id="370" creationId="{A901F6E5-CCF3-4C93-9FE1-A4210455C41E}"/>
          </ac:spMkLst>
        </pc:spChg>
        <pc:spChg chg="mod">
          <ac:chgData name="Jonathan Black" userId="e5795b31-d80f-4d2c-b0dc-20dfa8a62476" providerId="ADAL" clId="{EFDAEDCD-7DF7-4DBF-B436-DF651584B0BF}" dt="2021-09-15T08:50:58.661" v="83"/>
          <ac:spMkLst>
            <pc:docMk/>
            <pc:sldMk cId="3934256195" sldId="4069"/>
            <ac:spMk id="371" creationId="{4E55687B-D9F4-4950-93B5-FD34F55E3670}"/>
          </ac:spMkLst>
        </pc:spChg>
        <pc:spChg chg="mod">
          <ac:chgData name="Jonathan Black" userId="e5795b31-d80f-4d2c-b0dc-20dfa8a62476" providerId="ADAL" clId="{EFDAEDCD-7DF7-4DBF-B436-DF651584B0BF}" dt="2021-09-15T08:50:58.661" v="86"/>
          <ac:spMkLst>
            <pc:docMk/>
            <pc:sldMk cId="3934256195" sldId="4069"/>
            <ac:spMk id="372" creationId="{A70118E2-5817-4BCB-8198-580A860F8673}"/>
          </ac:spMkLst>
        </pc:spChg>
        <pc:spChg chg="mod">
          <ac:chgData name="Jonathan Black" userId="e5795b31-d80f-4d2c-b0dc-20dfa8a62476" providerId="ADAL" clId="{EFDAEDCD-7DF7-4DBF-B436-DF651584B0BF}" dt="2021-09-15T08:50:58.677" v="89"/>
          <ac:spMkLst>
            <pc:docMk/>
            <pc:sldMk cId="3934256195" sldId="4069"/>
            <ac:spMk id="373" creationId="{F2938D5C-689F-4A2C-9182-0E6A42A61015}"/>
          </ac:spMkLst>
        </pc:spChg>
        <pc:spChg chg="mod">
          <ac:chgData name="Jonathan Black" userId="e5795b31-d80f-4d2c-b0dc-20dfa8a62476" providerId="ADAL" clId="{EFDAEDCD-7DF7-4DBF-B436-DF651584B0BF}" dt="2021-09-15T08:50:58.677" v="92"/>
          <ac:spMkLst>
            <pc:docMk/>
            <pc:sldMk cId="3934256195" sldId="4069"/>
            <ac:spMk id="374" creationId="{F93A9BFE-429E-4D28-9536-C5AEF3D8EC42}"/>
          </ac:spMkLst>
        </pc:spChg>
        <pc:spChg chg="mod">
          <ac:chgData name="Jonathan Black" userId="e5795b31-d80f-4d2c-b0dc-20dfa8a62476" providerId="ADAL" clId="{EFDAEDCD-7DF7-4DBF-B436-DF651584B0BF}" dt="2021-09-15T08:50:58.677" v="95"/>
          <ac:spMkLst>
            <pc:docMk/>
            <pc:sldMk cId="3934256195" sldId="4069"/>
            <ac:spMk id="375" creationId="{FC730F33-D9E7-432F-B1A4-4FDE1BBDFC6E}"/>
          </ac:spMkLst>
        </pc:spChg>
        <pc:spChg chg="mod">
          <ac:chgData name="Jonathan Black" userId="e5795b31-d80f-4d2c-b0dc-20dfa8a62476" providerId="ADAL" clId="{EFDAEDCD-7DF7-4DBF-B436-DF651584B0BF}" dt="2021-09-15T08:50:58.677" v="98"/>
          <ac:spMkLst>
            <pc:docMk/>
            <pc:sldMk cId="3934256195" sldId="4069"/>
            <ac:spMk id="376" creationId="{2AA57A0C-63F3-4F72-834B-748B4DF16F44}"/>
          </ac:spMkLst>
        </pc:spChg>
        <pc:spChg chg="mod">
          <ac:chgData name="Jonathan Black" userId="e5795b31-d80f-4d2c-b0dc-20dfa8a62476" providerId="ADAL" clId="{EFDAEDCD-7DF7-4DBF-B436-DF651584B0BF}" dt="2021-09-15T08:50:58.693" v="101"/>
          <ac:spMkLst>
            <pc:docMk/>
            <pc:sldMk cId="3934256195" sldId="4069"/>
            <ac:spMk id="377" creationId="{6FE1D227-CD8B-49B7-AF66-27240E8605C0}"/>
          </ac:spMkLst>
        </pc:spChg>
        <pc:spChg chg="mod">
          <ac:chgData name="Jonathan Black" userId="e5795b31-d80f-4d2c-b0dc-20dfa8a62476" providerId="ADAL" clId="{EFDAEDCD-7DF7-4DBF-B436-DF651584B0BF}" dt="2021-09-15T08:50:58.693" v="104"/>
          <ac:spMkLst>
            <pc:docMk/>
            <pc:sldMk cId="3934256195" sldId="4069"/>
            <ac:spMk id="378" creationId="{77605E41-AA5F-42A8-9C0C-AA27AA8E3107}"/>
          </ac:spMkLst>
        </pc:spChg>
        <pc:spChg chg="mod">
          <ac:chgData name="Jonathan Black" userId="e5795b31-d80f-4d2c-b0dc-20dfa8a62476" providerId="ADAL" clId="{EFDAEDCD-7DF7-4DBF-B436-DF651584B0BF}" dt="2021-09-15T08:50:58.693" v="107"/>
          <ac:spMkLst>
            <pc:docMk/>
            <pc:sldMk cId="3934256195" sldId="4069"/>
            <ac:spMk id="379" creationId="{F4D9CC93-0AE9-474C-B9DA-EB89DDF8D9B0}"/>
          </ac:spMkLst>
        </pc:spChg>
        <pc:spChg chg="mod">
          <ac:chgData name="Jonathan Black" userId="e5795b31-d80f-4d2c-b0dc-20dfa8a62476" providerId="ADAL" clId="{EFDAEDCD-7DF7-4DBF-B436-DF651584B0BF}" dt="2021-09-15T08:50:58.708" v="110"/>
          <ac:spMkLst>
            <pc:docMk/>
            <pc:sldMk cId="3934256195" sldId="4069"/>
            <ac:spMk id="380" creationId="{A8C879CD-E7B9-4BA6-90E3-21251E0BDAB9}"/>
          </ac:spMkLst>
        </pc:spChg>
        <pc:spChg chg="mod">
          <ac:chgData name="Jonathan Black" userId="e5795b31-d80f-4d2c-b0dc-20dfa8a62476" providerId="ADAL" clId="{EFDAEDCD-7DF7-4DBF-B436-DF651584B0BF}" dt="2021-09-15T08:50:58.708" v="113"/>
          <ac:spMkLst>
            <pc:docMk/>
            <pc:sldMk cId="3934256195" sldId="4069"/>
            <ac:spMk id="381" creationId="{E0B41B33-2150-4359-8956-10C5CFED2176}"/>
          </ac:spMkLst>
        </pc:spChg>
        <pc:spChg chg="mod">
          <ac:chgData name="Jonathan Black" userId="e5795b31-d80f-4d2c-b0dc-20dfa8a62476" providerId="ADAL" clId="{EFDAEDCD-7DF7-4DBF-B436-DF651584B0BF}" dt="2021-09-15T08:50:58.708" v="116"/>
          <ac:spMkLst>
            <pc:docMk/>
            <pc:sldMk cId="3934256195" sldId="4069"/>
            <ac:spMk id="382" creationId="{3088C543-F10F-4A61-A7DB-1B15E48C5A2E}"/>
          </ac:spMkLst>
        </pc:spChg>
        <pc:spChg chg="mod">
          <ac:chgData name="Jonathan Black" userId="e5795b31-d80f-4d2c-b0dc-20dfa8a62476" providerId="ADAL" clId="{EFDAEDCD-7DF7-4DBF-B436-DF651584B0BF}" dt="2021-09-15T08:50:58.708" v="119"/>
          <ac:spMkLst>
            <pc:docMk/>
            <pc:sldMk cId="3934256195" sldId="4069"/>
            <ac:spMk id="383" creationId="{7ADE4A9B-5CB6-462A-A7DF-5C278CF67C75}"/>
          </ac:spMkLst>
        </pc:spChg>
        <pc:spChg chg="mod">
          <ac:chgData name="Jonathan Black" userId="e5795b31-d80f-4d2c-b0dc-20dfa8a62476" providerId="ADAL" clId="{EFDAEDCD-7DF7-4DBF-B436-DF651584B0BF}" dt="2021-09-15T08:50:58.724" v="122"/>
          <ac:spMkLst>
            <pc:docMk/>
            <pc:sldMk cId="3934256195" sldId="4069"/>
            <ac:spMk id="384" creationId="{E9F223C5-E227-4C81-976E-BABE3E9FDAF5}"/>
          </ac:spMkLst>
        </pc:spChg>
        <pc:spChg chg="mod">
          <ac:chgData name="Jonathan Black" userId="e5795b31-d80f-4d2c-b0dc-20dfa8a62476" providerId="ADAL" clId="{EFDAEDCD-7DF7-4DBF-B436-DF651584B0BF}" dt="2021-09-15T08:50:58.724" v="125"/>
          <ac:spMkLst>
            <pc:docMk/>
            <pc:sldMk cId="3934256195" sldId="4069"/>
            <ac:spMk id="385" creationId="{ABCB6316-D71E-411C-96CD-554F5933BAE6}"/>
          </ac:spMkLst>
        </pc:spChg>
        <pc:spChg chg="mod">
          <ac:chgData name="Jonathan Black" userId="e5795b31-d80f-4d2c-b0dc-20dfa8a62476" providerId="ADAL" clId="{EFDAEDCD-7DF7-4DBF-B436-DF651584B0BF}" dt="2021-09-15T08:50:58.724" v="128"/>
          <ac:spMkLst>
            <pc:docMk/>
            <pc:sldMk cId="3934256195" sldId="4069"/>
            <ac:spMk id="386" creationId="{76838031-C646-4D15-A1DA-875DEC93F514}"/>
          </ac:spMkLst>
        </pc:spChg>
        <pc:spChg chg="mod">
          <ac:chgData name="Jonathan Black" userId="e5795b31-d80f-4d2c-b0dc-20dfa8a62476" providerId="ADAL" clId="{EFDAEDCD-7DF7-4DBF-B436-DF651584B0BF}" dt="2021-09-15T08:50:58.740" v="131"/>
          <ac:spMkLst>
            <pc:docMk/>
            <pc:sldMk cId="3934256195" sldId="4069"/>
            <ac:spMk id="387" creationId="{6876D980-E81B-4837-8829-7790E164AC00}"/>
          </ac:spMkLst>
        </pc:spChg>
        <pc:spChg chg="mod">
          <ac:chgData name="Jonathan Black" userId="e5795b31-d80f-4d2c-b0dc-20dfa8a62476" providerId="ADAL" clId="{EFDAEDCD-7DF7-4DBF-B436-DF651584B0BF}" dt="2021-09-15T08:50:58.746" v="134"/>
          <ac:spMkLst>
            <pc:docMk/>
            <pc:sldMk cId="3934256195" sldId="4069"/>
            <ac:spMk id="388" creationId="{E44038A8-C883-4464-A09B-9FAE1617DD4E}"/>
          </ac:spMkLst>
        </pc:spChg>
        <pc:spChg chg="mod">
          <ac:chgData name="Jonathan Black" userId="e5795b31-d80f-4d2c-b0dc-20dfa8a62476" providerId="ADAL" clId="{EFDAEDCD-7DF7-4DBF-B436-DF651584B0BF}" dt="2021-09-15T08:50:58.762" v="146"/>
          <ac:spMkLst>
            <pc:docMk/>
            <pc:sldMk cId="3934256195" sldId="4069"/>
            <ac:spMk id="393" creationId="{3722657B-9841-492C-89A9-F882E10365D2}"/>
          </ac:spMkLst>
        </pc:spChg>
        <pc:spChg chg="mod">
          <ac:chgData name="Jonathan Black" userId="e5795b31-d80f-4d2c-b0dc-20dfa8a62476" providerId="ADAL" clId="{EFDAEDCD-7DF7-4DBF-B436-DF651584B0BF}" dt="2021-09-15T08:50:58.762" v="149"/>
          <ac:spMkLst>
            <pc:docMk/>
            <pc:sldMk cId="3934256195" sldId="4069"/>
            <ac:spMk id="394" creationId="{7FCE7908-C6EB-40F5-9A38-4552131C6EE6}"/>
          </ac:spMkLst>
        </pc:spChg>
        <pc:spChg chg="mod">
          <ac:chgData name="Jonathan Black" userId="e5795b31-d80f-4d2c-b0dc-20dfa8a62476" providerId="ADAL" clId="{EFDAEDCD-7DF7-4DBF-B436-DF651584B0BF}" dt="2021-09-15T08:50:58.777" v="152"/>
          <ac:spMkLst>
            <pc:docMk/>
            <pc:sldMk cId="3934256195" sldId="4069"/>
            <ac:spMk id="395" creationId="{B94223A1-3D6F-4189-918E-833B862206B6}"/>
          </ac:spMkLst>
        </pc:spChg>
        <pc:spChg chg="mod">
          <ac:chgData name="Jonathan Black" userId="e5795b31-d80f-4d2c-b0dc-20dfa8a62476" providerId="ADAL" clId="{EFDAEDCD-7DF7-4DBF-B436-DF651584B0BF}" dt="2021-09-15T08:50:58.777" v="155"/>
          <ac:spMkLst>
            <pc:docMk/>
            <pc:sldMk cId="3934256195" sldId="4069"/>
            <ac:spMk id="396" creationId="{A9ABF2D5-D4DB-406E-9528-A1B460CEEDAB}"/>
          </ac:spMkLst>
        </pc:spChg>
        <pc:spChg chg="mod">
          <ac:chgData name="Jonathan Black" userId="e5795b31-d80f-4d2c-b0dc-20dfa8a62476" providerId="ADAL" clId="{EFDAEDCD-7DF7-4DBF-B436-DF651584B0BF}" dt="2021-09-15T08:50:58.777" v="158"/>
          <ac:spMkLst>
            <pc:docMk/>
            <pc:sldMk cId="3934256195" sldId="4069"/>
            <ac:spMk id="397" creationId="{83A3D45C-AB28-4005-92FE-6CB119AA4879}"/>
          </ac:spMkLst>
        </pc:spChg>
        <pc:spChg chg="mod">
          <ac:chgData name="Jonathan Black" userId="e5795b31-d80f-4d2c-b0dc-20dfa8a62476" providerId="ADAL" clId="{EFDAEDCD-7DF7-4DBF-B436-DF651584B0BF}" dt="2021-09-15T08:50:58.793" v="161"/>
          <ac:spMkLst>
            <pc:docMk/>
            <pc:sldMk cId="3934256195" sldId="4069"/>
            <ac:spMk id="399" creationId="{50589E48-4BFD-49A6-8109-0DE4B8F1F1A0}"/>
          </ac:spMkLst>
        </pc:spChg>
        <pc:graphicFrameChg chg="mod">
          <ac:chgData name="Jonathan Black" userId="e5795b31-d80f-4d2c-b0dc-20dfa8a62476" providerId="ADAL" clId="{EFDAEDCD-7DF7-4DBF-B436-DF651584B0BF}" dt="2021-09-15T08:50:58.822" v="172"/>
          <ac:graphicFrameMkLst>
            <pc:docMk/>
            <pc:sldMk cId="3934256195" sldId="4069"/>
            <ac:graphicFrameMk id="12" creationId="{2CF4AFA0-8396-4951-931D-400D091B3665}"/>
          </ac:graphicFrameMkLst>
        </pc:graphicFrameChg>
      </pc:sldChg>
    </pc:docChg>
  </pc:docChgLst>
  <pc:docChgLst>
    <pc:chgData name="Ulysse Schnyder" userId="67eb5700-5ae8-4331-a576-f7bed5e5e677" providerId="ADAL" clId="{FF8267A0-6362-4F7E-AFFF-AF30BD52CFF0}"/>
    <pc:docChg chg="undo redo custSel addSld delSld modSld replTag">
      <pc:chgData name="Ulysse Schnyder" userId="67eb5700-5ae8-4331-a576-f7bed5e5e677" providerId="ADAL" clId="{FF8267A0-6362-4F7E-AFFF-AF30BD52CFF0}" dt="2021-09-13T10:56:49.769" v="6981" actId="20577"/>
      <pc:docMkLst>
        <pc:docMk/>
      </pc:docMkLst>
      <pc:sldChg chg="addSp delSp modSp mod">
        <pc:chgData name="Ulysse Schnyder" userId="67eb5700-5ae8-4331-a576-f7bed5e5e677" providerId="ADAL" clId="{FF8267A0-6362-4F7E-AFFF-AF30BD52CFF0}" dt="2021-09-13T10:12:22.081" v="6977" actId="20577"/>
        <pc:sldMkLst>
          <pc:docMk/>
          <pc:sldMk cId="2346211022" sldId="4020"/>
        </pc:sldMkLst>
        <pc:spChg chg="add del mod modVis">
          <ac:chgData name="Ulysse Schnyder" userId="67eb5700-5ae8-4331-a576-f7bed5e5e677" providerId="ADAL" clId="{FF8267A0-6362-4F7E-AFFF-AF30BD52CFF0}" dt="2021-09-13T10:00:15.987" v="6626"/>
          <ac:spMkLst>
            <pc:docMk/>
            <pc:sldMk cId="2346211022" sldId="4020"/>
            <ac:spMk id="2" creationId="{5324A160-CA94-4617-9D89-DDE529D949C3}"/>
          </ac:spMkLst>
        </pc:spChg>
        <pc:spChg chg="add del mod modVis">
          <ac:chgData name="Ulysse Schnyder" userId="67eb5700-5ae8-4331-a576-f7bed5e5e677" providerId="ADAL" clId="{FF8267A0-6362-4F7E-AFFF-AF30BD52CFF0}" dt="2021-09-13T10:00:17.660" v="6671"/>
          <ac:spMkLst>
            <pc:docMk/>
            <pc:sldMk cId="2346211022" sldId="4020"/>
            <ac:spMk id="3" creationId="{C48DC8BD-F0CB-400A-8DE8-8A61F1D6D594}"/>
          </ac:spMkLst>
        </pc:spChg>
        <pc:spChg chg="mod">
          <ac:chgData name="Ulysse Schnyder" userId="67eb5700-5ae8-4331-a576-f7bed5e5e677" providerId="ADAL" clId="{FF8267A0-6362-4F7E-AFFF-AF30BD52CFF0}" dt="2021-09-13T10:03:56.496" v="6813" actId="2710"/>
          <ac:spMkLst>
            <pc:docMk/>
            <pc:sldMk cId="2346211022" sldId="4020"/>
            <ac:spMk id="5" creationId="{157472B1-7C6A-44A8-AAA1-FFE9DE3F9442}"/>
          </ac:spMkLst>
        </pc:spChg>
        <pc:spChg chg="mod">
          <ac:chgData name="Ulysse Schnyder" userId="67eb5700-5ae8-4331-a576-f7bed5e5e677" providerId="ADAL" clId="{FF8267A0-6362-4F7E-AFFF-AF30BD52CFF0}" dt="2021-09-13T10:00:17.522" v="6631" actId="948"/>
          <ac:spMkLst>
            <pc:docMk/>
            <pc:sldMk cId="2346211022" sldId="4020"/>
            <ac:spMk id="12" creationId="{E88545EC-E11E-4B4A-9168-0446DB1A0F68}"/>
          </ac:spMkLst>
        </pc:spChg>
        <pc:spChg chg="mod">
          <ac:chgData name="Ulysse Schnyder" userId="67eb5700-5ae8-4331-a576-f7bed5e5e677" providerId="ADAL" clId="{FF8267A0-6362-4F7E-AFFF-AF30BD52CFF0}" dt="2021-09-13T10:00:21.468" v="6676" actId="20577"/>
          <ac:spMkLst>
            <pc:docMk/>
            <pc:sldMk cId="2346211022" sldId="4020"/>
            <ac:spMk id="23" creationId="{2C51A8F7-90C3-49F8-8E16-50E4185D61B9}"/>
          </ac:spMkLst>
        </pc:spChg>
        <pc:spChg chg="mod">
          <ac:chgData name="Ulysse Schnyder" userId="67eb5700-5ae8-4331-a576-f7bed5e5e677" providerId="ADAL" clId="{FF8267A0-6362-4F7E-AFFF-AF30BD52CFF0}" dt="2021-09-13T10:12:22.081" v="6977" actId="20577"/>
          <ac:spMkLst>
            <pc:docMk/>
            <pc:sldMk cId="2346211022" sldId="4020"/>
            <ac:spMk id="28" creationId="{DC820EF0-CB1D-4D70-B471-09003516D973}"/>
          </ac:spMkLst>
        </pc:spChg>
        <pc:graphicFrameChg chg="mod">
          <ac:chgData name="Ulysse Schnyder" userId="67eb5700-5ae8-4331-a576-f7bed5e5e677" providerId="ADAL" clId="{FF8267A0-6362-4F7E-AFFF-AF30BD52CFF0}" dt="2021-09-13T10:00:17.667" v="6673"/>
          <ac:graphicFrameMkLst>
            <pc:docMk/>
            <pc:sldMk cId="2346211022" sldId="4020"/>
            <ac:graphicFrameMk id="24" creationId="{ADD8FECE-8F4C-4862-BCEE-3281A65408ED}"/>
          </ac:graphicFrameMkLst>
        </pc:graphicFrameChg>
      </pc:sldChg>
      <pc:sldChg chg="addSp delSp modSp mod">
        <pc:chgData name="Ulysse Schnyder" userId="67eb5700-5ae8-4331-a576-f7bed5e5e677" providerId="ADAL" clId="{FF8267A0-6362-4F7E-AFFF-AF30BD52CFF0}" dt="2021-09-13T10:12:13.559" v="6967" actId="20577"/>
        <pc:sldMkLst>
          <pc:docMk/>
          <pc:sldMk cId="4058276406" sldId="4021"/>
        </pc:sldMkLst>
        <pc:spChg chg="add del mod modVis">
          <ac:chgData name="Ulysse Schnyder" userId="67eb5700-5ae8-4331-a576-f7bed5e5e677" providerId="ADAL" clId="{FF8267A0-6362-4F7E-AFFF-AF30BD52CFF0}" dt="2021-09-13T09:59:44.476" v="6557"/>
          <ac:spMkLst>
            <pc:docMk/>
            <pc:sldMk cId="4058276406" sldId="4021"/>
            <ac:spMk id="2" creationId="{FDDAC1A1-FDD4-4274-9BC2-C2228D661C90}"/>
          </ac:spMkLst>
        </pc:spChg>
        <pc:spChg chg="mod">
          <ac:chgData name="Ulysse Schnyder" userId="67eb5700-5ae8-4331-a576-f7bed5e5e677" providerId="ADAL" clId="{FF8267A0-6362-4F7E-AFFF-AF30BD52CFF0}" dt="2021-09-13T10:04:32.653" v="6820" actId="403"/>
          <ac:spMkLst>
            <pc:docMk/>
            <pc:sldMk cId="4058276406" sldId="4021"/>
            <ac:spMk id="5" creationId="{157472B1-7C6A-44A8-AAA1-FFE9DE3F9442}"/>
          </ac:spMkLst>
        </pc:spChg>
        <pc:spChg chg="mod">
          <ac:chgData name="Ulysse Schnyder" userId="67eb5700-5ae8-4331-a576-f7bed5e5e677" providerId="ADAL" clId="{FF8267A0-6362-4F7E-AFFF-AF30BD52CFF0}" dt="2021-09-13T09:59:44.353" v="6517" actId="948"/>
          <ac:spMkLst>
            <pc:docMk/>
            <pc:sldMk cId="4058276406" sldId="4021"/>
            <ac:spMk id="12" creationId="{E88545EC-E11E-4B4A-9168-0446DB1A0F68}"/>
          </ac:spMkLst>
        </pc:spChg>
        <pc:spChg chg="mod">
          <ac:chgData name="Ulysse Schnyder" userId="67eb5700-5ae8-4331-a576-f7bed5e5e677" providerId="ADAL" clId="{FF8267A0-6362-4F7E-AFFF-AF30BD52CFF0}" dt="2021-09-13T10:00:02.577" v="6580" actId="20577"/>
          <ac:spMkLst>
            <pc:docMk/>
            <pc:sldMk cId="4058276406" sldId="4021"/>
            <ac:spMk id="23" creationId="{2C51A8F7-90C3-49F8-8E16-50E4185D61B9}"/>
          </ac:spMkLst>
        </pc:spChg>
        <pc:spChg chg="mod">
          <ac:chgData name="Ulysse Schnyder" userId="67eb5700-5ae8-4331-a576-f7bed5e5e677" providerId="ADAL" clId="{FF8267A0-6362-4F7E-AFFF-AF30BD52CFF0}" dt="2021-09-13T10:11:56" v="6957" actId="14100"/>
          <ac:spMkLst>
            <pc:docMk/>
            <pc:sldMk cId="4058276406" sldId="4021"/>
            <ac:spMk id="41" creationId="{B51C737D-4B05-43D0-AAAB-892A2E966760}"/>
          </ac:spMkLst>
        </pc:spChg>
        <pc:spChg chg="mod">
          <ac:chgData name="Ulysse Schnyder" userId="67eb5700-5ae8-4331-a576-f7bed5e5e677" providerId="ADAL" clId="{FF8267A0-6362-4F7E-AFFF-AF30BD52CFF0}" dt="2021-09-13T10:12:13.559" v="6967" actId="20577"/>
          <ac:spMkLst>
            <pc:docMk/>
            <pc:sldMk cId="4058276406" sldId="4021"/>
            <ac:spMk id="46" creationId="{F786D2AE-3BD4-4BBA-BEEF-7E6E67F991E6}"/>
          </ac:spMkLst>
        </pc:spChg>
        <pc:spChg chg="mod">
          <ac:chgData name="Ulysse Schnyder" userId="67eb5700-5ae8-4331-a576-f7bed5e5e677" providerId="ADAL" clId="{FF8267A0-6362-4F7E-AFFF-AF30BD52CFF0}" dt="2021-09-13T10:11:47.176" v="6946" actId="20577"/>
          <ac:spMkLst>
            <pc:docMk/>
            <pc:sldMk cId="4058276406" sldId="4021"/>
            <ac:spMk id="47" creationId="{2CA93ED3-98CB-4F83-80DD-15C0223932CA}"/>
          </ac:spMkLst>
        </pc:spChg>
        <pc:graphicFrameChg chg="mod">
          <ac:chgData name="Ulysse Schnyder" userId="67eb5700-5ae8-4331-a576-f7bed5e5e677" providerId="ADAL" clId="{FF8267A0-6362-4F7E-AFFF-AF30BD52CFF0}" dt="2021-09-13T09:59:44.534" v="6559"/>
          <ac:graphicFrameMkLst>
            <pc:docMk/>
            <pc:sldMk cId="4058276406" sldId="4021"/>
            <ac:graphicFrameMk id="24" creationId="{ADD8FECE-8F4C-4862-BCEE-3281A65408ED}"/>
          </ac:graphicFrameMkLst>
        </pc:graphicFrameChg>
      </pc:sldChg>
      <pc:sldChg chg="addSp delSp modSp mod">
        <pc:chgData name="Ulysse Schnyder" userId="67eb5700-5ae8-4331-a576-f7bed5e5e677" providerId="ADAL" clId="{FF8267A0-6362-4F7E-AFFF-AF30BD52CFF0}" dt="2021-09-13T10:04:44.423" v="6824" actId="255"/>
        <pc:sldMkLst>
          <pc:docMk/>
          <pc:sldMk cId="1594852923" sldId="4022"/>
        </pc:sldMkLst>
        <pc:spChg chg="add del mod modVis">
          <ac:chgData name="Ulysse Schnyder" userId="67eb5700-5ae8-4331-a576-f7bed5e5e677" providerId="ADAL" clId="{FF8267A0-6362-4F7E-AFFF-AF30BD52CFF0}" dt="2021-09-13T09:59:31.392" v="6492"/>
          <ac:spMkLst>
            <pc:docMk/>
            <pc:sldMk cId="1594852923" sldId="4022"/>
            <ac:spMk id="2" creationId="{061D4259-F518-4B5C-B773-C1BE351E57E9}"/>
          </ac:spMkLst>
        </pc:spChg>
        <pc:spChg chg="mod">
          <ac:chgData name="Ulysse Schnyder" userId="67eb5700-5ae8-4331-a576-f7bed5e5e677" providerId="ADAL" clId="{FF8267A0-6362-4F7E-AFFF-AF30BD52CFF0}" dt="2021-09-13T10:04:44.423" v="6824" actId="255"/>
          <ac:spMkLst>
            <pc:docMk/>
            <pc:sldMk cId="1594852923" sldId="4022"/>
            <ac:spMk id="5" creationId="{157472B1-7C6A-44A8-AAA1-FFE9DE3F9442}"/>
          </ac:spMkLst>
        </pc:spChg>
        <pc:spChg chg="mod">
          <ac:chgData name="Ulysse Schnyder" userId="67eb5700-5ae8-4331-a576-f7bed5e5e677" providerId="ADAL" clId="{FF8267A0-6362-4F7E-AFFF-AF30BD52CFF0}" dt="2021-09-13T09:59:31.257" v="6452" actId="948"/>
          <ac:spMkLst>
            <pc:docMk/>
            <pc:sldMk cId="1594852923" sldId="4022"/>
            <ac:spMk id="12" creationId="{E88545EC-E11E-4B4A-9168-0446DB1A0F68}"/>
          </ac:spMkLst>
        </pc:spChg>
        <pc:spChg chg="mod">
          <ac:chgData name="Ulysse Schnyder" userId="67eb5700-5ae8-4331-a576-f7bed5e5e677" providerId="ADAL" clId="{FF8267A0-6362-4F7E-AFFF-AF30BD52CFF0}" dt="2021-09-13T10:00:12.079" v="6584" actId="20577"/>
          <ac:spMkLst>
            <pc:docMk/>
            <pc:sldMk cId="1594852923" sldId="4022"/>
            <ac:spMk id="23" creationId="{2C51A8F7-90C3-49F8-8E16-50E4185D61B9}"/>
          </ac:spMkLst>
        </pc:spChg>
        <pc:spChg chg="mod">
          <ac:chgData name="Ulysse Schnyder" userId="67eb5700-5ae8-4331-a576-f7bed5e5e677" providerId="ADAL" clId="{FF8267A0-6362-4F7E-AFFF-AF30BD52CFF0}" dt="2021-09-13T09:59:35.884" v="6506" actId="6549"/>
          <ac:spMkLst>
            <pc:docMk/>
            <pc:sldMk cId="1594852923" sldId="4022"/>
            <ac:spMk id="32" creationId="{1512A3D6-DA09-4793-954C-3527E7BC75DC}"/>
          </ac:spMkLst>
        </pc:spChg>
        <pc:graphicFrameChg chg="mod">
          <ac:chgData name="Ulysse Schnyder" userId="67eb5700-5ae8-4331-a576-f7bed5e5e677" providerId="ADAL" clId="{FF8267A0-6362-4F7E-AFFF-AF30BD52CFF0}" dt="2021-09-13T09:59:31.444" v="6494"/>
          <ac:graphicFrameMkLst>
            <pc:docMk/>
            <pc:sldMk cId="1594852923" sldId="4022"/>
            <ac:graphicFrameMk id="24" creationId="{ADD8FECE-8F4C-4862-BCEE-3281A65408ED}"/>
          </ac:graphicFrameMkLst>
        </pc:graphicFrameChg>
      </pc:sldChg>
      <pc:sldChg chg="modSp add mod">
        <pc:chgData name="Ulysse Schnyder" userId="67eb5700-5ae8-4331-a576-f7bed5e5e677" providerId="ADAL" clId="{FF8267A0-6362-4F7E-AFFF-AF30BD52CFF0}" dt="2021-09-03T16:00:38.540" v="6109"/>
        <pc:sldMkLst>
          <pc:docMk/>
          <pc:sldMk cId="1131210539" sldId="4063"/>
        </pc:sldMkLst>
        <pc:spChg chg="mod">
          <ac:chgData name="Ulysse Schnyder" userId="67eb5700-5ae8-4331-a576-f7bed5e5e677" providerId="ADAL" clId="{FF8267A0-6362-4F7E-AFFF-AF30BD52CFF0}" dt="2021-09-03T16:00:38.540" v="6109"/>
          <ac:spMkLst>
            <pc:docMk/>
            <pc:sldMk cId="1131210539" sldId="4063"/>
            <ac:spMk id="14" creationId="{42B6754A-DC97-4DCD-AAFB-430F69E674A9}"/>
          </ac:spMkLst>
        </pc:spChg>
      </pc:sldChg>
      <pc:sldChg chg="modSp add mod">
        <pc:chgData name="Ulysse Schnyder" userId="67eb5700-5ae8-4331-a576-f7bed5e5e677" providerId="ADAL" clId="{FF8267A0-6362-4F7E-AFFF-AF30BD52CFF0}" dt="2021-09-13T10:06:08.922" v="6929" actId="2711"/>
        <pc:sldMkLst>
          <pc:docMk/>
          <pc:sldMk cId="2143737002" sldId="4065"/>
        </pc:sldMkLst>
        <pc:spChg chg="mod">
          <ac:chgData name="Ulysse Schnyder" userId="67eb5700-5ae8-4331-a576-f7bed5e5e677" providerId="ADAL" clId="{FF8267A0-6362-4F7E-AFFF-AF30BD52CFF0}" dt="2021-09-13T10:06:08.922" v="6929" actId="2711"/>
          <ac:spMkLst>
            <pc:docMk/>
            <pc:sldMk cId="2143737002" sldId="4065"/>
            <ac:spMk id="10" creationId="{46DD9886-A260-4C5A-A3D9-BCFEB492D441}"/>
          </ac:spMkLst>
        </pc:spChg>
        <pc:spChg chg="mod">
          <ac:chgData name="Ulysse Schnyder" userId="67eb5700-5ae8-4331-a576-f7bed5e5e677" providerId="ADAL" clId="{FF8267A0-6362-4F7E-AFFF-AF30BD52CFF0}" dt="2021-09-03T13:30:52.552" v="6058" actId="20577"/>
          <ac:spMkLst>
            <pc:docMk/>
            <pc:sldMk cId="2143737002" sldId="4065"/>
            <ac:spMk id="15" creationId="{110AC8C3-D7D7-4656-99A7-EB95276846D5}"/>
          </ac:spMkLst>
        </pc:spChg>
      </pc:sldChg>
      <pc:sldChg chg="modSp mod">
        <pc:chgData name="Ulysse Schnyder" userId="67eb5700-5ae8-4331-a576-f7bed5e5e677" providerId="ADAL" clId="{FF8267A0-6362-4F7E-AFFF-AF30BD52CFF0}" dt="2021-08-25T09:59:56.258" v="3711" actId="20577"/>
        <pc:sldMkLst>
          <pc:docMk/>
          <pc:sldMk cId="4012247648" sldId="4066"/>
        </pc:sldMkLst>
        <pc:spChg chg="mod">
          <ac:chgData name="Ulysse Schnyder" userId="67eb5700-5ae8-4331-a576-f7bed5e5e677" providerId="ADAL" clId="{FF8267A0-6362-4F7E-AFFF-AF30BD52CFF0}" dt="2021-08-25T09:59:56.258" v="3711" actId="20577"/>
          <ac:spMkLst>
            <pc:docMk/>
            <pc:sldMk cId="4012247648" sldId="4066"/>
            <ac:spMk id="242" creationId="{C54F01CF-9F2E-449B-A5FC-9B55BF73F177}"/>
          </ac:spMkLst>
        </pc:spChg>
      </pc:sldChg>
      <pc:sldChg chg="delSp modSp add del mod">
        <pc:chgData name="Ulysse Schnyder" userId="67eb5700-5ae8-4331-a576-f7bed5e5e677" providerId="ADAL" clId="{FF8267A0-6362-4F7E-AFFF-AF30BD52CFF0}" dt="2021-08-25T09:59:03.766" v="3678" actId="47"/>
        <pc:sldMkLst>
          <pc:docMk/>
          <pc:sldMk cId="1786448270" sldId="4080"/>
        </pc:sldMkLst>
        <pc:spChg chg="mod">
          <ac:chgData name="Ulysse Schnyder" userId="67eb5700-5ae8-4331-a576-f7bed5e5e677" providerId="ADAL" clId="{FF8267A0-6362-4F7E-AFFF-AF30BD52CFF0}" dt="2021-08-23T17:54:51.498" v="15" actId="20577"/>
          <ac:spMkLst>
            <pc:docMk/>
            <pc:sldMk cId="1786448270" sldId="4080"/>
            <ac:spMk id="242" creationId="{C54F01CF-9F2E-449B-A5FC-9B55BF73F177}"/>
          </ac:spMkLst>
        </pc:spChg>
        <pc:spChg chg="mod">
          <ac:chgData name="Ulysse Schnyder" userId="67eb5700-5ae8-4331-a576-f7bed5e5e677" providerId="ADAL" clId="{FF8267A0-6362-4F7E-AFFF-AF30BD52CFF0}" dt="2021-08-24T19:41:43.341" v="2548" actId="20577"/>
          <ac:spMkLst>
            <pc:docMk/>
            <pc:sldMk cId="1786448270" sldId="4080"/>
            <ac:spMk id="244" creationId="{821BB02E-B180-474E-8A98-B1FC38B7919B}"/>
          </ac:spMkLst>
        </pc:spChg>
        <pc:spChg chg="del">
          <ac:chgData name="Ulysse Schnyder" userId="67eb5700-5ae8-4331-a576-f7bed5e5e677" providerId="ADAL" clId="{FF8267A0-6362-4F7E-AFFF-AF30BD52CFF0}" dt="2021-08-23T17:55:00.990" v="16" actId="478"/>
          <ac:spMkLst>
            <pc:docMk/>
            <pc:sldMk cId="1786448270" sldId="4080"/>
            <ac:spMk id="245" creationId="{1A90D695-57A0-421F-B2FB-58B1004A54A3}"/>
          </ac:spMkLst>
        </pc:spChg>
        <pc:spChg chg="del">
          <ac:chgData name="Ulysse Schnyder" userId="67eb5700-5ae8-4331-a576-f7bed5e5e677" providerId="ADAL" clId="{FF8267A0-6362-4F7E-AFFF-AF30BD52CFF0}" dt="2021-08-23T18:01:02.617" v="786" actId="478"/>
          <ac:spMkLst>
            <pc:docMk/>
            <pc:sldMk cId="1786448270" sldId="4080"/>
            <ac:spMk id="246" creationId="{89C4787B-EF25-4648-A7C3-DD5EF4110324}"/>
          </ac:spMkLst>
        </pc:spChg>
      </pc:sldChg>
      <pc:sldChg chg="addSp delSp modSp add mod modClrScheme chgLayout">
        <pc:chgData name="Ulysse Schnyder" userId="67eb5700-5ae8-4331-a576-f7bed5e5e677" providerId="ADAL" clId="{FF8267A0-6362-4F7E-AFFF-AF30BD52CFF0}" dt="2021-08-26T10:13:25.393" v="5855" actId="1076"/>
        <pc:sldMkLst>
          <pc:docMk/>
          <pc:sldMk cId="1196129177" sldId="4081"/>
        </pc:sldMkLst>
        <pc:spChg chg="add del mod">
          <ac:chgData name="Ulysse Schnyder" userId="67eb5700-5ae8-4331-a576-f7bed5e5e677" providerId="ADAL" clId="{FF8267A0-6362-4F7E-AFFF-AF30BD52CFF0}" dt="2021-08-24T19:27:17.016" v="1612" actId="478"/>
          <ac:spMkLst>
            <pc:docMk/>
            <pc:sldMk cId="1196129177" sldId="4081"/>
            <ac:spMk id="2" creationId="{CED2B430-FAEA-4FB3-901A-5C1BF821ECF2}"/>
          </ac:spMkLst>
        </pc:spChg>
        <pc:spChg chg="add mod">
          <ac:chgData name="Ulysse Schnyder" userId="67eb5700-5ae8-4331-a576-f7bed5e5e677" providerId="ADAL" clId="{FF8267A0-6362-4F7E-AFFF-AF30BD52CFF0}" dt="2021-08-25T12:20:32.582" v="4014" actId="20577"/>
          <ac:spMkLst>
            <pc:docMk/>
            <pc:sldMk cId="1196129177" sldId="4081"/>
            <ac:spMk id="4" creationId="{E6F0A037-F746-4F63-91B2-828A7A620BA2}"/>
          </ac:spMkLst>
        </pc:spChg>
        <pc:spChg chg="add mod">
          <ac:chgData name="Ulysse Schnyder" userId="67eb5700-5ae8-4331-a576-f7bed5e5e677" providerId="ADAL" clId="{FF8267A0-6362-4F7E-AFFF-AF30BD52CFF0}" dt="2021-08-25T12:19:59.470" v="3987" actId="14100"/>
          <ac:spMkLst>
            <pc:docMk/>
            <pc:sldMk cId="1196129177" sldId="4081"/>
            <ac:spMk id="5" creationId="{8421F3D1-ACFC-4F94-A2E2-D08201A1A6B8}"/>
          </ac:spMkLst>
        </pc:spChg>
        <pc:spChg chg="mod ord">
          <ac:chgData name="Ulysse Schnyder" userId="67eb5700-5ae8-4331-a576-f7bed5e5e677" providerId="ADAL" clId="{FF8267A0-6362-4F7E-AFFF-AF30BD52CFF0}" dt="2021-08-25T12:53:37.329" v="4800"/>
          <ac:spMkLst>
            <pc:docMk/>
            <pc:sldMk cId="1196129177" sldId="4081"/>
            <ac:spMk id="6" creationId="{B7FE6929-531D-4F05-902E-A45ACC12C34A}"/>
          </ac:spMkLst>
        </pc:spChg>
        <pc:spChg chg="del mod ord">
          <ac:chgData name="Ulysse Schnyder" userId="67eb5700-5ae8-4331-a576-f7bed5e5e677" providerId="ADAL" clId="{FF8267A0-6362-4F7E-AFFF-AF30BD52CFF0}" dt="2021-08-25T12:53:37.329" v="4800"/>
          <ac:spMkLst>
            <pc:docMk/>
            <pc:sldMk cId="1196129177" sldId="4081"/>
            <ac:spMk id="8" creationId="{F1313CC7-B002-40A2-9007-4C04D7DA9908}"/>
          </ac:spMkLst>
        </pc:spChg>
        <pc:spChg chg="mod ord">
          <ac:chgData name="Ulysse Schnyder" userId="67eb5700-5ae8-4331-a576-f7bed5e5e677" providerId="ADAL" clId="{FF8267A0-6362-4F7E-AFFF-AF30BD52CFF0}" dt="2021-08-25T12:53:37.329" v="4800"/>
          <ac:spMkLst>
            <pc:docMk/>
            <pc:sldMk cId="1196129177" sldId="4081"/>
            <ac:spMk id="9" creationId="{C9A011CE-CB56-44F9-A5DC-3865AC07DA56}"/>
          </ac:spMkLst>
        </pc:spChg>
        <pc:spChg chg="del mod ord">
          <ac:chgData name="Ulysse Schnyder" userId="67eb5700-5ae8-4331-a576-f7bed5e5e677" providerId="ADAL" clId="{FF8267A0-6362-4F7E-AFFF-AF30BD52CFF0}" dt="2021-08-25T12:53:37.329" v="4800"/>
          <ac:spMkLst>
            <pc:docMk/>
            <pc:sldMk cId="1196129177" sldId="4081"/>
            <ac:spMk id="10" creationId="{0B8060AA-EDF2-469A-9D02-CBADE2B73CA5}"/>
          </ac:spMkLst>
        </pc:spChg>
        <pc:spChg chg="add del mod ord">
          <ac:chgData name="Ulysse Schnyder" userId="67eb5700-5ae8-4331-a576-f7bed5e5e677" providerId="ADAL" clId="{FF8267A0-6362-4F7E-AFFF-AF30BD52CFF0}" dt="2021-08-25T12:53:40.227" v="4801" actId="478"/>
          <ac:spMkLst>
            <pc:docMk/>
            <pc:sldMk cId="1196129177" sldId="4081"/>
            <ac:spMk id="11" creationId="{B30857B1-1E87-49B0-9976-BFC0578F6223}"/>
          </ac:spMkLst>
        </pc:spChg>
        <pc:spChg chg="add mod">
          <ac:chgData name="Ulysse Schnyder" userId="67eb5700-5ae8-4331-a576-f7bed5e5e677" providerId="ADAL" clId="{FF8267A0-6362-4F7E-AFFF-AF30BD52CFF0}" dt="2021-08-25T12:20:34.973" v="4015" actId="6549"/>
          <ac:spMkLst>
            <pc:docMk/>
            <pc:sldMk cId="1196129177" sldId="4081"/>
            <ac:spMk id="13" creationId="{C4FAF325-516E-4368-A3E2-276A27C53422}"/>
          </ac:spMkLst>
        </pc:spChg>
        <pc:spChg chg="add mod">
          <ac:chgData name="Ulysse Schnyder" userId="67eb5700-5ae8-4331-a576-f7bed5e5e677" providerId="ADAL" clId="{FF8267A0-6362-4F7E-AFFF-AF30BD52CFF0}" dt="2021-08-25T12:20:47.125" v="4017" actId="20577"/>
          <ac:spMkLst>
            <pc:docMk/>
            <pc:sldMk cId="1196129177" sldId="4081"/>
            <ac:spMk id="14" creationId="{4C95556C-C809-46B2-B5DE-BA36EC216ACA}"/>
          </ac:spMkLst>
        </pc:spChg>
        <pc:spChg chg="add mod">
          <ac:chgData name="Ulysse Schnyder" userId="67eb5700-5ae8-4331-a576-f7bed5e5e677" providerId="ADAL" clId="{FF8267A0-6362-4F7E-AFFF-AF30BD52CFF0}" dt="2021-08-26T10:04:22.502" v="5273" actId="1037"/>
          <ac:spMkLst>
            <pc:docMk/>
            <pc:sldMk cId="1196129177" sldId="4081"/>
            <ac:spMk id="15" creationId="{FFCD420A-4C9C-4998-9F59-A1CED8FD5EDC}"/>
          </ac:spMkLst>
        </pc:spChg>
        <pc:spChg chg="add mod ord">
          <ac:chgData name="Ulysse Schnyder" userId="67eb5700-5ae8-4331-a576-f7bed5e5e677" providerId="ADAL" clId="{FF8267A0-6362-4F7E-AFFF-AF30BD52CFF0}" dt="2021-08-26T10:09:27.219" v="5800" actId="20577"/>
          <ac:spMkLst>
            <pc:docMk/>
            <pc:sldMk cId="1196129177" sldId="4081"/>
            <ac:spMk id="16" creationId="{0DE01F0C-E43B-4DBF-ABCE-24CD34531506}"/>
          </ac:spMkLst>
        </pc:spChg>
        <pc:spChg chg="mod">
          <ac:chgData name="Ulysse Schnyder" userId="67eb5700-5ae8-4331-a576-f7bed5e5e677" providerId="ADAL" clId="{FF8267A0-6362-4F7E-AFFF-AF30BD52CFF0}" dt="2021-08-25T12:19:28.127" v="3974"/>
          <ac:spMkLst>
            <pc:docMk/>
            <pc:sldMk cId="1196129177" sldId="4081"/>
            <ac:spMk id="18" creationId="{F7C3B839-CA2E-4CB2-9855-832402C2D776}"/>
          </ac:spMkLst>
        </pc:spChg>
        <pc:spChg chg="mod">
          <ac:chgData name="Ulysse Schnyder" userId="67eb5700-5ae8-4331-a576-f7bed5e5e677" providerId="ADAL" clId="{FF8267A0-6362-4F7E-AFFF-AF30BD52CFF0}" dt="2021-08-25T12:19:28.127" v="3974"/>
          <ac:spMkLst>
            <pc:docMk/>
            <pc:sldMk cId="1196129177" sldId="4081"/>
            <ac:spMk id="19" creationId="{08981793-C5C4-4368-A5CF-DB2D25BFE3DF}"/>
          </ac:spMkLst>
        </pc:spChg>
        <pc:spChg chg="mod">
          <ac:chgData name="Ulysse Schnyder" userId="67eb5700-5ae8-4331-a576-f7bed5e5e677" providerId="ADAL" clId="{FF8267A0-6362-4F7E-AFFF-AF30BD52CFF0}" dt="2021-08-25T12:19:28.127" v="3974"/>
          <ac:spMkLst>
            <pc:docMk/>
            <pc:sldMk cId="1196129177" sldId="4081"/>
            <ac:spMk id="20" creationId="{3F188F29-D287-46B4-AD42-4EBDEE8DFF8C}"/>
          </ac:spMkLst>
        </pc:spChg>
        <pc:spChg chg="mod">
          <ac:chgData name="Ulysse Schnyder" userId="67eb5700-5ae8-4331-a576-f7bed5e5e677" providerId="ADAL" clId="{FF8267A0-6362-4F7E-AFFF-AF30BD52CFF0}" dt="2021-08-25T12:19:28.127" v="3974"/>
          <ac:spMkLst>
            <pc:docMk/>
            <pc:sldMk cId="1196129177" sldId="4081"/>
            <ac:spMk id="21" creationId="{68D97FEF-5C37-4147-9555-73A910ED69AD}"/>
          </ac:spMkLst>
        </pc:spChg>
        <pc:spChg chg="mod">
          <ac:chgData name="Ulysse Schnyder" userId="67eb5700-5ae8-4331-a576-f7bed5e5e677" providerId="ADAL" clId="{FF8267A0-6362-4F7E-AFFF-AF30BD52CFF0}" dt="2021-08-25T12:19:31.545" v="3976"/>
          <ac:spMkLst>
            <pc:docMk/>
            <pc:sldMk cId="1196129177" sldId="4081"/>
            <ac:spMk id="23" creationId="{3F800D27-6DD9-4EDE-8CC8-2AEC24EE2827}"/>
          </ac:spMkLst>
        </pc:spChg>
        <pc:spChg chg="mod">
          <ac:chgData name="Ulysse Schnyder" userId="67eb5700-5ae8-4331-a576-f7bed5e5e677" providerId="ADAL" clId="{FF8267A0-6362-4F7E-AFFF-AF30BD52CFF0}" dt="2021-08-25T12:19:31.545" v="3976"/>
          <ac:spMkLst>
            <pc:docMk/>
            <pc:sldMk cId="1196129177" sldId="4081"/>
            <ac:spMk id="24" creationId="{2AAC8E74-993F-4C1D-9211-E1F3EB490BD6}"/>
          </ac:spMkLst>
        </pc:spChg>
        <pc:spChg chg="mod">
          <ac:chgData name="Ulysse Schnyder" userId="67eb5700-5ae8-4331-a576-f7bed5e5e677" providerId="ADAL" clId="{FF8267A0-6362-4F7E-AFFF-AF30BD52CFF0}" dt="2021-08-25T12:19:31.545" v="3976"/>
          <ac:spMkLst>
            <pc:docMk/>
            <pc:sldMk cId="1196129177" sldId="4081"/>
            <ac:spMk id="25" creationId="{8C229971-1E40-4B33-95EE-1EB22F1BE23A}"/>
          </ac:spMkLst>
        </pc:spChg>
        <pc:spChg chg="mod">
          <ac:chgData name="Ulysse Schnyder" userId="67eb5700-5ae8-4331-a576-f7bed5e5e677" providerId="ADAL" clId="{FF8267A0-6362-4F7E-AFFF-AF30BD52CFF0}" dt="2021-08-25T12:19:31.545" v="3976"/>
          <ac:spMkLst>
            <pc:docMk/>
            <pc:sldMk cId="1196129177" sldId="4081"/>
            <ac:spMk id="26" creationId="{A0CBD1AF-58E4-4851-847A-CE59F9F42233}"/>
          </ac:spMkLst>
        </pc:spChg>
        <pc:spChg chg="mod">
          <ac:chgData name="Ulysse Schnyder" userId="67eb5700-5ae8-4331-a576-f7bed5e5e677" providerId="ADAL" clId="{FF8267A0-6362-4F7E-AFFF-AF30BD52CFF0}" dt="2021-08-25T12:20:51.315" v="4019" actId="20577"/>
          <ac:spMkLst>
            <pc:docMk/>
            <pc:sldMk cId="1196129177" sldId="4081"/>
            <ac:spMk id="28" creationId="{B694A9D6-A15B-41BF-9980-7B8180BBBF19}"/>
          </ac:spMkLst>
        </pc:spChg>
        <pc:spChg chg="mod">
          <ac:chgData name="Ulysse Schnyder" userId="67eb5700-5ae8-4331-a576-f7bed5e5e677" providerId="ADAL" clId="{FF8267A0-6362-4F7E-AFFF-AF30BD52CFF0}" dt="2021-08-25T12:20:55.821" v="4021" actId="20577"/>
          <ac:spMkLst>
            <pc:docMk/>
            <pc:sldMk cId="1196129177" sldId="4081"/>
            <ac:spMk id="29" creationId="{52DC53EA-9C75-4179-AC72-BC73E89DF605}"/>
          </ac:spMkLst>
        </pc:spChg>
        <pc:spChg chg="mod">
          <ac:chgData name="Ulysse Schnyder" userId="67eb5700-5ae8-4331-a576-f7bed5e5e677" providerId="ADAL" clId="{FF8267A0-6362-4F7E-AFFF-AF30BD52CFF0}" dt="2021-08-25T12:21:02.902" v="4025" actId="20577"/>
          <ac:spMkLst>
            <pc:docMk/>
            <pc:sldMk cId="1196129177" sldId="4081"/>
            <ac:spMk id="30" creationId="{4F0CC34A-CB15-43C9-8926-B6942650547C}"/>
          </ac:spMkLst>
        </pc:spChg>
        <pc:spChg chg="mod">
          <ac:chgData name="Ulysse Schnyder" userId="67eb5700-5ae8-4331-a576-f7bed5e5e677" providerId="ADAL" clId="{FF8267A0-6362-4F7E-AFFF-AF30BD52CFF0}" dt="2021-08-25T12:20:15.155" v="4001" actId="20577"/>
          <ac:spMkLst>
            <pc:docMk/>
            <pc:sldMk cId="1196129177" sldId="4081"/>
            <ac:spMk id="31" creationId="{B62F399A-2704-4746-84EF-A1FEF3A2B95C}"/>
          </ac:spMkLst>
        </pc:spChg>
        <pc:spChg chg="mod">
          <ac:chgData name="Ulysse Schnyder" userId="67eb5700-5ae8-4331-a576-f7bed5e5e677" providerId="ADAL" clId="{FF8267A0-6362-4F7E-AFFF-AF30BD52CFF0}" dt="2021-08-25T12:20:24.525" v="4009" actId="20577"/>
          <ac:spMkLst>
            <pc:docMk/>
            <pc:sldMk cId="1196129177" sldId="4081"/>
            <ac:spMk id="33" creationId="{8B2BB311-64DB-4D1D-AE15-5AFB4B4E7981}"/>
          </ac:spMkLst>
        </pc:spChg>
        <pc:spChg chg="mod">
          <ac:chgData name="Ulysse Schnyder" userId="67eb5700-5ae8-4331-a576-f7bed5e5e677" providerId="ADAL" clId="{FF8267A0-6362-4F7E-AFFF-AF30BD52CFF0}" dt="2021-08-25T12:20:03.069" v="3989"/>
          <ac:spMkLst>
            <pc:docMk/>
            <pc:sldMk cId="1196129177" sldId="4081"/>
            <ac:spMk id="34" creationId="{BA6C2985-2824-4D8D-AAB1-43705B02FEB6}"/>
          </ac:spMkLst>
        </pc:spChg>
        <pc:spChg chg="mod">
          <ac:chgData name="Ulysse Schnyder" userId="67eb5700-5ae8-4331-a576-f7bed5e5e677" providerId="ADAL" clId="{FF8267A0-6362-4F7E-AFFF-AF30BD52CFF0}" dt="2021-08-25T12:20:03.069" v="3989"/>
          <ac:spMkLst>
            <pc:docMk/>
            <pc:sldMk cId="1196129177" sldId="4081"/>
            <ac:spMk id="35" creationId="{C1DD0564-F7F9-484B-8DCF-2B6ED32D72F8}"/>
          </ac:spMkLst>
        </pc:spChg>
        <pc:spChg chg="mod">
          <ac:chgData name="Ulysse Schnyder" userId="67eb5700-5ae8-4331-a576-f7bed5e5e677" providerId="ADAL" clId="{FF8267A0-6362-4F7E-AFFF-AF30BD52CFF0}" dt="2021-08-25T12:20:17.973" v="4007" actId="20577"/>
          <ac:spMkLst>
            <pc:docMk/>
            <pc:sldMk cId="1196129177" sldId="4081"/>
            <ac:spMk id="36" creationId="{1D33D567-E1C3-443F-B1E7-138AFF462335}"/>
          </ac:spMkLst>
        </pc:spChg>
        <pc:spChg chg="mod">
          <ac:chgData name="Ulysse Schnyder" userId="67eb5700-5ae8-4331-a576-f7bed5e5e677" providerId="ADAL" clId="{FF8267A0-6362-4F7E-AFFF-AF30BD52CFF0}" dt="2021-08-25T12:21:31.043" v="4026"/>
          <ac:spMkLst>
            <pc:docMk/>
            <pc:sldMk cId="1196129177" sldId="4081"/>
            <ac:spMk id="38" creationId="{9D541376-CB2D-4A59-B7D6-3DAB5C52E686}"/>
          </ac:spMkLst>
        </pc:spChg>
        <pc:spChg chg="mod">
          <ac:chgData name="Ulysse Schnyder" userId="67eb5700-5ae8-4331-a576-f7bed5e5e677" providerId="ADAL" clId="{FF8267A0-6362-4F7E-AFFF-AF30BD52CFF0}" dt="2021-08-25T12:21:31.043" v="4026"/>
          <ac:spMkLst>
            <pc:docMk/>
            <pc:sldMk cId="1196129177" sldId="4081"/>
            <ac:spMk id="39" creationId="{79AA4E9D-B771-455F-9686-46E7AF691A8D}"/>
          </ac:spMkLst>
        </pc:spChg>
        <pc:spChg chg="mod">
          <ac:chgData name="Ulysse Schnyder" userId="67eb5700-5ae8-4331-a576-f7bed5e5e677" providerId="ADAL" clId="{FF8267A0-6362-4F7E-AFFF-AF30BD52CFF0}" dt="2021-08-25T12:21:31.043" v="4026"/>
          <ac:spMkLst>
            <pc:docMk/>
            <pc:sldMk cId="1196129177" sldId="4081"/>
            <ac:spMk id="40" creationId="{FE111FE7-5728-4EA1-92F3-8F98F47B9DC7}"/>
          </ac:spMkLst>
        </pc:spChg>
        <pc:spChg chg="mod">
          <ac:chgData name="Ulysse Schnyder" userId="67eb5700-5ae8-4331-a576-f7bed5e5e677" providerId="ADAL" clId="{FF8267A0-6362-4F7E-AFFF-AF30BD52CFF0}" dt="2021-08-25T12:22:43.581" v="4084" actId="20577"/>
          <ac:spMkLst>
            <pc:docMk/>
            <pc:sldMk cId="1196129177" sldId="4081"/>
            <ac:spMk id="41" creationId="{CB7C413D-9F09-4B8B-801F-DA8125DAE733}"/>
          </ac:spMkLst>
        </pc:spChg>
        <pc:spChg chg="add mod">
          <ac:chgData name="Ulysse Schnyder" userId="67eb5700-5ae8-4331-a576-f7bed5e5e677" providerId="ADAL" clId="{FF8267A0-6362-4F7E-AFFF-AF30BD52CFF0}" dt="2021-08-26T10:04:22.502" v="5273" actId="1037"/>
          <ac:spMkLst>
            <pc:docMk/>
            <pc:sldMk cId="1196129177" sldId="4081"/>
            <ac:spMk id="42" creationId="{C7806279-E22C-4598-97C6-3D2852DB4375}"/>
          </ac:spMkLst>
        </pc:spChg>
        <pc:spChg chg="mod">
          <ac:chgData name="Ulysse Schnyder" userId="67eb5700-5ae8-4331-a576-f7bed5e5e677" providerId="ADAL" clId="{FF8267A0-6362-4F7E-AFFF-AF30BD52CFF0}" dt="2021-08-25T12:22:08.226" v="4058"/>
          <ac:spMkLst>
            <pc:docMk/>
            <pc:sldMk cId="1196129177" sldId="4081"/>
            <ac:spMk id="44" creationId="{52457E85-E696-4CDD-8F82-CC420EF77227}"/>
          </ac:spMkLst>
        </pc:spChg>
        <pc:spChg chg="mod">
          <ac:chgData name="Ulysse Schnyder" userId="67eb5700-5ae8-4331-a576-f7bed5e5e677" providerId="ADAL" clId="{FF8267A0-6362-4F7E-AFFF-AF30BD52CFF0}" dt="2021-08-25T12:22:08.226" v="4058"/>
          <ac:spMkLst>
            <pc:docMk/>
            <pc:sldMk cId="1196129177" sldId="4081"/>
            <ac:spMk id="45" creationId="{5EE13C58-D475-4F5C-A4F8-B4EBC8321240}"/>
          </ac:spMkLst>
        </pc:spChg>
        <pc:spChg chg="mod">
          <ac:chgData name="Ulysse Schnyder" userId="67eb5700-5ae8-4331-a576-f7bed5e5e677" providerId="ADAL" clId="{FF8267A0-6362-4F7E-AFFF-AF30BD52CFF0}" dt="2021-08-25T12:22:08.226" v="4058"/>
          <ac:spMkLst>
            <pc:docMk/>
            <pc:sldMk cId="1196129177" sldId="4081"/>
            <ac:spMk id="46" creationId="{4BFB4B68-CA62-4FDA-9EFE-79FA6196AD0F}"/>
          </ac:spMkLst>
        </pc:spChg>
        <pc:spChg chg="mod">
          <ac:chgData name="Ulysse Schnyder" userId="67eb5700-5ae8-4331-a576-f7bed5e5e677" providerId="ADAL" clId="{FF8267A0-6362-4F7E-AFFF-AF30BD52CFF0}" dt="2021-08-25T12:22:31.400" v="4073" actId="208"/>
          <ac:spMkLst>
            <pc:docMk/>
            <pc:sldMk cId="1196129177" sldId="4081"/>
            <ac:spMk id="47" creationId="{09FA81FA-2C0D-45D7-A9AD-AAF22410AC52}"/>
          </ac:spMkLst>
        </pc:spChg>
        <pc:spChg chg="add del mod">
          <ac:chgData name="Ulysse Schnyder" userId="67eb5700-5ae8-4331-a576-f7bed5e5e677" providerId="ADAL" clId="{FF8267A0-6362-4F7E-AFFF-AF30BD52CFF0}" dt="2021-08-25T12:42:42.485" v="4642" actId="478"/>
          <ac:spMkLst>
            <pc:docMk/>
            <pc:sldMk cId="1196129177" sldId="4081"/>
            <ac:spMk id="48" creationId="{54A2802E-639F-474D-8C6E-DBF4E4E03CC1}"/>
          </ac:spMkLst>
        </pc:spChg>
        <pc:spChg chg="add del mod">
          <ac:chgData name="Ulysse Schnyder" userId="67eb5700-5ae8-4331-a576-f7bed5e5e677" providerId="ADAL" clId="{FF8267A0-6362-4F7E-AFFF-AF30BD52CFF0}" dt="2021-08-25T12:42:42.485" v="4642" actId="478"/>
          <ac:spMkLst>
            <pc:docMk/>
            <pc:sldMk cId="1196129177" sldId="4081"/>
            <ac:spMk id="49" creationId="{20D1F13D-3EB2-4174-B3D1-52FF059AFBC5}"/>
          </ac:spMkLst>
        </pc:spChg>
        <pc:spChg chg="add del mod">
          <ac:chgData name="Ulysse Schnyder" userId="67eb5700-5ae8-4331-a576-f7bed5e5e677" providerId="ADAL" clId="{FF8267A0-6362-4F7E-AFFF-AF30BD52CFF0}" dt="2021-08-25T12:42:42.485" v="4642" actId="478"/>
          <ac:spMkLst>
            <pc:docMk/>
            <pc:sldMk cId="1196129177" sldId="4081"/>
            <ac:spMk id="50" creationId="{4BDBC817-EB44-4AC5-A8A0-9481A2D8DB55}"/>
          </ac:spMkLst>
        </pc:spChg>
        <pc:spChg chg="add mod">
          <ac:chgData name="Ulysse Schnyder" userId="67eb5700-5ae8-4331-a576-f7bed5e5e677" providerId="ADAL" clId="{FF8267A0-6362-4F7E-AFFF-AF30BD52CFF0}" dt="2021-08-26T10:04:22.502" v="5273" actId="1037"/>
          <ac:spMkLst>
            <pc:docMk/>
            <pc:sldMk cId="1196129177" sldId="4081"/>
            <ac:spMk id="51" creationId="{12039808-3CE5-45A7-8D25-5F9B8B4B49C3}"/>
          </ac:spMkLst>
        </pc:spChg>
        <pc:spChg chg="add del mod">
          <ac:chgData name="Ulysse Schnyder" userId="67eb5700-5ae8-4331-a576-f7bed5e5e677" providerId="ADAL" clId="{FF8267A0-6362-4F7E-AFFF-AF30BD52CFF0}" dt="2021-08-25T12:38:58.836" v="4561" actId="478"/>
          <ac:spMkLst>
            <pc:docMk/>
            <pc:sldMk cId="1196129177" sldId="4081"/>
            <ac:spMk id="52" creationId="{3F667DD6-679C-4C90-8BEC-A0A8D526DE76}"/>
          </ac:spMkLst>
        </pc:spChg>
        <pc:spChg chg="add del mod">
          <ac:chgData name="Ulysse Schnyder" userId="67eb5700-5ae8-4331-a576-f7bed5e5e677" providerId="ADAL" clId="{FF8267A0-6362-4F7E-AFFF-AF30BD52CFF0}" dt="2021-08-25T12:38:58.836" v="4561" actId="478"/>
          <ac:spMkLst>
            <pc:docMk/>
            <pc:sldMk cId="1196129177" sldId="4081"/>
            <ac:spMk id="53" creationId="{8416C2A4-B00B-4C19-9085-D2438D05A8BB}"/>
          </ac:spMkLst>
        </pc:spChg>
        <pc:spChg chg="add del mod">
          <ac:chgData name="Ulysse Schnyder" userId="67eb5700-5ae8-4331-a576-f7bed5e5e677" providerId="ADAL" clId="{FF8267A0-6362-4F7E-AFFF-AF30BD52CFF0}" dt="2021-08-25T12:38:58.836" v="4561" actId="478"/>
          <ac:spMkLst>
            <pc:docMk/>
            <pc:sldMk cId="1196129177" sldId="4081"/>
            <ac:spMk id="54" creationId="{631F600E-DCB9-44C4-9DD5-5F79523A5E27}"/>
          </ac:spMkLst>
        </pc:spChg>
        <pc:spChg chg="add del mod">
          <ac:chgData name="Ulysse Schnyder" userId="67eb5700-5ae8-4331-a576-f7bed5e5e677" providerId="ADAL" clId="{FF8267A0-6362-4F7E-AFFF-AF30BD52CFF0}" dt="2021-08-25T12:42:42.485" v="4642" actId="478"/>
          <ac:spMkLst>
            <pc:docMk/>
            <pc:sldMk cId="1196129177" sldId="4081"/>
            <ac:spMk id="55" creationId="{5F879F6F-A51F-4A0C-BC01-F940889C7767}"/>
          </ac:spMkLst>
        </pc:spChg>
        <pc:spChg chg="add del mod">
          <ac:chgData name="Ulysse Schnyder" userId="67eb5700-5ae8-4331-a576-f7bed5e5e677" providerId="ADAL" clId="{FF8267A0-6362-4F7E-AFFF-AF30BD52CFF0}" dt="2021-08-25T12:37:16.432" v="4510" actId="478"/>
          <ac:spMkLst>
            <pc:docMk/>
            <pc:sldMk cId="1196129177" sldId="4081"/>
            <ac:spMk id="56" creationId="{D4588E44-04B8-4F67-BC27-4F4A608E5FEF}"/>
          </ac:spMkLst>
        </pc:spChg>
        <pc:spChg chg="add del mod">
          <ac:chgData name="Ulysse Schnyder" userId="67eb5700-5ae8-4331-a576-f7bed5e5e677" providerId="ADAL" clId="{FF8267A0-6362-4F7E-AFFF-AF30BD52CFF0}" dt="2021-08-25T12:38:04.176" v="4535" actId="478"/>
          <ac:spMkLst>
            <pc:docMk/>
            <pc:sldMk cId="1196129177" sldId="4081"/>
            <ac:spMk id="57" creationId="{F3B71882-4E40-410B-8BE4-8C347CF95DF6}"/>
          </ac:spMkLst>
        </pc:spChg>
        <pc:spChg chg="add del mod">
          <ac:chgData name="Ulysse Schnyder" userId="67eb5700-5ae8-4331-a576-f7bed5e5e677" providerId="ADAL" clId="{FF8267A0-6362-4F7E-AFFF-AF30BD52CFF0}" dt="2021-08-25T12:37:59.689" v="4534" actId="478"/>
          <ac:spMkLst>
            <pc:docMk/>
            <pc:sldMk cId="1196129177" sldId="4081"/>
            <ac:spMk id="58" creationId="{7F1A31AE-906C-43F0-9B6B-2F03D1CFA8E8}"/>
          </ac:spMkLst>
        </pc:spChg>
        <pc:spChg chg="add mod">
          <ac:chgData name="Ulysse Schnyder" userId="67eb5700-5ae8-4331-a576-f7bed5e5e677" providerId="ADAL" clId="{FF8267A0-6362-4F7E-AFFF-AF30BD52CFF0}" dt="2021-08-26T10:04:22.502" v="5273" actId="1037"/>
          <ac:spMkLst>
            <pc:docMk/>
            <pc:sldMk cId="1196129177" sldId="4081"/>
            <ac:spMk id="59" creationId="{907AA9E6-E2ED-4474-9D08-8455937861C6}"/>
          </ac:spMkLst>
        </pc:spChg>
        <pc:spChg chg="add del mod">
          <ac:chgData name="Ulysse Schnyder" userId="67eb5700-5ae8-4331-a576-f7bed5e5e677" providerId="ADAL" clId="{FF8267A0-6362-4F7E-AFFF-AF30BD52CFF0}" dt="2021-08-25T12:36:47.324" v="4490" actId="478"/>
          <ac:spMkLst>
            <pc:docMk/>
            <pc:sldMk cId="1196129177" sldId="4081"/>
            <ac:spMk id="60" creationId="{F078019E-FF18-40CE-AD03-C296051CC740}"/>
          </ac:spMkLst>
        </pc:spChg>
        <pc:spChg chg="add mod">
          <ac:chgData name="Ulysse Schnyder" userId="67eb5700-5ae8-4331-a576-f7bed5e5e677" providerId="ADAL" clId="{FF8267A0-6362-4F7E-AFFF-AF30BD52CFF0}" dt="2021-08-26T10:04:22.502" v="5273" actId="1037"/>
          <ac:spMkLst>
            <pc:docMk/>
            <pc:sldMk cId="1196129177" sldId="4081"/>
            <ac:spMk id="61" creationId="{112D87C3-6D16-4E3F-A5B5-58952468ECF8}"/>
          </ac:spMkLst>
        </pc:spChg>
        <pc:spChg chg="add mod">
          <ac:chgData name="Ulysse Schnyder" userId="67eb5700-5ae8-4331-a576-f7bed5e5e677" providerId="ADAL" clId="{FF8267A0-6362-4F7E-AFFF-AF30BD52CFF0}" dt="2021-08-26T10:04:22.502" v="5273" actId="1037"/>
          <ac:spMkLst>
            <pc:docMk/>
            <pc:sldMk cId="1196129177" sldId="4081"/>
            <ac:spMk id="62" creationId="{474370DC-4E86-40AB-9C0B-C792A2FF5DE7}"/>
          </ac:spMkLst>
        </pc:spChg>
        <pc:spChg chg="add mod">
          <ac:chgData name="Ulysse Schnyder" userId="67eb5700-5ae8-4331-a576-f7bed5e5e677" providerId="ADAL" clId="{FF8267A0-6362-4F7E-AFFF-AF30BD52CFF0}" dt="2021-08-26T10:04:22.502" v="5273" actId="1037"/>
          <ac:spMkLst>
            <pc:docMk/>
            <pc:sldMk cId="1196129177" sldId="4081"/>
            <ac:spMk id="63" creationId="{0A653B29-AB8E-46EA-B642-C1C69470DF8D}"/>
          </ac:spMkLst>
        </pc:spChg>
        <pc:spChg chg="add mod">
          <ac:chgData name="Ulysse Schnyder" userId="67eb5700-5ae8-4331-a576-f7bed5e5e677" providerId="ADAL" clId="{FF8267A0-6362-4F7E-AFFF-AF30BD52CFF0}" dt="2021-08-26T10:04:22.502" v="5273" actId="1037"/>
          <ac:spMkLst>
            <pc:docMk/>
            <pc:sldMk cId="1196129177" sldId="4081"/>
            <ac:spMk id="64" creationId="{F57B8E6D-42CC-4E20-947F-8BFDFAABEE50}"/>
          </ac:spMkLst>
        </pc:spChg>
        <pc:spChg chg="add mod">
          <ac:chgData name="Ulysse Schnyder" userId="67eb5700-5ae8-4331-a576-f7bed5e5e677" providerId="ADAL" clId="{FF8267A0-6362-4F7E-AFFF-AF30BD52CFF0}" dt="2021-08-26T10:04:22.502" v="5273" actId="1037"/>
          <ac:spMkLst>
            <pc:docMk/>
            <pc:sldMk cId="1196129177" sldId="4081"/>
            <ac:spMk id="65" creationId="{37106CAD-B7DF-451A-A71B-5103343D23A4}"/>
          </ac:spMkLst>
        </pc:spChg>
        <pc:spChg chg="add mod">
          <ac:chgData name="Ulysse Schnyder" userId="67eb5700-5ae8-4331-a576-f7bed5e5e677" providerId="ADAL" clId="{FF8267A0-6362-4F7E-AFFF-AF30BD52CFF0}" dt="2021-08-26T10:04:22.502" v="5273" actId="1037"/>
          <ac:spMkLst>
            <pc:docMk/>
            <pc:sldMk cId="1196129177" sldId="4081"/>
            <ac:spMk id="66" creationId="{DBBDC541-CF47-4B98-9893-2D14017F5E66}"/>
          </ac:spMkLst>
        </pc:spChg>
        <pc:spChg chg="add mod">
          <ac:chgData name="Ulysse Schnyder" userId="67eb5700-5ae8-4331-a576-f7bed5e5e677" providerId="ADAL" clId="{FF8267A0-6362-4F7E-AFFF-AF30BD52CFF0}" dt="2021-08-26T10:04:22.502" v="5273" actId="1037"/>
          <ac:spMkLst>
            <pc:docMk/>
            <pc:sldMk cId="1196129177" sldId="4081"/>
            <ac:spMk id="67" creationId="{CD57A795-8AF3-4B3A-851C-F58C10C187AC}"/>
          </ac:spMkLst>
        </pc:spChg>
        <pc:spChg chg="add mod">
          <ac:chgData name="Ulysse Schnyder" userId="67eb5700-5ae8-4331-a576-f7bed5e5e677" providerId="ADAL" clId="{FF8267A0-6362-4F7E-AFFF-AF30BD52CFF0}" dt="2021-08-26T10:04:22.502" v="5273" actId="1037"/>
          <ac:spMkLst>
            <pc:docMk/>
            <pc:sldMk cId="1196129177" sldId="4081"/>
            <ac:spMk id="68" creationId="{582E1C6E-5EFF-463A-8F60-17B2512C4593}"/>
          </ac:spMkLst>
        </pc:spChg>
        <pc:spChg chg="add del mod">
          <ac:chgData name="Ulysse Schnyder" userId="67eb5700-5ae8-4331-a576-f7bed5e5e677" providerId="ADAL" clId="{FF8267A0-6362-4F7E-AFFF-AF30BD52CFF0}" dt="2021-08-25T12:43:05.523" v="4647"/>
          <ac:spMkLst>
            <pc:docMk/>
            <pc:sldMk cId="1196129177" sldId="4081"/>
            <ac:spMk id="69" creationId="{64768986-1240-40C2-AEC0-7DA70CE273A6}"/>
          </ac:spMkLst>
        </pc:spChg>
        <pc:spChg chg="add del mod">
          <ac:chgData name="Ulysse Schnyder" userId="67eb5700-5ae8-4331-a576-f7bed5e5e677" providerId="ADAL" clId="{FF8267A0-6362-4F7E-AFFF-AF30BD52CFF0}" dt="2021-08-25T12:43:05.523" v="4647"/>
          <ac:spMkLst>
            <pc:docMk/>
            <pc:sldMk cId="1196129177" sldId="4081"/>
            <ac:spMk id="70" creationId="{FB5C8C7A-0BB9-439C-B42E-AEC8EA77DD2D}"/>
          </ac:spMkLst>
        </pc:spChg>
        <pc:spChg chg="add del mod">
          <ac:chgData name="Ulysse Schnyder" userId="67eb5700-5ae8-4331-a576-f7bed5e5e677" providerId="ADAL" clId="{FF8267A0-6362-4F7E-AFFF-AF30BD52CFF0}" dt="2021-08-25T12:43:05.523" v="4647"/>
          <ac:spMkLst>
            <pc:docMk/>
            <pc:sldMk cId="1196129177" sldId="4081"/>
            <ac:spMk id="71" creationId="{860785D5-CFF2-4EDE-82BA-D01546EEB0C5}"/>
          </ac:spMkLst>
        </pc:spChg>
        <pc:spChg chg="add del mod">
          <ac:chgData name="Ulysse Schnyder" userId="67eb5700-5ae8-4331-a576-f7bed5e5e677" providerId="ADAL" clId="{FF8267A0-6362-4F7E-AFFF-AF30BD52CFF0}" dt="2021-08-25T12:43:05.523" v="4647"/>
          <ac:spMkLst>
            <pc:docMk/>
            <pc:sldMk cId="1196129177" sldId="4081"/>
            <ac:spMk id="72" creationId="{996DB4C5-6603-4D94-8A78-85E47440E73E}"/>
          </ac:spMkLst>
        </pc:spChg>
        <pc:spChg chg="add mod">
          <ac:chgData name="Ulysse Schnyder" userId="67eb5700-5ae8-4331-a576-f7bed5e5e677" providerId="ADAL" clId="{FF8267A0-6362-4F7E-AFFF-AF30BD52CFF0}" dt="2021-08-26T10:04:22.502" v="5273" actId="1037"/>
          <ac:spMkLst>
            <pc:docMk/>
            <pc:sldMk cId="1196129177" sldId="4081"/>
            <ac:spMk id="73" creationId="{279D638E-6AF5-4B28-B586-5E0617210D79}"/>
          </ac:spMkLst>
        </pc:spChg>
        <pc:spChg chg="add mod">
          <ac:chgData name="Ulysse Schnyder" userId="67eb5700-5ae8-4331-a576-f7bed5e5e677" providerId="ADAL" clId="{FF8267A0-6362-4F7E-AFFF-AF30BD52CFF0}" dt="2021-08-26T10:04:22.502" v="5273" actId="1037"/>
          <ac:spMkLst>
            <pc:docMk/>
            <pc:sldMk cId="1196129177" sldId="4081"/>
            <ac:spMk id="74" creationId="{47A36191-93C7-41C4-B770-962D046B7519}"/>
          </ac:spMkLst>
        </pc:spChg>
        <pc:spChg chg="add mod">
          <ac:chgData name="Ulysse Schnyder" userId="67eb5700-5ae8-4331-a576-f7bed5e5e677" providerId="ADAL" clId="{FF8267A0-6362-4F7E-AFFF-AF30BD52CFF0}" dt="2021-08-26T10:04:22.502" v="5273" actId="1037"/>
          <ac:spMkLst>
            <pc:docMk/>
            <pc:sldMk cId="1196129177" sldId="4081"/>
            <ac:spMk id="75" creationId="{D49886F9-89D8-4EE5-BCB0-E589FC3A7412}"/>
          </ac:spMkLst>
        </pc:spChg>
        <pc:spChg chg="add mod">
          <ac:chgData name="Ulysse Schnyder" userId="67eb5700-5ae8-4331-a576-f7bed5e5e677" providerId="ADAL" clId="{FF8267A0-6362-4F7E-AFFF-AF30BD52CFF0}" dt="2021-08-26T10:04:22.502" v="5273" actId="1037"/>
          <ac:spMkLst>
            <pc:docMk/>
            <pc:sldMk cId="1196129177" sldId="4081"/>
            <ac:spMk id="76" creationId="{40E1EB2F-F6BC-4E82-A34A-C057E865AF20}"/>
          </ac:spMkLst>
        </pc:spChg>
        <pc:spChg chg="add mod">
          <ac:chgData name="Ulysse Schnyder" userId="67eb5700-5ae8-4331-a576-f7bed5e5e677" providerId="ADAL" clId="{FF8267A0-6362-4F7E-AFFF-AF30BD52CFF0}" dt="2021-08-26T10:10:10.860" v="5846" actId="1076"/>
          <ac:spMkLst>
            <pc:docMk/>
            <pc:sldMk cId="1196129177" sldId="4081"/>
            <ac:spMk id="77" creationId="{7B34D7B4-9152-4F4B-B1F6-450CBB2EAB67}"/>
          </ac:spMkLst>
        </pc:spChg>
        <pc:spChg chg="add mod ord">
          <ac:chgData name="Ulysse Schnyder" userId="67eb5700-5ae8-4331-a576-f7bed5e5e677" providerId="ADAL" clId="{FF8267A0-6362-4F7E-AFFF-AF30BD52CFF0}" dt="2021-08-26T10:09:16.610" v="5790" actId="20577"/>
          <ac:spMkLst>
            <pc:docMk/>
            <pc:sldMk cId="1196129177" sldId="4081"/>
            <ac:spMk id="78" creationId="{76BB19F4-F9EB-4066-83AB-260B39DDBA01}"/>
          </ac:spMkLst>
        </pc:spChg>
        <pc:spChg chg="add mod ord">
          <ac:chgData name="Ulysse Schnyder" userId="67eb5700-5ae8-4331-a576-f7bed5e5e677" providerId="ADAL" clId="{FF8267A0-6362-4F7E-AFFF-AF30BD52CFF0}" dt="2021-08-25T12:53:37.329" v="4800"/>
          <ac:spMkLst>
            <pc:docMk/>
            <pc:sldMk cId="1196129177" sldId="4081"/>
            <ac:spMk id="79" creationId="{8D2120A3-7A69-457B-B55C-423801CF4978}"/>
          </ac:spMkLst>
        </pc:spChg>
        <pc:spChg chg="add mod ord">
          <ac:chgData name="Ulysse Schnyder" userId="67eb5700-5ae8-4331-a576-f7bed5e5e677" providerId="ADAL" clId="{FF8267A0-6362-4F7E-AFFF-AF30BD52CFF0}" dt="2021-08-25T12:53:37.329" v="4800"/>
          <ac:spMkLst>
            <pc:docMk/>
            <pc:sldMk cId="1196129177" sldId="4081"/>
            <ac:spMk id="80" creationId="{6CBC3B64-0604-4C82-9946-A9A912BA1EAD}"/>
          </ac:spMkLst>
        </pc:spChg>
        <pc:spChg chg="add mod">
          <ac:chgData name="Ulysse Schnyder" userId="67eb5700-5ae8-4331-a576-f7bed5e5e677" providerId="ADAL" clId="{FF8267A0-6362-4F7E-AFFF-AF30BD52CFF0}" dt="2021-08-26T10:13:20.269" v="5854" actId="1076"/>
          <ac:spMkLst>
            <pc:docMk/>
            <pc:sldMk cId="1196129177" sldId="4081"/>
            <ac:spMk id="86" creationId="{A9B5D1AA-A6E5-49B5-84A2-2FD406012765}"/>
          </ac:spMkLst>
        </pc:spChg>
        <pc:spChg chg="add mod">
          <ac:chgData name="Ulysse Schnyder" userId="67eb5700-5ae8-4331-a576-f7bed5e5e677" providerId="ADAL" clId="{FF8267A0-6362-4F7E-AFFF-AF30BD52CFF0}" dt="2021-08-26T10:13:25.393" v="5855" actId="1076"/>
          <ac:spMkLst>
            <pc:docMk/>
            <pc:sldMk cId="1196129177" sldId="4081"/>
            <ac:spMk id="87" creationId="{64586B85-61D7-4BEB-A353-6A855A5B21C3}"/>
          </ac:spMkLst>
        </pc:spChg>
        <pc:spChg chg="add mod">
          <ac:chgData name="Ulysse Schnyder" userId="67eb5700-5ae8-4331-a576-f7bed5e5e677" providerId="ADAL" clId="{FF8267A0-6362-4F7E-AFFF-AF30BD52CFF0}" dt="2021-08-26T10:12:14.041" v="5847" actId="20577"/>
          <ac:spMkLst>
            <pc:docMk/>
            <pc:sldMk cId="1196129177" sldId="4081"/>
            <ac:spMk id="88" creationId="{1AA3EB43-7884-4658-A36E-DA7E06EAC94C}"/>
          </ac:spMkLst>
        </pc:spChg>
        <pc:spChg chg="add mod">
          <ac:chgData name="Ulysse Schnyder" userId="67eb5700-5ae8-4331-a576-f7bed5e5e677" providerId="ADAL" clId="{FF8267A0-6362-4F7E-AFFF-AF30BD52CFF0}" dt="2021-08-26T10:04:49.179" v="5309" actId="1076"/>
          <ac:spMkLst>
            <pc:docMk/>
            <pc:sldMk cId="1196129177" sldId="4081"/>
            <ac:spMk id="89" creationId="{214B75C8-EC86-4215-9553-1B2F60FBB8E8}"/>
          </ac:spMkLst>
        </pc:spChg>
        <pc:spChg chg="add mod">
          <ac:chgData name="Ulysse Schnyder" userId="67eb5700-5ae8-4331-a576-f7bed5e5e677" providerId="ADAL" clId="{FF8267A0-6362-4F7E-AFFF-AF30BD52CFF0}" dt="2021-08-26T10:05:04.192" v="5315" actId="1076"/>
          <ac:spMkLst>
            <pc:docMk/>
            <pc:sldMk cId="1196129177" sldId="4081"/>
            <ac:spMk id="90" creationId="{4EE64C22-732E-4F8F-8475-6FBD6E81B07C}"/>
          </ac:spMkLst>
        </pc:spChg>
        <pc:spChg chg="del mod">
          <ac:chgData name="Ulysse Schnyder" userId="67eb5700-5ae8-4331-a576-f7bed5e5e677" providerId="ADAL" clId="{FF8267A0-6362-4F7E-AFFF-AF30BD52CFF0}" dt="2021-08-25T12:53:06.316" v="4788" actId="478"/>
          <ac:spMkLst>
            <pc:docMk/>
            <pc:sldMk cId="1196129177" sldId="4081"/>
            <ac:spMk id="242" creationId="{C54F01CF-9F2E-449B-A5FC-9B55BF73F177}"/>
          </ac:spMkLst>
        </pc:spChg>
        <pc:spChg chg="mod ord">
          <ac:chgData name="Ulysse Schnyder" userId="67eb5700-5ae8-4331-a576-f7bed5e5e677" providerId="ADAL" clId="{FF8267A0-6362-4F7E-AFFF-AF30BD52CFF0}" dt="2021-08-26T10:12:30.110" v="5853" actId="6549"/>
          <ac:spMkLst>
            <pc:docMk/>
            <pc:sldMk cId="1196129177" sldId="4081"/>
            <ac:spMk id="244" creationId="{821BB02E-B180-474E-8A98-B1FC38B7919B}"/>
          </ac:spMkLst>
        </pc:spChg>
        <pc:grpChg chg="add del mod">
          <ac:chgData name="Ulysse Schnyder" userId="67eb5700-5ae8-4331-a576-f7bed5e5e677" providerId="ADAL" clId="{FF8267A0-6362-4F7E-AFFF-AF30BD52CFF0}" dt="2021-08-25T12:24:14.965" v="4194" actId="478"/>
          <ac:grpSpMkLst>
            <pc:docMk/>
            <pc:sldMk cId="1196129177" sldId="4081"/>
            <ac:grpSpMk id="7" creationId="{B24A4B7E-9C9E-4B09-835B-07727570A368}"/>
          </ac:grpSpMkLst>
        </pc:grpChg>
        <pc:grpChg chg="add del mod">
          <ac:chgData name="Ulysse Schnyder" userId="67eb5700-5ae8-4331-a576-f7bed5e5e677" providerId="ADAL" clId="{FF8267A0-6362-4F7E-AFFF-AF30BD52CFF0}" dt="2021-08-25T12:19:46.546" v="3983"/>
          <ac:grpSpMkLst>
            <pc:docMk/>
            <pc:sldMk cId="1196129177" sldId="4081"/>
            <ac:grpSpMk id="17" creationId="{EB7DB08A-3E9D-4C40-8A36-2FB935DAE432}"/>
          </ac:grpSpMkLst>
        </pc:grpChg>
        <pc:grpChg chg="add del mod">
          <ac:chgData name="Ulysse Schnyder" userId="67eb5700-5ae8-4331-a576-f7bed5e5e677" providerId="ADAL" clId="{FF8267A0-6362-4F7E-AFFF-AF30BD52CFF0}" dt="2021-08-25T12:19:45.491" v="3981"/>
          <ac:grpSpMkLst>
            <pc:docMk/>
            <pc:sldMk cId="1196129177" sldId="4081"/>
            <ac:grpSpMk id="22" creationId="{3826171F-0EAF-49D9-850D-54E33444EF06}"/>
          </ac:grpSpMkLst>
        </pc:grpChg>
        <pc:grpChg chg="add del mod">
          <ac:chgData name="Ulysse Schnyder" userId="67eb5700-5ae8-4331-a576-f7bed5e5e677" providerId="ADAL" clId="{FF8267A0-6362-4F7E-AFFF-AF30BD52CFF0}" dt="2021-08-25T12:24:54.726" v="4222" actId="478"/>
          <ac:grpSpMkLst>
            <pc:docMk/>
            <pc:sldMk cId="1196129177" sldId="4081"/>
            <ac:grpSpMk id="27" creationId="{237CC529-DFB8-49A3-B28D-9B9C8C4F687C}"/>
          </ac:grpSpMkLst>
        </pc:grpChg>
        <pc:grpChg chg="add del mod">
          <ac:chgData name="Ulysse Schnyder" userId="67eb5700-5ae8-4331-a576-f7bed5e5e677" providerId="ADAL" clId="{FF8267A0-6362-4F7E-AFFF-AF30BD52CFF0}" dt="2021-08-25T12:25:19.189" v="4235" actId="478"/>
          <ac:grpSpMkLst>
            <pc:docMk/>
            <pc:sldMk cId="1196129177" sldId="4081"/>
            <ac:grpSpMk id="32" creationId="{CFE381C3-B3D4-4C5F-A055-389B5E49B9E8}"/>
          </ac:grpSpMkLst>
        </pc:grpChg>
        <pc:grpChg chg="add del mod">
          <ac:chgData name="Ulysse Schnyder" userId="67eb5700-5ae8-4331-a576-f7bed5e5e677" providerId="ADAL" clId="{FF8267A0-6362-4F7E-AFFF-AF30BD52CFF0}" dt="2021-08-25T12:25:34.143" v="4236" actId="478"/>
          <ac:grpSpMkLst>
            <pc:docMk/>
            <pc:sldMk cId="1196129177" sldId="4081"/>
            <ac:grpSpMk id="37" creationId="{859A4FE9-DF62-461A-BAAB-D71E62ABA70C}"/>
          </ac:grpSpMkLst>
        </pc:grpChg>
        <pc:grpChg chg="add del mod">
          <ac:chgData name="Ulysse Schnyder" userId="67eb5700-5ae8-4331-a576-f7bed5e5e677" providerId="ADAL" clId="{FF8267A0-6362-4F7E-AFFF-AF30BD52CFF0}" dt="2021-08-25T12:25:34.143" v="4236" actId="478"/>
          <ac:grpSpMkLst>
            <pc:docMk/>
            <pc:sldMk cId="1196129177" sldId="4081"/>
            <ac:grpSpMk id="43" creationId="{1CB88138-5611-4603-B837-58D40FB1094E}"/>
          </ac:grpSpMkLst>
        </pc:grpChg>
        <pc:cxnChg chg="add mod">
          <ac:chgData name="Ulysse Schnyder" userId="67eb5700-5ae8-4331-a576-f7bed5e5e677" providerId="ADAL" clId="{FF8267A0-6362-4F7E-AFFF-AF30BD52CFF0}" dt="2021-08-26T10:04:22.502" v="5273" actId="1037"/>
          <ac:cxnSpMkLst>
            <pc:docMk/>
            <pc:sldMk cId="1196129177" sldId="4081"/>
            <ac:cxnSpMk id="82" creationId="{D265B394-6A11-4492-943A-C47F40C717D6}"/>
          </ac:cxnSpMkLst>
        </pc:cxnChg>
        <pc:cxnChg chg="add mod">
          <ac:chgData name="Ulysse Schnyder" userId="67eb5700-5ae8-4331-a576-f7bed5e5e677" providerId="ADAL" clId="{FF8267A0-6362-4F7E-AFFF-AF30BD52CFF0}" dt="2021-08-26T10:04:22.502" v="5273" actId="1037"/>
          <ac:cxnSpMkLst>
            <pc:docMk/>
            <pc:sldMk cId="1196129177" sldId="4081"/>
            <ac:cxnSpMk id="85" creationId="{65BC73F4-AED3-48A3-8B38-36084064FF39}"/>
          </ac:cxnSpMkLst>
        </pc:cxnChg>
      </pc:sldChg>
      <pc:sldChg chg="addSp delSp modSp add mod">
        <pc:chgData name="Ulysse Schnyder" userId="67eb5700-5ae8-4331-a576-f7bed5e5e677" providerId="ADAL" clId="{FF8267A0-6362-4F7E-AFFF-AF30BD52CFF0}" dt="2021-08-26T10:15:27.224" v="5859" actId="6549"/>
        <pc:sldMkLst>
          <pc:docMk/>
          <pc:sldMk cId="3430183779" sldId="4082"/>
        </pc:sldMkLst>
        <pc:spChg chg="del">
          <ac:chgData name="Ulysse Schnyder" userId="67eb5700-5ae8-4331-a576-f7bed5e5e677" providerId="ADAL" clId="{FF8267A0-6362-4F7E-AFFF-AF30BD52CFF0}" dt="2021-08-25T09:58:12.373" v="3662" actId="478"/>
          <ac:spMkLst>
            <pc:docMk/>
            <pc:sldMk cId="3430183779" sldId="4082"/>
            <ac:spMk id="242" creationId="{C54F01CF-9F2E-449B-A5FC-9B55BF73F177}"/>
          </ac:spMkLst>
        </pc:spChg>
        <pc:spChg chg="mod">
          <ac:chgData name="Ulysse Schnyder" userId="67eb5700-5ae8-4331-a576-f7bed5e5e677" providerId="ADAL" clId="{FF8267A0-6362-4F7E-AFFF-AF30BD52CFF0}" dt="2021-08-26T10:15:27.224" v="5859" actId="6549"/>
          <ac:spMkLst>
            <pc:docMk/>
            <pc:sldMk cId="3430183779" sldId="4082"/>
            <ac:spMk id="244" creationId="{821BB02E-B180-474E-8A98-B1FC38B7919B}"/>
          </ac:spMkLst>
        </pc:spChg>
        <pc:graphicFrameChg chg="add mod modGraphic">
          <ac:chgData name="Ulysse Schnyder" userId="67eb5700-5ae8-4331-a576-f7bed5e5e677" providerId="ADAL" clId="{FF8267A0-6362-4F7E-AFFF-AF30BD52CFF0}" dt="2021-08-25T15:12:34.390" v="5032" actId="14100"/>
          <ac:graphicFrameMkLst>
            <pc:docMk/>
            <pc:sldMk cId="3430183779" sldId="4082"/>
            <ac:graphicFrameMk id="2" creationId="{CC0AF3C5-5DDD-4DFB-9001-A0A99719B909}"/>
          </ac:graphicFrameMkLst>
        </pc:graphicFrameChg>
      </pc:sldChg>
      <pc:sldChg chg="addSp delSp modSp add mod">
        <pc:chgData name="Ulysse Schnyder" userId="67eb5700-5ae8-4331-a576-f7bed5e5e677" providerId="ADAL" clId="{FF8267A0-6362-4F7E-AFFF-AF30BD52CFF0}" dt="2021-09-13T10:56:49.769" v="6981" actId="20577"/>
        <pc:sldMkLst>
          <pc:docMk/>
          <pc:sldMk cId="1659035054" sldId="4084"/>
        </pc:sldMkLst>
        <pc:spChg chg="mod">
          <ac:chgData name="Ulysse Schnyder" userId="67eb5700-5ae8-4331-a576-f7bed5e5e677" providerId="ADAL" clId="{FF8267A0-6362-4F7E-AFFF-AF30BD52CFF0}" dt="2021-09-13T10:56:36.302" v="6979" actId="6549"/>
          <ac:spMkLst>
            <pc:docMk/>
            <pc:sldMk cId="1659035054" sldId="4084"/>
            <ac:spMk id="2" creationId="{C83BA348-2240-41CB-A64C-DF83338FDCF5}"/>
          </ac:spMkLst>
        </pc:spChg>
        <pc:spChg chg="mod">
          <ac:chgData name="Ulysse Schnyder" userId="67eb5700-5ae8-4331-a576-f7bed5e5e677" providerId="ADAL" clId="{FF8267A0-6362-4F7E-AFFF-AF30BD52CFF0}" dt="2021-09-03T16:00:24.993" v="6108" actId="20577"/>
          <ac:spMkLst>
            <pc:docMk/>
            <pc:sldMk cId="1659035054" sldId="4084"/>
            <ac:spMk id="14" creationId="{42B6754A-DC97-4DCD-AAFB-430F69E674A9}"/>
          </ac:spMkLst>
        </pc:spChg>
        <pc:spChg chg="mod">
          <ac:chgData name="Ulysse Schnyder" userId="67eb5700-5ae8-4331-a576-f7bed5e5e677" providerId="ADAL" clId="{FF8267A0-6362-4F7E-AFFF-AF30BD52CFF0}" dt="2021-09-13T10:56:49.769" v="6981" actId="20577"/>
          <ac:spMkLst>
            <pc:docMk/>
            <pc:sldMk cId="1659035054" sldId="4084"/>
            <ac:spMk id="19" creationId="{232346EC-9CD3-469D-A70B-CCCCC83BB250}"/>
          </ac:spMkLst>
        </pc:spChg>
        <pc:spChg chg="add mod">
          <ac:chgData name="Ulysse Schnyder" userId="67eb5700-5ae8-4331-a576-f7bed5e5e677" providerId="ADAL" clId="{FF8267A0-6362-4F7E-AFFF-AF30BD52CFF0}" dt="2021-09-03T16:28:06.151" v="6322" actId="164"/>
          <ac:spMkLst>
            <pc:docMk/>
            <pc:sldMk cId="1659035054" sldId="4084"/>
            <ac:spMk id="27" creationId="{B2F593BC-69A4-447A-85DC-1FE17539109D}"/>
          </ac:spMkLst>
        </pc:spChg>
        <pc:spChg chg="add mod">
          <ac:chgData name="Ulysse Schnyder" userId="67eb5700-5ae8-4331-a576-f7bed5e5e677" providerId="ADAL" clId="{FF8267A0-6362-4F7E-AFFF-AF30BD52CFF0}" dt="2021-09-03T16:28:15.730" v="6325" actId="164"/>
          <ac:spMkLst>
            <pc:docMk/>
            <pc:sldMk cId="1659035054" sldId="4084"/>
            <ac:spMk id="29" creationId="{5F8D3F9A-9FE5-4A58-A7D6-CA6A65431A7E}"/>
          </ac:spMkLst>
        </pc:spChg>
        <pc:spChg chg="add mod">
          <ac:chgData name="Ulysse Schnyder" userId="67eb5700-5ae8-4331-a576-f7bed5e5e677" providerId="ADAL" clId="{FF8267A0-6362-4F7E-AFFF-AF30BD52CFF0}" dt="2021-09-03T16:30:49.393" v="6359" actId="1076"/>
          <ac:spMkLst>
            <pc:docMk/>
            <pc:sldMk cId="1659035054" sldId="4084"/>
            <ac:spMk id="31" creationId="{6396666F-C1B6-4382-AC58-AE0DD743D569}"/>
          </ac:spMkLst>
        </pc:spChg>
        <pc:spChg chg="add mod">
          <ac:chgData name="Ulysse Schnyder" userId="67eb5700-5ae8-4331-a576-f7bed5e5e677" providerId="ADAL" clId="{FF8267A0-6362-4F7E-AFFF-AF30BD52CFF0}" dt="2021-09-03T16:28:06.151" v="6322" actId="164"/>
          <ac:spMkLst>
            <pc:docMk/>
            <pc:sldMk cId="1659035054" sldId="4084"/>
            <ac:spMk id="39" creationId="{92D9B550-31F3-4898-B918-B061620D868E}"/>
          </ac:spMkLst>
        </pc:spChg>
        <pc:spChg chg="add mod">
          <ac:chgData name="Ulysse Schnyder" userId="67eb5700-5ae8-4331-a576-f7bed5e5e677" providerId="ADAL" clId="{FF8267A0-6362-4F7E-AFFF-AF30BD52CFF0}" dt="2021-09-03T16:28:06.151" v="6322" actId="164"/>
          <ac:spMkLst>
            <pc:docMk/>
            <pc:sldMk cId="1659035054" sldId="4084"/>
            <ac:spMk id="41" creationId="{B61BD68A-EAC9-420B-8F60-5332CBEE0B0C}"/>
          </ac:spMkLst>
        </pc:spChg>
        <pc:spChg chg="mod">
          <ac:chgData name="Ulysse Schnyder" userId="67eb5700-5ae8-4331-a576-f7bed5e5e677" providerId="ADAL" clId="{FF8267A0-6362-4F7E-AFFF-AF30BD52CFF0}" dt="2021-09-03T16:19:32.025" v="6264" actId="1076"/>
          <ac:spMkLst>
            <pc:docMk/>
            <pc:sldMk cId="1659035054" sldId="4084"/>
            <ac:spMk id="44" creationId="{461ABD2D-992E-4ADD-A8AB-915C4EE612F3}"/>
          </ac:spMkLst>
        </pc:spChg>
        <pc:grpChg chg="add mod">
          <ac:chgData name="Ulysse Schnyder" userId="67eb5700-5ae8-4331-a576-f7bed5e5e677" providerId="ADAL" clId="{FF8267A0-6362-4F7E-AFFF-AF30BD52CFF0}" dt="2021-09-03T16:28:15.730" v="6325" actId="164"/>
          <ac:grpSpMkLst>
            <pc:docMk/>
            <pc:sldMk cId="1659035054" sldId="4084"/>
            <ac:grpSpMk id="28" creationId="{57B3CB80-4B98-470D-B84C-36A33C0179BA}"/>
          </ac:grpSpMkLst>
        </pc:grpChg>
        <pc:grpChg chg="add mod">
          <ac:chgData name="Ulysse Schnyder" userId="67eb5700-5ae8-4331-a576-f7bed5e5e677" providerId="ADAL" clId="{FF8267A0-6362-4F7E-AFFF-AF30BD52CFF0}" dt="2021-09-03T16:28:19.535" v="6326" actId="1076"/>
          <ac:grpSpMkLst>
            <pc:docMk/>
            <pc:sldMk cId="1659035054" sldId="4084"/>
            <ac:grpSpMk id="30" creationId="{76B5FCD8-60E7-4BBC-9431-0EE5F44EB586}"/>
          </ac:grpSpMkLst>
        </pc:grpChg>
        <pc:grpChg chg="mod">
          <ac:chgData name="Ulysse Schnyder" userId="67eb5700-5ae8-4331-a576-f7bed5e5e677" providerId="ADAL" clId="{FF8267A0-6362-4F7E-AFFF-AF30BD52CFF0}" dt="2021-09-03T16:28:06.151" v="6322" actId="164"/>
          <ac:grpSpMkLst>
            <pc:docMk/>
            <pc:sldMk cId="1659035054" sldId="4084"/>
            <ac:grpSpMk id="54" creationId="{B004041E-1EAF-4ECD-891C-140EE36ACEC1}"/>
          </ac:grpSpMkLst>
        </pc:grpChg>
        <pc:cxnChg chg="add del mod">
          <ac:chgData name="Ulysse Schnyder" userId="67eb5700-5ae8-4331-a576-f7bed5e5e677" providerId="ADAL" clId="{FF8267A0-6362-4F7E-AFFF-AF30BD52CFF0}" dt="2021-09-03T16:20:57.796" v="6304" actId="478"/>
          <ac:cxnSpMkLst>
            <pc:docMk/>
            <pc:sldMk cId="1659035054" sldId="4084"/>
            <ac:cxnSpMk id="7" creationId="{D9DE63B8-0EB0-465C-870E-BC2D29A621BC}"/>
          </ac:cxnSpMkLst>
        </pc:cxnChg>
        <pc:cxnChg chg="add mod">
          <ac:chgData name="Ulysse Schnyder" userId="67eb5700-5ae8-4331-a576-f7bed5e5e677" providerId="ADAL" clId="{FF8267A0-6362-4F7E-AFFF-AF30BD52CFF0}" dt="2021-09-03T16:28:15.730" v="6325" actId="164"/>
          <ac:cxnSpMkLst>
            <pc:docMk/>
            <pc:sldMk cId="1659035054" sldId="4084"/>
            <ac:cxnSpMk id="21" creationId="{E41F6401-867A-41A7-8BD6-A47A9D03F40A}"/>
          </ac:cxnSpMkLst>
        </pc:cxnChg>
        <pc:cxnChg chg="add mod">
          <ac:chgData name="Ulysse Schnyder" userId="67eb5700-5ae8-4331-a576-f7bed5e5e677" providerId="ADAL" clId="{FF8267A0-6362-4F7E-AFFF-AF30BD52CFF0}" dt="2021-09-03T16:28:15.730" v="6325" actId="164"/>
          <ac:cxnSpMkLst>
            <pc:docMk/>
            <pc:sldMk cId="1659035054" sldId="4084"/>
            <ac:cxnSpMk id="23" creationId="{BC676FF0-6963-4877-B53A-11200AE71ED8}"/>
          </ac:cxnSpMkLst>
        </pc:cxnChg>
        <pc:cxnChg chg="add mod">
          <ac:chgData name="Ulysse Schnyder" userId="67eb5700-5ae8-4331-a576-f7bed5e5e677" providerId="ADAL" clId="{FF8267A0-6362-4F7E-AFFF-AF30BD52CFF0}" dt="2021-09-03T16:28:15.730" v="6325" actId="164"/>
          <ac:cxnSpMkLst>
            <pc:docMk/>
            <pc:sldMk cId="1659035054" sldId="4084"/>
            <ac:cxnSpMk id="26" creationId="{67C64E9D-DAD5-4D7D-B444-71030E576418}"/>
          </ac:cxnSpMkLst>
        </pc:cxnChg>
        <pc:cxnChg chg="del mod">
          <ac:chgData name="Ulysse Schnyder" userId="67eb5700-5ae8-4331-a576-f7bed5e5e677" providerId="ADAL" clId="{FF8267A0-6362-4F7E-AFFF-AF30BD52CFF0}" dt="2021-09-03T16:19:35.794" v="6265" actId="478"/>
          <ac:cxnSpMkLst>
            <pc:docMk/>
            <pc:sldMk cId="1659035054" sldId="4084"/>
            <ac:cxnSpMk id="50" creationId="{D4617CE5-548E-43A4-8FF2-F2F06767836C}"/>
          </ac:cxnSpMkLst>
        </pc:cxnChg>
        <pc:cxnChg chg="del mod">
          <ac:chgData name="Ulysse Schnyder" userId="67eb5700-5ae8-4331-a576-f7bed5e5e677" providerId="ADAL" clId="{FF8267A0-6362-4F7E-AFFF-AF30BD52CFF0}" dt="2021-09-03T16:19:39.263" v="6266" actId="478"/>
          <ac:cxnSpMkLst>
            <pc:docMk/>
            <pc:sldMk cId="1659035054" sldId="4084"/>
            <ac:cxnSpMk id="53" creationId="{7FEFECC9-2666-4060-BBA6-3990331208FB}"/>
          </ac:cxnSpMkLst>
        </pc:cxnChg>
      </pc:sldChg>
      <pc:sldChg chg="modSp add mod">
        <pc:chgData name="Ulysse Schnyder" userId="67eb5700-5ae8-4331-a576-f7bed5e5e677" providerId="ADAL" clId="{FF8267A0-6362-4F7E-AFFF-AF30BD52CFF0}" dt="2021-09-13T10:06:28.699" v="6931" actId="207"/>
        <pc:sldMkLst>
          <pc:docMk/>
          <pc:sldMk cId="3815521568" sldId="4085"/>
        </pc:sldMkLst>
        <pc:spChg chg="mod">
          <ac:chgData name="Ulysse Schnyder" userId="67eb5700-5ae8-4331-a576-f7bed5e5e677" providerId="ADAL" clId="{FF8267A0-6362-4F7E-AFFF-AF30BD52CFF0}" dt="2021-09-13T10:06:28.699" v="6931" actId="207"/>
          <ac:spMkLst>
            <pc:docMk/>
            <pc:sldMk cId="3815521568" sldId="4085"/>
            <ac:spMk id="10" creationId="{46DD9886-A260-4C5A-A3D9-BCFEB492D441}"/>
          </ac:spMkLst>
        </pc:spChg>
      </pc:sldChg>
    </pc:docChg>
  </pc:docChgLst>
  <pc:docChgLst>
    <pc:chgData name="Jonathan Black" userId="S::jonathan.black@auroraer.com::e5795b31-d80f-4d2c-b0dc-20dfa8a62476" providerId="AD" clId="Web-{BC179777-47D8-FBA5-C7FC-85FB67739963}"/>
    <pc:docChg chg="modSld">
      <pc:chgData name="Jonathan Black" userId="S::jonathan.black@auroraer.com::e5795b31-d80f-4d2c-b0dc-20dfa8a62476" providerId="AD" clId="Web-{BC179777-47D8-FBA5-C7FC-85FB67739963}" dt="2021-09-07T09:38:17.615" v="16"/>
      <pc:docMkLst>
        <pc:docMk/>
      </pc:docMkLst>
      <pc:sldChg chg="mod modShow">
        <pc:chgData name="Jonathan Black" userId="S::jonathan.black@auroraer.com::e5795b31-d80f-4d2c-b0dc-20dfa8a62476" providerId="AD" clId="Web-{BC179777-47D8-FBA5-C7FC-85FB67739963}" dt="2021-09-07T09:37:46.784" v="0"/>
        <pc:sldMkLst>
          <pc:docMk/>
          <pc:sldMk cId="2516155089" sldId="4054"/>
        </pc:sldMkLst>
      </pc:sldChg>
      <pc:sldChg chg="modSp">
        <pc:chgData name="Jonathan Black" userId="S::jonathan.black@auroraer.com::e5795b31-d80f-4d2c-b0dc-20dfa8a62476" providerId="AD" clId="Web-{BC179777-47D8-FBA5-C7FC-85FB67739963}" dt="2021-09-07T09:38:11.348" v="15" actId="1076"/>
        <pc:sldMkLst>
          <pc:docMk/>
          <pc:sldMk cId="2143737002" sldId="4065"/>
        </pc:sldMkLst>
        <pc:spChg chg="mod">
          <ac:chgData name="Jonathan Black" userId="S::jonathan.black@auroraer.com::e5795b31-d80f-4d2c-b0dc-20dfa8a62476" providerId="AD" clId="Web-{BC179777-47D8-FBA5-C7FC-85FB67739963}" dt="2021-09-07T09:38:11.348" v="15" actId="1076"/>
          <ac:spMkLst>
            <pc:docMk/>
            <pc:sldMk cId="2143737002" sldId="4065"/>
            <ac:spMk id="18" creationId="{DCA696B5-18B6-4095-871C-7E53B67C657B}"/>
          </ac:spMkLst>
        </pc:spChg>
      </pc:sldChg>
      <pc:sldChg chg="delSp">
        <pc:chgData name="Jonathan Black" userId="S::jonathan.black@auroraer.com::e5795b31-d80f-4d2c-b0dc-20dfa8a62476" providerId="AD" clId="Web-{BC179777-47D8-FBA5-C7FC-85FB67739963}" dt="2021-09-07T09:38:17.615" v="16"/>
        <pc:sldMkLst>
          <pc:docMk/>
          <pc:sldMk cId="3815521568" sldId="4085"/>
        </pc:sldMkLst>
        <pc:spChg chg="del">
          <ac:chgData name="Jonathan Black" userId="S::jonathan.black@auroraer.com::e5795b31-d80f-4d2c-b0dc-20dfa8a62476" providerId="AD" clId="Web-{BC179777-47D8-FBA5-C7FC-85FB67739963}" dt="2021-09-07T09:38:17.615" v="16"/>
          <ac:spMkLst>
            <pc:docMk/>
            <pc:sldMk cId="3815521568" sldId="4085"/>
            <ac:spMk id="18" creationId="{DCA696B5-18B6-4095-871C-7E53B67C657B}"/>
          </ac:spMkLst>
        </pc:spChg>
      </pc:sldChg>
    </pc:docChg>
  </pc:docChgLst>
  <pc:docChgLst>
    <pc:chgData name="Jonathan Black" userId="S::jonathan.black@auroraer.com::e5795b31-d80f-4d2c-b0dc-20dfa8a62476" providerId="AD" clId="Web-{F50E5954-B442-6E58-7D3B-67627A463842}"/>
    <pc:docChg chg="modSld">
      <pc:chgData name="Jonathan Black" userId="S::jonathan.black@auroraer.com::e5795b31-d80f-4d2c-b0dc-20dfa8a62476" providerId="AD" clId="Web-{F50E5954-B442-6E58-7D3B-67627A463842}" dt="2021-09-01T15:07:46.334" v="162" actId="20577"/>
      <pc:docMkLst>
        <pc:docMk/>
      </pc:docMkLst>
      <pc:sldChg chg="addSp modSp">
        <pc:chgData name="Jonathan Black" userId="S::jonathan.black@auroraer.com::e5795b31-d80f-4d2c-b0dc-20dfa8a62476" providerId="AD" clId="Web-{F50E5954-B442-6E58-7D3B-67627A463842}" dt="2021-09-01T15:02:28.451" v="73" actId="20577"/>
        <pc:sldMkLst>
          <pc:docMk/>
          <pc:sldMk cId="3523713484" sldId="4046"/>
        </pc:sldMkLst>
        <pc:spChg chg="add mod">
          <ac:chgData name="Jonathan Black" userId="S::jonathan.black@auroraer.com::e5795b31-d80f-4d2c-b0dc-20dfa8a62476" providerId="AD" clId="Web-{F50E5954-B442-6E58-7D3B-67627A463842}" dt="2021-09-01T15:01:18.637" v="43" actId="1076"/>
          <ac:spMkLst>
            <pc:docMk/>
            <pc:sldMk cId="3523713484" sldId="4046"/>
            <ac:spMk id="3" creationId="{7045437F-452B-40E9-982D-C508337F2153}"/>
          </ac:spMkLst>
        </pc:spChg>
        <pc:spChg chg="add mod">
          <ac:chgData name="Jonathan Black" userId="S::jonathan.black@auroraer.com::e5795b31-d80f-4d2c-b0dc-20dfa8a62476" providerId="AD" clId="Web-{F50E5954-B442-6E58-7D3B-67627A463842}" dt="2021-09-01T15:02:28.451" v="73" actId="20577"/>
          <ac:spMkLst>
            <pc:docMk/>
            <pc:sldMk cId="3523713484" sldId="4046"/>
            <ac:spMk id="18" creationId="{1F23CCD0-87F5-4F3B-85B6-A39470D8C36B}"/>
          </ac:spMkLst>
        </pc:spChg>
      </pc:sldChg>
      <pc:sldChg chg="modSp">
        <pc:chgData name="Jonathan Black" userId="S::jonathan.black@auroraer.com::e5795b31-d80f-4d2c-b0dc-20dfa8a62476" providerId="AD" clId="Web-{F50E5954-B442-6E58-7D3B-67627A463842}" dt="2021-09-01T15:07:46.334" v="162" actId="20577"/>
        <pc:sldMkLst>
          <pc:docMk/>
          <pc:sldMk cId="1196129177" sldId="4081"/>
        </pc:sldMkLst>
        <pc:spChg chg="mod">
          <ac:chgData name="Jonathan Black" userId="S::jonathan.black@auroraer.com::e5795b31-d80f-4d2c-b0dc-20dfa8a62476" providerId="AD" clId="Web-{F50E5954-B442-6E58-7D3B-67627A463842}" dt="2021-09-01T15:07:46.334" v="162" actId="20577"/>
          <ac:spMkLst>
            <pc:docMk/>
            <pc:sldMk cId="1196129177" sldId="4081"/>
            <ac:spMk id="244" creationId="{821BB02E-B180-474E-8A98-B1FC38B7919B}"/>
          </ac:spMkLst>
        </pc:spChg>
      </pc:sldChg>
      <pc:sldChg chg="addSp modSp">
        <pc:chgData name="Jonathan Black" userId="S::jonathan.black@auroraer.com::e5795b31-d80f-4d2c-b0dc-20dfa8a62476" providerId="AD" clId="Web-{F50E5954-B442-6E58-7D3B-67627A463842}" dt="2021-09-01T15:05:27.971" v="159" actId="20577"/>
        <pc:sldMkLst>
          <pc:docMk/>
          <pc:sldMk cId="3430183779" sldId="4082"/>
        </pc:sldMkLst>
        <pc:spChg chg="add mod">
          <ac:chgData name="Jonathan Black" userId="S::jonathan.black@auroraer.com::e5795b31-d80f-4d2c-b0dc-20dfa8a62476" providerId="AD" clId="Web-{F50E5954-B442-6E58-7D3B-67627A463842}" dt="2021-09-01T15:04:51.048" v="104" actId="20577"/>
          <ac:spMkLst>
            <pc:docMk/>
            <pc:sldMk cId="3430183779" sldId="4082"/>
            <ac:spMk id="4" creationId="{88F975F1-0411-4875-85CC-3E3638838A76}"/>
          </ac:spMkLst>
        </pc:spChg>
        <pc:spChg chg="add mod">
          <ac:chgData name="Jonathan Black" userId="S::jonathan.black@auroraer.com::e5795b31-d80f-4d2c-b0dc-20dfa8a62476" providerId="AD" clId="Web-{F50E5954-B442-6E58-7D3B-67627A463842}" dt="2021-09-01T15:05:27.971" v="159" actId="20577"/>
          <ac:spMkLst>
            <pc:docMk/>
            <pc:sldMk cId="3430183779" sldId="4082"/>
            <ac:spMk id="11" creationId="{BDB1E825-0738-475F-A16A-05770B832D25}"/>
          </ac:spMkLst>
        </pc:spChg>
      </pc:sldChg>
    </pc:docChg>
  </pc:docChgLst>
  <pc:docChgLst>
    <pc:chgData name="Jonathan Black" userId="S::jonathan.black@auroraer.com::e5795b31-d80f-4d2c-b0dc-20dfa8a62476" providerId="AD" clId="Web-{0F40FA1C-9B70-24F1-B7E9-B3D7BD166F3D}"/>
    <pc:docChg chg="addSld modSld">
      <pc:chgData name="Jonathan Black" userId="S::jonathan.black@auroraer.com::e5795b31-d80f-4d2c-b0dc-20dfa8a62476" providerId="AD" clId="Web-{0F40FA1C-9B70-24F1-B7E9-B3D7BD166F3D}" dt="2021-09-07T08:09:54.395" v="765" actId="20577"/>
      <pc:docMkLst>
        <pc:docMk/>
      </pc:docMkLst>
      <pc:sldChg chg="modSp">
        <pc:chgData name="Jonathan Black" userId="S::jonathan.black@auroraer.com::e5795b31-d80f-4d2c-b0dc-20dfa8a62476" providerId="AD" clId="Web-{0F40FA1C-9B70-24F1-B7E9-B3D7BD166F3D}" dt="2021-09-06T15:48:06.904" v="576" actId="20577"/>
        <pc:sldMkLst>
          <pc:docMk/>
          <pc:sldMk cId="293148521" sldId="3934"/>
        </pc:sldMkLst>
        <pc:spChg chg="mod">
          <ac:chgData name="Jonathan Black" userId="S::jonathan.black@auroraer.com::e5795b31-d80f-4d2c-b0dc-20dfa8a62476" providerId="AD" clId="Web-{0F40FA1C-9B70-24F1-B7E9-B3D7BD166F3D}" dt="2021-09-06T15:48:06.904" v="576" actId="20577"/>
          <ac:spMkLst>
            <pc:docMk/>
            <pc:sldMk cId="293148521" sldId="3934"/>
            <ac:spMk id="2" creationId="{88AC21D3-3A7A-41C4-8F81-AD6200B2B4AE}"/>
          </ac:spMkLst>
        </pc:spChg>
      </pc:sldChg>
      <pc:sldChg chg="mod modShow">
        <pc:chgData name="Jonathan Black" userId="S::jonathan.black@auroraer.com::e5795b31-d80f-4d2c-b0dc-20dfa8a62476" providerId="AD" clId="Web-{0F40FA1C-9B70-24F1-B7E9-B3D7BD166F3D}" dt="2021-09-06T15:35:56.048" v="532"/>
        <pc:sldMkLst>
          <pc:docMk/>
          <pc:sldMk cId="2910892799" sldId="4017"/>
        </pc:sldMkLst>
      </pc:sldChg>
      <pc:sldChg chg="addSp delSp modSp">
        <pc:chgData name="Jonathan Black" userId="S::jonathan.black@auroraer.com::e5795b31-d80f-4d2c-b0dc-20dfa8a62476" providerId="AD" clId="Web-{0F40FA1C-9B70-24F1-B7E9-B3D7BD166F3D}" dt="2021-09-06T15:24:11.663" v="261" actId="14100"/>
        <pc:sldMkLst>
          <pc:docMk/>
          <pc:sldMk cId="3523713484" sldId="4046"/>
        </pc:sldMkLst>
        <pc:spChg chg="del mod">
          <ac:chgData name="Jonathan Black" userId="S::jonathan.black@auroraer.com::e5795b31-d80f-4d2c-b0dc-20dfa8a62476" providerId="AD" clId="Web-{0F40FA1C-9B70-24F1-B7E9-B3D7BD166F3D}" dt="2021-09-06T15:19:18.567" v="2"/>
          <ac:spMkLst>
            <pc:docMk/>
            <pc:sldMk cId="3523713484" sldId="4046"/>
            <ac:spMk id="3" creationId="{7045437F-452B-40E9-982D-C508337F2153}"/>
          </ac:spMkLst>
        </pc:spChg>
        <pc:spChg chg="mod">
          <ac:chgData name="Jonathan Black" userId="S::jonathan.black@auroraer.com::e5795b31-d80f-4d2c-b0dc-20dfa8a62476" providerId="AD" clId="Web-{0F40FA1C-9B70-24F1-B7E9-B3D7BD166F3D}" dt="2021-09-06T15:24:11.663" v="261" actId="14100"/>
          <ac:spMkLst>
            <pc:docMk/>
            <pc:sldMk cId="3523713484" sldId="4046"/>
            <ac:spMk id="18" creationId="{1F23CCD0-87F5-4F3B-85B6-A39470D8C36B}"/>
          </ac:spMkLst>
        </pc:spChg>
        <pc:spChg chg="add mod">
          <ac:chgData name="Jonathan Black" userId="S::jonathan.black@auroraer.com::e5795b31-d80f-4d2c-b0dc-20dfa8a62476" providerId="AD" clId="Web-{0F40FA1C-9B70-24F1-B7E9-B3D7BD166F3D}" dt="2021-09-06T15:23:29.864" v="250" actId="14100"/>
          <ac:spMkLst>
            <pc:docMk/>
            <pc:sldMk cId="3523713484" sldId="4046"/>
            <ac:spMk id="19" creationId="{420D29B4-236F-4AB5-9375-A04841708BB8}"/>
          </ac:spMkLst>
        </pc:spChg>
      </pc:sldChg>
      <pc:sldChg chg="modSp">
        <pc:chgData name="Jonathan Black" userId="S::jonathan.black@auroraer.com::e5795b31-d80f-4d2c-b0dc-20dfa8a62476" providerId="AD" clId="Web-{0F40FA1C-9B70-24F1-B7E9-B3D7BD166F3D}" dt="2021-09-07T08:09:11.082" v="737" actId="20577"/>
        <pc:sldMkLst>
          <pc:docMk/>
          <pc:sldMk cId="3788729471" sldId="4060"/>
        </pc:sldMkLst>
        <pc:spChg chg="mod">
          <ac:chgData name="Jonathan Black" userId="S::jonathan.black@auroraer.com::e5795b31-d80f-4d2c-b0dc-20dfa8a62476" providerId="AD" clId="Web-{0F40FA1C-9B70-24F1-B7E9-B3D7BD166F3D}" dt="2021-09-07T08:09:11.082" v="737" actId="20577"/>
          <ac:spMkLst>
            <pc:docMk/>
            <pc:sldMk cId="3788729471" sldId="4060"/>
            <ac:spMk id="2" creationId="{88AC21D3-3A7A-41C4-8F81-AD6200B2B4AE}"/>
          </ac:spMkLst>
        </pc:spChg>
      </pc:sldChg>
      <pc:sldChg chg="delSp modSp">
        <pc:chgData name="Jonathan Black" userId="S::jonathan.black@auroraer.com::e5795b31-d80f-4d2c-b0dc-20dfa8a62476" providerId="AD" clId="Web-{0F40FA1C-9B70-24F1-B7E9-B3D7BD166F3D}" dt="2021-09-06T15:36:27.816" v="548"/>
        <pc:sldMkLst>
          <pc:docMk/>
          <pc:sldMk cId="1131210539" sldId="4063"/>
        </pc:sldMkLst>
        <pc:spChg chg="mod">
          <ac:chgData name="Jonathan Black" userId="S::jonathan.black@auroraer.com::e5795b31-d80f-4d2c-b0dc-20dfa8a62476" providerId="AD" clId="Web-{0F40FA1C-9B70-24F1-B7E9-B3D7BD166F3D}" dt="2021-09-06T15:36:13.925" v="539" actId="20577"/>
          <ac:spMkLst>
            <pc:docMk/>
            <pc:sldMk cId="1131210539" sldId="4063"/>
            <ac:spMk id="5" creationId="{157472B1-7C6A-44A8-AAA1-FFE9DE3F9442}"/>
          </ac:spMkLst>
        </pc:spChg>
        <pc:spChg chg="del">
          <ac:chgData name="Jonathan Black" userId="S::jonathan.black@auroraer.com::e5795b31-d80f-4d2c-b0dc-20dfa8a62476" providerId="AD" clId="Web-{0F40FA1C-9B70-24F1-B7E9-B3D7BD166F3D}" dt="2021-09-06T15:36:27.816" v="548"/>
          <ac:spMkLst>
            <pc:docMk/>
            <pc:sldMk cId="1131210539" sldId="4063"/>
            <ac:spMk id="10" creationId="{1012E0F3-5CB3-453F-8E07-A80E1DE1CEB2}"/>
          </ac:spMkLst>
        </pc:spChg>
        <pc:spChg chg="del">
          <ac:chgData name="Jonathan Black" userId="S::jonathan.black@auroraer.com::e5795b31-d80f-4d2c-b0dc-20dfa8a62476" providerId="AD" clId="Web-{0F40FA1C-9B70-24F1-B7E9-B3D7BD166F3D}" dt="2021-09-06T15:36:27.082" v="547"/>
          <ac:spMkLst>
            <pc:docMk/>
            <pc:sldMk cId="1131210539" sldId="4063"/>
            <ac:spMk id="13" creationId="{C666719C-0211-4018-807A-97C2E80CC2C2}"/>
          </ac:spMkLst>
        </pc:spChg>
      </pc:sldChg>
      <pc:sldChg chg="modSp">
        <pc:chgData name="Jonathan Black" userId="S::jonathan.black@auroraer.com::e5795b31-d80f-4d2c-b0dc-20dfa8a62476" providerId="AD" clId="Web-{0F40FA1C-9B70-24F1-B7E9-B3D7BD166F3D}" dt="2021-09-06T15:29:31.119" v="406" actId="20577"/>
        <pc:sldMkLst>
          <pc:docMk/>
          <pc:sldMk cId="2175772416" sldId="4064"/>
        </pc:sldMkLst>
        <pc:spChg chg="mod">
          <ac:chgData name="Jonathan Black" userId="S::jonathan.black@auroraer.com::e5795b31-d80f-4d2c-b0dc-20dfa8a62476" providerId="AD" clId="Web-{0F40FA1C-9B70-24F1-B7E9-B3D7BD166F3D}" dt="2021-09-06T15:29:31.119" v="406" actId="20577"/>
          <ac:spMkLst>
            <pc:docMk/>
            <pc:sldMk cId="2175772416" sldId="4064"/>
            <ac:spMk id="2" creationId="{3FA2D8F7-4681-450B-885F-E23DB565EBF4}"/>
          </ac:spMkLst>
        </pc:spChg>
        <pc:spChg chg="mod">
          <ac:chgData name="Jonathan Black" userId="S::jonathan.black@auroraer.com::e5795b31-d80f-4d2c-b0dc-20dfa8a62476" providerId="AD" clId="Web-{0F40FA1C-9B70-24F1-B7E9-B3D7BD166F3D}" dt="2021-09-06T15:25:26.886" v="280" actId="20577"/>
          <ac:spMkLst>
            <pc:docMk/>
            <pc:sldMk cId="2175772416" sldId="4064"/>
            <ac:spMk id="35" creationId="{FA9BF28D-ACC3-4AA5-A8C6-7A1C4D259C68}"/>
          </ac:spMkLst>
        </pc:spChg>
        <pc:spChg chg="mod">
          <ac:chgData name="Jonathan Black" userId="S::jonathan.black@auroraer.com::e5795b31-d80f-4d2c-b0dc-20dfa8a62476" providerId="AD" clId="Web-{0F40FA1C-9B70-24F1-B7E9-B3D7BD166F3D}" dt="2021-09-06T15:25:38.371" v="298" actId="14100"/>
          <ac:spMkLst>
            <pc:docMk/>
            <pc:sldMk cId="2175772416" sldId="4064"/>
            <ac:spMk id="40" creationId="{5788C964-77C6-4623-9FE9-FCD2ACB384D2}"/>
          </ac:spMkLst>
        </pc:spChg>
      </pc:sldChg>
      <pc:sldChg chg="modSp">
        <pc:chgData name="Jonathan Black" userId="S::jonathan.black@auroraer.com::e5795b31-d80f-4d2c-b0dc-20dfa8a62476" providerId="AD" clId="Web-{0F40FA1C-9B70-24F1-B7E9-B3D7BD166F3D}" dt="2021-09-07T08:09:42.629" v="762" actId="20577"/>
        <pc:sldMkLst>
          <pc:docMk/>
          <pc:sldMk cId="3934256195" sldId="4069"/>
        </pc:sldMkLst>
        <pc:spChg chg="mod">
          <ac:chgData name="Jonathan Black" userId="S::jonathan.black@auroraer.com::e5795b31-d80f-4d2c-b0dc-20dfa8a62476" providerId="AD" clId="Web-{0F40FA1C-9B70-24F1-B7E9-B3D7BD166F3D}" dt="2021-09-07T08:09:42.629" v="762" actId="20577"/>
          <ac:spMkLst>
            <pc:docMk/>
            <pc:sldMk cId="3934256195" sldId="4069"/>
            <ac:spMk id="6" creationId="{B7FE6929-531D-4F05-902E-A45ACC12C34A}"/>
          </ac:spMkLst>
        </pc:spChg>
      </pc:sldChg>
      <pc:sldChg chg="modSp">
        <pc:chgData name="Jonathan Black" userId="S::jonathan.black@auroraer.com::e5795b31-d80f-4d2c-b0dc-20dfa8a62476" providerId="AD" clId="Web-{0F40FA1C-9B70-24F1-B7E9-B3D7BD166F3D}" dt="2021-09-06T15:53:50.331" v="669" actId="20577"/>
        <pc:sldMkLst>
          <pc:docMk/>
          <pc:sldMk cId="1196129177" sldId="4081"/>
        </pc:sldMkLst>
        <pc:spChg chg="mod">
          <ac:chgData name="Jonathan Black" userId="S::jonathan.black@auroraer.com::e5795b31-d80f-4d2c-b0dc-20dfa8a62476" providerId="AD" clId="Web-{0F40FA1C-9B70-24F1-B7E9-B3D7BD166F3D}" dt="2021-09-06T15:53:50.331" v="669" actId="20577"/>
          <ac:spMkLst>
            <pc:docMk/>
            <pc:sldMk cId="1196129177" sldId="4081"/>
            <ac:spMk id="2" creationId="{2AC1942B-F81B-48B9-94AE-19DA47E61C8E}"/>
          </ac:spMkLst>
        </pc:spChg>
      </pc:sldChg>
      <pc:sldChg chg="delSp modSp">
        <pc:chgData name="Jonathan Black" userId="S::jonathan.black@auroraer.com::e5795b31-d80f-4d2c-b0dc-20dfa8a62476" providerId="AD" clId="Web-{0F40FA1C-9B70-24F1-B7E9-B3D7BD166F3D}" dt="2021-09-06T15:34:24.856" v="531"/>
        <pc:sldMkLst>
          <pc:docMk/>
          <pc:sldMk cId="3430183779" sldId="4082"/>
        </pc:sldMkLst>
        <pc:spChg chg="del">
          <ac:chgData name="Jonathan Black" userId="S::jonathan.black@auroraer.com::e5795b31-d80f-4d2c-b0dc-20dfa8a62476" providerId="AD" clId="Web-{0F40FA1C-9B70-24F1-B7E9-B3D7BD166F3D}" dt="2021-09-06T15:32:09.254" v="407"/>
          <ac:spMkLst>
            <pc:docMk/>
            <pc:sldMk cId="3430183779" sldId="4082"/>
            <ac:spMk id="4" creationId="{88F975F1-0411-4875-85CC-3E3638838A76}"/>
          </ac:spMkLst>
        </pc:spChg>
        <pc:spChg chg="del">
          <ac:chgData name="Jonathan Black" userId="S::jonathan.black@auroraer.com::e5795b31-d80f-4d2c-b0dc-20dfa8a62476" providerId="AD" clId="Web-{0F40FA1C-9B70-24F1-B7E9-B3D7BD166F3D}" dt="2021-09-06T15:32:38.615" v="415"/>
          <ac:spMkLst>
            <pc:docMk/>
            <pc:sldMk cId="3430183779" sldId="4082"/>
            <ac:spMk id="11" creationId="{BDB1E825-0738-475F-A16A-05770B832D25}"/>
          </ac:spMkLst>
        </pc:spChg>
        <pc:spChg chg="del">
          <ac:chgData name="Jonathan Black" userId="S::jonathan.black@auroraer.com::e5795b31-d80f-4d2c-b0dc-20dfa8a62476" providerId="AD" clId="Web-{0F40FA1C-9B70-24F1-B7E9-B3D7BD166F3D}" dt="2021-09-06T15:32:29.864" v="414"/>
          <ac:spMkLst>
            <pc:docMk/>
            <pc:sldMk cId="3430183779" sldId="4082"/>
            <ac:spMk id="13" creationId="{224055F4-1D25-4DA1-8F1B-CB1973696816}"/>
          </ac:spMkLst>
        </pc:spChg>
        <pc:graphicFrameChg chg="mod modGraphic">
          <ac:chgData name="Jonathan Black" userId="S::jonathan.black@auroraer.com::e5795b31-d80f-4d2c-b0dc-20dfa8a62476" providerId="AD" clId="Web-{0F40FA1C-9B70-24F1-B7E9-B3D7BD166F3D}" dt="2021-09-06T15:34:24.856" v="531"/>
          <ac:graphicFrameMkLst>
            <pc:docMk/>
            <pc:sldMk cId="3430183779" sldId="4082"/>
            <ac:graphicFrameMk id="2" creationId="{CC0AF3C5-5DDD-4DFB-9001-A0A99719B909}"/>
          </ac:graphicFrameMkLst>
        </pc:graphicFrameChg>
      </pc:sldChg>
      <pc:sldChg chg="addSp delSp modSp">
        <pc:chgData name="Jonathan Black" userId="S::jonathan.black@auroraer.com::e5795b31-d80f-4d2c-b0dc-20dfa8a62476" providerId="AD" clId="Web-{0F40FA1C-9B70-24F1-B7E9-B3D7BD166F3D}" dt="2021-09-07T07:54:25.047" v="733" actId="20577"/>
        <pc:sldMkLst>
          <pc:docMk/>
          <pc:sldMk cId="1659035054" sldId="4084"/>
        </pc:sldMkLst>
        <pc:spChg chg="add mod">
          <ac:chgData name="Jonathan Black" userId="S::jonathan.black@auroraer.com::e5795b31-d80f-4d2c-b0dc-20dfa8a62476" providerId="AD" clId="Web-{0F40FA1C-9B70-24F1-B7E9-B3D7BD166F3D}" dt="2021-09-07T07:54:25.047" v="733" actId="20577"/>
          <ac:spMkLst>
            <pc:docMk/>
            <pc:sldMk cId="1659035054" sldId="4084"/>
            <ac:spMk id="3" creationId="{1FD5A7BA-BC9B-4EF8-BDAF-B19A24B33037}"/>
          </ac:spMkLst>
        </pc:spChg>
        <pc:spChg chg="add del">
          <ac:chgData name="Jonathan Black" userId="S::jonathan.black@auroraer.com::e5795b31-d80f-4d2c-b0dc-20dfa8a62476" providerId="AD" clId="Web-{0F40FA1C-9B70-24F1-B7E9-B3D7BD166F3D}" dt="2021-09-07T07:45:37.098" v="672"/>
          <ac:spMkLst>
            <pc:docMk/>
            <pc:sldMk cId="1659035054" sldId="4084"/>
            <ac:spMk id="4" creationId="{05A9B06B-00F3-4102-9A78-32614FB03F2B}"/>
          </ac:spMkLst>
        </pc:spChg>
        <pc:spChg chg="mod">
          <ac:chgData name="Jonathan Black" userId="S::jonathan.black@auroraer.com::e5795b31-d80f-4d2c-b0dc-20dfa8a62476" providerId="AD" clId="Web-{0F40FA1C-9B70-24F1-B7E9-B3D7BD166F3D}" dt="2021-09-06T15:36:21.441" v="546" actId="20577"/>
          <ac:spMkLst>
            <pc:docMk/>
            <pc:sldMk cId="1659035054" sldId="4084"/>
            <ac:spMk id="5" creationId="{157472B1-7C6A-44A8-AAA1-FFE9DE3F9442}"/>
          </ac:spMkLst>
        </pc:spChg>
        <pc:spChg chg="del">
          <ac:chgData name="Jonathan Black" userId="S::jonathan.black@auroraer.com::e5795b31-d80f-4d2c-b0dc-20dfa8a62476" providerId="AD" clId="Web-{0F40FA1C-9B70-24F1-B7E9-B3D7BD166F3D}" dt="2021-09-06T15:36:06.846" v="534"/>
          <ac:spMkLst>
            <pc:docMk/>
            <pc:sldMk cId="1659035054" sldId="4084"/>
            <ac:spMk id="10" creationId="{1012E0F3-5CB3-453F-8E07-A80E1DE1CEB2}"/>
          </ac:spMkLst>
        </pc:spChg>
        <pc:spChg chg="del">
          <ac:chgData name="Jonathan Black" userId="S::jonathan.black@auroraer.com::e5795b31-d80f-4d2c-b0dc-20dfa8a62476" providerId="AD" clId="Web-{0F40FA1C-9B70-24F1-B7E9-B3D7BD166F3D}" dt="2021-09-06T15:36:03.986" v="533"/>
          <ac:spMkLst>
            <pc:docMk/>
            <pc:sldMk cId="1659035054" sldId="4084"/>
            <ac:spMk id="13" creationId="{C666719C-0211-4018-807A-97C2E80CC2C2}"/>
          </ac:spMkLst>
        </pc:spChg>
      </pc:sldChg>
      <pc:sldChg chg="modSp add replId">
        <pc:chgData name="Jonathan Black" userId="S::jonathan.black@auroraer.com::e5795b31-d80f-4d2c-b0dc-20dfa8a62476" providerId="AD" clId="Web-{0F40FA1C-9B70-24F1-B7E9-B3D7BD166F3D}" dt="2021-09-07T08:09:54.395" v="765" actId="20577"/>
        <pc:sldMkLst>
          <pc:docMk/>
          <pc:sldMk cId="2338885973" sldId="4086"/>
        </pc:sldMkLst>
        <pc:spChg chg="mod">
          <ac:chgData name="Jonathan Black" userId="S::jonathan.black@auroraer.com::e5795b31-d80f-4d2c-b0dc-20dfa8a62476" providerId="AD" clId="Web-{0F40FA1C-9B70-24F1-B7E9-B3D7BD166F3D}" dt="2021-09-07T08:09:54.395" v="765" actId="20577"/>
          <ac:spMkLst>
            <pc:docMk/>
            <pc:sldMk cId="2338885973" sldId="4086"/>
            <ac:spMk id="6" creationId="{B7FE6929-531D-4F05-902E-A45ACC12C34A}"/>
          </ac:spMkLst>
        </pc:spChg>
      </pc:sldChg>
    </pc:docChg>
  </pc:docChgLst>
  <pc:docChgLst>
    <pc:chgData name="Jonathan Black" userId="S::jonathan.black@auroraer.com::e5795b31-d80f-4d2c-b0dc-20dfa8a62476" providerId="AD" clId="Web-{392B9DDF-0220-BCBA-BC15-2E5764673DEE}"/>
    <pc:docChg chg="sldOrd">
      <pc:chgData name="Jonathan Black" userId="S::jonathan.black@auroraer.com::e5795b31-d80f-4d2c-b0dc-20dfa8a62476" providerId="AD" clId="Web-{392B9DDF-0220-BCBA-BC15-2E5764673DEE}" dt="2021-08-31T09:52:06.719" v="1"/>
      <pc:docMkLst>
        <pc:docMk/>
      </pc:docMkLst>
      <pc:sldChg chg="ord">
        <pc:chgData name="Jonathan Black" userId="S::jonathan.black@auroraer.com::e5795b31-d80f-4d2c-b0dc-20dfa8a62476" providerId="AD" clId="Web-{392B9DDF-0220-BCBA-BC15-2E5764673DEE}" dt="2021-08-31T09:52:06.719" v="1"/>
        <pc:sldMkLst>
          <pc:docMk/>
          <pc:sldMk cId="1196129177" sldId="4081"/>
        </pc:sldMkLst>
      </pc:sldChg>
      <pc:sldChg chg="ord">
        <pc:chgData name="Jonathan Black" userId="S::jonathan.black@auroraer.com::e5795b31-d80f-4d2c-b0dc-20dfa8a62476" providerId="AD" clId="Web-{392B9DDF-0220-BCBA-BC15-2E5764673DEE}" dt="2021-08-31T09:52:04.126" v="0"/>
        <pc:sldMkLst>
          <pc:docMk/>
          <pc:sldMk cId="3430183779" sldId="408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JonathanBlack\Downloads\gbr_system_30M_2021.csv"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holesale market price</a:t>
            </a:r>
            <a:r>
              <a:rPr lang="en-US" baseline="0"/>
              <a:t> £</a:t>
            </a:r>
            <a:r>
              <a:rPr lang="en-US"/>
              <a:t>/MW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Half-hourly data'!$C$1</c:f>
              <c:strCache>
                <c:ptCount val="1"/>
                <c:pt idx="0">
                  <c:v>wholesale market price, gbp/mwh</c:v>
                </c:pt>
              </c:strCache>
            </c:strRef>
          </c:tx>
          <c:spPr>
            <a:ln w="28575" cap="rnd">
              <a:solidFill>
                <a:schemeClr val="accent1"/>
              </a:solidFill>
              <a:round/>
            </a:ln>
            <a:effectLst/>
          </c:spPr>
          <c:marker>
            <c:symbol val="none"/>
          </c:marker>
          <c:cat>
            <c:numRef>
              <c:f>'Half-hourly data'!$B$2:$B$289</c:f>
              <c:numCache>
                <c:formatCode>0</c:formatCode>
                <c:ptCount val="28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numCache>
            </c:numRef>
          </c:cat>
          <c:val>
            <c:numRef>
              <c:f>'Half-hourly data'!$C$2:$C$289</c:f>
              <c:numCache>
                <c:formatCode>General</c:formatCode>
                <c:ptCount val="288"/>
                <c:pt idx="0">
                  <c:v>138.97</c:v>
                </c:pt>
                <c:pt idx="1">
                  <c:v>147.16999999999899</c:v>
                </c:pt>
                <c:pt idx="2">
                  <c:v>144.37</c:v>
                </c:pt>
                <c:pt idx="3">
                  <c:v>139.53</c:v>
                </c:pt>
                <c:pt idx="4">
                  <c:v>133.66999999999899</c:v>
                </c:pt>
                <c:pt idx="5">
                  <c:v>120.61</c:v>
                </c:pt>
                <c:pt idx="6">
                  <c:v>127.44</c:v>
                </c:pt>
                <c:pt idx="7">
                  <c:v>127.5</c:v>
                </c:pt>
                <c:pt idx="8">
                  <c:v>133.509999999999</c:v>
                </c:pt>
                <c:pt idx="9">
                  <c:v>117.97</c:v>
                </c:pt>
                <c:pt idx="10">
                  <c:v>155.56</c:v>
                </c:pt>
                <c:pt idx="11">
                  <c:v>118.31</c:v>
                </c:pt>
                <c:pt idx="12">
                  <c:v>119.22</c:v>
                </c:pt>
                <c:pt idx="13">
                  <c:v>126.18</c:v>
                </c:pt>
                <c:pt idx="14">
                  <c:v>205.12</c:v>
                </c:pt>
                <c:pt idx="15">
                  <c:v>220.69</c:v>
                </c:pt>
                <c:pt idx="16">
                  <c:v>227.66</c:v>
                </c:pt>
                <c:pt idx="17">
                  <c:v>212.3</c:v>
                </c:pt>
                <c:pt idx="18">
                  <c:v>211.91</c:v>
                </c:pt>
                <c:pt idx="19">
                  <c:v>200.06</c:v>
                </c:pt>
                <c:pt idx="20">
                  <c:v>201.94</c:v>
                </c:pt>
                <c:pt idx="21">
                  <c:v>200.08</c:v>
                </c:pt>
                <c:pt idx="22">
                  <c:v>195.599999999999</c:v>
                </c:pt>
                <c:pt idx="23">
                  <c:v>176.61</c:v>
                </c:pt>
                <c:pt idx="24">
                  <c:v>188.599999999999</c:v>
                </c:pt>
                <c:pt idx="25">
                  <c:v>184.16999999999899</c:v>
                </c:pt>
                <c:pt idx="26">
                  <c:v>197.12</c:v>
                </c:pt>
                <c:pt idx="27">
                  <c:v>196.599999999999</c:v>
                </c:pt>
                <c:pt idx="28">
                  <c:v>183.34</c:v>
                </c:pt>
                <c:pt idx="29">
                  <c:v>177.41999999999899</c:v>
                </c:pt>
                <c:pt idx="30">
                  <c:v>212.09</c:v>
                </c:pt>
                <c:pt idx="31">
                  <c:v>218</c:v>
                </c:pt>
                <c:pt idx="32">
                  <c:v>232.72</c:v>
                </c:pt>
                <c:pt idx="33">
                  <c:v>256.02999999999901</c:v>
                </c:pt>
                <c:pt idx="34">
                  <c:v>253.759999999999</c:v>
                </c:pt>
                <c:pt idx="35">
                  <c:v>259.64999999999901</c:v>
                </c:pt>
                <c:pt idx="36">
                  <c:v>248.74</c:v>
                </c:pt>
                <c:pt idx="37">
                  <c:v>219.41999999999899</c:v>
                </c:pt>
                <c:pt idx="38">
                  <c:v>179.979999999999</c:v>
                </c:pt>
                <c:pt idx="39">
                  <c:v>179.03</c:v>
                </c:pt>
                <c:pt idx="40">
                  <c:v>174.46</c:v>
                </c:pt>
                <c:pt idx="41">
                  <c:v>169.3</c:v>
                </c:pt>
                <c:pt idx="42">
                  <c:v>145.27000000000001</c:v>
                </c:pt>
                <c:pt idx="43">
                  <c:v>148.56</c:v>
                </c:pt>
                <c:pt idx="44">
                  <c:v>139.25</c:v>
                </c:pt>
                <c:pt idx="45">
                  <c:v>143.509999999999</c:v>
                </c:pt>
                <c:pt idx="46">
                  <c:v>65.900000000000006</c:v>
                </c:pt>
                <c:pt idx="47">
                  <c:v>86.14</c:v>
                </c:pt>
                <c:pt idx="48">
                  <c:v>113.23</c:v>
                </c:pt>
                <c:pt idx="49">
                  <c:v>128.02000000000001</c:v>
                </c:pt>
                <c:pt idx="50">
                  <c:v>141.729999999999</c:v>
                </c:pt>
                <c:pt idx="51">
                  <c:v>142.15</c:v>
                </c:pt>
                <c:pt idx="52">
                  <c:v>147.74</c:v>
                </c:pt>
                <c:pt idx="53">
                  <c:v>145.91999999999899</c:v>
                </c:pt>
                <c:pt idx="54">
                  <c:v>135.11000000000001</c:v>
                </c:pt>
                <c:pt idx="55">
                  <c:v>125.84</c:v>
                </c:pt>
                <c:pt idx="56">
                  <c:v>132.24</c:v>
                </c:pt>
                <c:pt idx="57">
                  <c:v>122.7</c:v>
                </c:pt>
                <c:pt idx="58">
                  <c:v>188.74</c:v>
                </c:pt>
                <c:pt idx="59">
                  <c:v>170.819999999999</c:v>
                </c:pt>
                <c:pt idx="60">
                  <c:v>176.61</c:v>
                </c:pt>
                <c:pt idx="61">
                  <c:v>159.22</c:v>
                </c:pt>
                <c:pt idx="62">
                  <c:v>162.13999999999899</c:v>
                </c:pt>
                <c:pt idx="63">
                  <c:v>182.8</c:v>
                </c:pt>
                <c:pt idx="64">
                  <c:v>155.12</c:v>
                </c:pt>
                <c:pt idx="65">
                  <c:v>174.87</c:v>
                </c:pt>
                <c:pt idx="66">
                  <c:v>205.88</c:v>
                </c:pt>
                <c:pt idx="67">
                  <c:v>189.81</c:v>
                </c:pt>
                <c:pt idx="68">
                  <c:v>142.729999999999</c:v>
                </c:pt>
                <c:pt idx="69">
                  <c:v>158.52000000000001</c:v>
                </c:pt>
                <c:pt idx="70">
                  <c:v>147.13</c:v>
                </c:pt>
                <c:pt idx="71">
                  <c:v>146.27000000000001</c:v>
                </c:pt>
                <c:pt idx="72">
                  <c:v>148.94</c:v>
                </c:pt>
                <c:pt idx="73">
                  <c:v>144.479999999999</c:v>
                </c:pt>
                <c:pt idx="74">
                  <c:v>146.319999999999</c:v>
                </c:pt>
                <c:pt idx="75">
                  <c:v>154.47</c:v>
                </c:pt>
                <c:pt idx="76">
                  <c:v>147.63</c:v>
                </c:pt>
                <c:pt idx="77">
                  <c:v>139.99</c:v>
                </c:pt>
                <c:pt idx="78">
                  <c:v>149.62</c:v>
                </c:pt>
                <c:pt idx="79">
                  <c:v>152.479999999999</c:v>
                </c:pt>
                <c:pt idx="80">
                  <c:v>143.94</c:v>
                </c:pt>
                <c:pt idx="81">
                  <c:v>165.13999999999899</c:v>
                </c:pt>
                <c:pt idx="82">
                  <c:v>206.71</c:v>
                </c:pt>
                <c:pt idx="83">
                  <c:v>198.43</c:v>
                </c:pt>
                <c:pt idx="84">
                  <c:v>189.27</c:v>
                </c:pt>
                <c:pt idx="85">
                  <c:v>173.86</c:v>
                </c:pt>
                <c:pt idx="86">
                  <c:v>188.19</c:v>
                </c:pt>
                <c:pt idx="87">
                  <c:v>184.74</c:v>
                </c:pt>
                <c:pt idx="88">
                  <c:v>183.84</c:v>
                </c:pt>
                <c:pt idx="89">
                  <c:v>179.34</c:v>
                </c:pt>
                <c:pt idx="90">
                  <c:v>153.28</c:v>
                </c:pt>
                <c:pt idx="91">
                  <c:v>142.78</c:v>
                </c:pt>
                <c:pt idx="92">
                  <c:v>145.18</c:v>
                </c:pt>
                <c:pt idx="93">
                  <c:v>140.53</c:v>
                </c:pt>
                <c:pt idx="94">
                  <c:v>128.44999999999899</c:v>
                </c:pt>
                <c:pt idx="95">
                  <c:v>165.259999999999</c:v>
                </c:pt>
                <c:pt idx="96">
                  <c:v>148.27000000000001</c:v>
                </c:pt>
                <c:pt idx="97">
                  <c:v>151.24</c:v>
                </c:pt>
                <c:pt idx="98">
                  <c:v>149.96</c:v>
                </c:pt>
                <c:pt idx="99">
                  <c:v>144.47</c:v>
                </c:pt>
                <c:pt idx="100">
                  <c:v>125.599999999999</c:v>
                </c:pt>
                <c:pt idx="101">
                  <c:v>128.849999999999</c:v>
                </c:pt>
                <c:pt idx="102">
                  <c:v>137.63</c:v>
                </c:pt>
                <c:pt idx="103">
                  <c:v>144.99</c:v>
                </c:pt>
                <c:pt idx="104">
                  <c:v>145.62</c:v>
                </c:pt>
                <c:pt idx="105">
                  <c:v>148.68</c:v>
                </c:pt>
                <c:pt idx="106">
                  <c:v>178.47</c:v>
                </c:pt>
                <c:pt idx="107">
                  <c:v>146.039999999999</c:v>
                </c:pt>
                <c:pt idx="108">
                  <c:v>176.66999999999899</c:v>
                </c:pt>
                <c:pt idx="109">
                  <c:v>168.72</c:v>
                </c:pt>
                <c:pt idx="110">
                  <c:v>199.86</c:v>
                </c:pt>
                <c:pt idx="111">
                  <c:v>241.36</c:v>
                </c:pt>
                <c:pt idx="112">
                  <c:v>201</c:v>
                </c:pt>
                <c:pt idx="113">
                  <c:v>188.729999999999</c:v>
                </c:pt>
                <c:pt idx="114">
                  <c:v>205.78</c:v>
                </c:pt>
                <c:pt idx="115">
                  <c:v>169.52</c:v>
                </c:pt>
                <c:pt idx="116">
                  <c:v>167.55</c:v>
                </c:pt>
                <c:pt idx="117">
                  <c:v>157.83000000000001</c:v>
                </c:pt>
                <c:pt idx="118">
                  <c:v>154.03</c:v>
                </c:pt>
                <c:pt idx="119">
                  <c:v>175.259999999999</c:v>
                </c:pt>
                <c:pt idx="120">
                  <c:v>209.16999999999899</c:v>
                </c:pt>
                <c:pt idx="121">
                  <c:v>182.9</c:v>
                </c:pt>
                <c:pt idx="122">
                  <c:v>164.83</c:v>
                </c:pt>
                <c:pt idx="123">
                  <c:v>161.84</c:v>
                </c:pt>
                <c:pt idx="124">
                  <c:v>156.52000000000001</c:v>
                </c:pt>
                <c:pt idx="125">
                  <c:v>157.94999999999899</c:v>
                </c:pt>
                <c:pt idx="126">
                  <c:v>183.11</c:v>
                </c:pt>
                <c:pt idx="127">
                  <c:v>210.93</c:v>
                </c:pt>
                <c:pt idx="128">
                  <c:v>195.87</c:v>
                </c:pt>
                <c:pt idx="129">
                  <c:v>242.63</c:v>
                </c:pt>
                <c:pt idx="130">
                  <c:v>206.63999999999899</c:v>
                </c:pt>
                <c:pt idx="131">
                  <c:v>194.36</c:v>
                </c:pt>
                <c:pt idx="132">
                  <c:v>200.97</c:v>
                </c:pt>
                <c:pt idx="133">
                  <c:v>187.22</c:v>
                </c:pt>
                <c:pt idx="134">
                  <c:v>169.97</c:v>
                </c:pt>
                <c:pt idx="135">
                  <c:v>158.13999999999899</c:v>
                </c:pt>
                <c:pt idx="136">
                  <c:v>168.72</c:v>
                </c:pt>
                <c:pt idx="137">
                  <c:v>165.479999999999</c:v>
                </c:pt>
                <c:pt idx="138">
                  <c:v>149.31</c:v>
                </c:pt>
                <c:pt idx="139">
                  <c:v>143.539999999999</c:v>
                </c:pt>
                <c:pt idx="140">
                  <c:v>142.19999999999899</c:v>
                </c:pt>
                <c:pt idx="141">
                  <c:v>156.28</c:v>
                </c:pt>
                <c:pt idx="142">
                  <c:v>131.62</c:v>
                </c:pt>
                <c:pt idx="143">
                  <c:v>132.66</c:v>
                </c:pt>
                <c:pt idx="144">
                  <c:v>109.33</c:v>
                </c:pt>
                <c:pt idx="145">
                  <c:v>142.53</c:v>
                </c:pt>
                <c:pt idx="146">
                  <c:v>146.72</c:v>
                </c:pt>
                <c:pt idx="147">
                  <c:v>135.19999999999899</c:v>
                </c:pt>
                <c:pt idx="148">
                  <c:v>141.06</c:v>
                </c:pt>
                <c:pt idx="149">
                  <c:v>141.69999999999899</c:v>
                </c:pt>
                <c:pt idx="150">
                  <c:v>141.58000000000001</c:v>
                </c:pt>
                <c:pt idx="151">
                  <c:v>118.8</c:v>
                </c:pt>
                <c:pt idx="152">
                  <c:v>130.44999999999899</c:v>
                </c:pt>
                <c:pt idx="153">
                  <c:v>61.78</c:v>
                </c:pt>
                <c:pt idx="154">
                  <c:v>106.93</c:v>
                </c:pt>
                <c:pt idx="155">
                  <c:v>60.329999999999899</c:v>
                </c:pt>
                <c:pt idx="156">
                  <c:v>93.95</c:v>
                </c:pt>
                <c:pt idx="157">
                  <c:v>110.79</c:v>
                </c:pt>
                <c:pt idx="158">
                  <c:v>113.18</c:v>
                </c:pt>
                <c:pt idx="159">
                  <c:v>127.76</c:v>
                </c:pt>
                <c:pt idx="160">
                  <c:v>127.01</c:v>
                </c:pt>
                <c:pt idx="161">
                  <c:v>154.75</c:v>
                </c:pt>
                <c:pt idx="162">
                  <c:v>151.31</c:v>
                </c:pt>
                <c:pt idx="163">
                  <c:v>156.11000000000001</c:v>
                </c:pt>
                <c:pt idx="164">
                  <c:v>148.539999999999</c:v>
                </c:pt>
                <c:pt idx="165">
                  <c:v>125.16</c:v>
                </c:pt>
                <c:pt idx="166">
                  <c:v>113.09</c:v>
                </c:pt>
                <c:pt idx="167">
                  <c:v>90.23</c:v>
                </c:pt>
                <c:pt idx="168">
                  <c:v>126.55</c:v>
                </c:pt>
                <c:pt idx="169">
                  <c:v>132.009999999999</c:v>
                </c:pt>
                <c:pt idx="170">
                  <c:v>123.54</c:v>
                </c:pt>
                <c:pt idx="171">
                  <c:v>111.87</c:v>
                </c:pt>
                <c:pt idx="172">
                  <c:v>107.62</c:v>
                </c:pt>
                <c:pt idx="173">
                  <c:v>109.58</c:v>
                </c:pt>
                <c:pt idx="174">
                  <c:v>131.789999999999</c:v>
                </c:pt>
                <c:pt idx="175">
                  <c:v>148.59</c:v>
                </c:pt>
                <c:pt idx="176">
                  <c:v>153.069999999999</c:v>
                </c:pt>
                <c:pt idx="177">
                  <c:v>174.81</c:v>
                </c:pt>
                <c:pt idx="178">
                  <c:v>177.15</c:v>
                </c:pt>
                <c:pt idx="179">
                  <c:v>173.069999999999</c:v>
                </c:pt>
                <c:pt idx="180">
                  <c:v>171.52</c:v>
                </c:pt>
                <c:pt idx="181">
                  <c:v>157.47</c:v>
                </c:pt>
                <c:pt idx="182">
                  <c:v>137.78</c:v>
                </c:pt>
                <c:pt idx="183">
                  <c:v>116.92</c:v>
                </c:pt>
                <c:pt idx="184">
                  <c:v>109.92</c:v>
                </c:pt>
                <c:pt idx="185">
                  <c:v>110.069999999999</c:v>
                </c:pt>
                <c:pt idx="186">
                  <c:v>92.03</c:v>
                </c:pt>
                <c:pt idx="187">
                  <c:v>57.939999999999898</c:v>
                </c:pt>
                <c:pt idx="188">
                  <c:v>54.759999999999899</c:v>
                </c:pt>
                <c:pt idx="189">
                  <c:v>24.219999999999899</c:v>
                </c:pt>
                <c:pt idx="190">
                  <c:v>46.8599999999999</c:v>
                </c:pt>
                <c:pt idx="191">
                  <c:v>10.55</c:v>
                </c:pt>
                <c:pt idx="192">
                  <c:v>35.399999999999899</c:v>
                </c:pt>
                <c:pt idx="193">
                  <c:v>39.520000000000003</c:v>
                </c:pt>
                <c:pt idx="194">
                  <c:v>70.17</c:v>
                </c:pt>
                <c:pt idx="195">
                  <c:v>42.84</c:v>
                </c:pt>
                <c:pt idx="196">
                  <c:v>41.07</c:v>
                </c:pt>
                <c:pt idx="197">
                  <c:v>37.64</c:v>
                </c:pt>
                <c:pt idx="198">
                  <c:v>31.399999999999899</c:v>
                </c:pt>
                <c:pt idx="199">
                  <c:v>26.579999999999899</c:v>
                </c:pt>
                <c:pt idx="200">
                  <c:v>37.009999999999899</c:v>
                </c:pt>
                <c:pt idx="201">
                  <c:v>-6.37</c:v>
                </c:pt>
                <c:pt idx="202">
                  <c:v>-23.989999999999899</c:v>
                </c:pt>
                <c:pt idx="203">
                  <c:v>-8.83</c:v>
                </c:pt>
                <c:pt idx="204">
                  <c:v>54.119999999999898</c:v>
                </c:pt>
                <c:pt idx="205">
                  <c:v>82.14</c:v>
                </c:pt>
                <c:pt idx="206">
                  <c:v>80.959999999999894</c:v>
                </c:pt>
                <c:pt idx="207">
                  <c:v>99.209999999999894</c:v>
                </c:pt>
                <c:pt idx="208">
                  <c:v>74.819999999999894</c:v>
                </c:pt>
                <c:pt idx="209">
                  <c:v>138.59</c:v>
                </c:pt>
                <c:pt idx="210">
                  <c:v>120.01</c:v>
                </c:pt>
                <c:pt idx="211">
                  <c:v>132.259999999999</c:v>
                </c:pt>
                <c:pt idx="212">
                  <c:v>146.759999999999</c:v>
                </c:pt>
                <c:pt idx="213">
                  <c:v>115.73</c:v>
                </c:pt>
                <c:pt idx="214">
                  <c:v>62.56</c:v>
                </c:pt>
                <c:pt idx="215">
                  <c:v>85.129999999999896</c:v>
                </c:pt>
                <c:pt idx="216">
                  <c:v>107.42</c:v>
                </c:pt>
                <c:pt idx="217">
                  <c:v>120.75</c:v>
                </c:pt>
                <c:pt idx="218">
                  <c:v>128.19</c:v>
                </c:pt>
                <c:pt idx="219">
                  <c:v>142.53</c:v>
                </c:pt>
                <c:pt idx="220">
                  <c:v>145.4</c:v>
                </c:pt>
                <c:pt idx="221">
                  <c:v>144.63999999999899</c:v>
                </c:pt>
                <c:pt idx="222">
                  <c:v>142.069999999999</c:v>
                </c:pt>
                <c:pt idx="223">
                  <c:v>165.41</c:v>
                </c:pt>
                <c:pt idx="224">
                  <c:v>180.08</c:v>
                </c:pt>
                <c:pt idx="225">
                  <c:v>191.84</c:v>
                </c:pt>
                <c:pt idx="226">
                  <c:v>227.83</c:v>
                </c:pt>
                <c:pt idx="227">
                  <c:v>230.68</c:v>
                </c:pt>
                <c:pt idx="228">
                  <c:v>227.5</c:v>
                </c:pt>
                <c:pt idx="229">
                  <c:v>225.5</c:v>
                </c:pt>
                <c:pt idx="230">
                  <c:v>211.4</c:v>
                </c:pt>
                <c:pt idx="231">
                  <c:v>200.36</c:v>
                </c:pt>
                <c:pt idx="232">
                  <c:v>199.58</c:v>
                </c:pt>
                <c:pt idx="233">
                  <c:v>191.41999999999899</c:v>
                </c:pt>
                <c:pt idx="234">
                  <c:v>187.93</c:v>
                </c:pt>
                <c:pt idx="235">
                  <c:v>190.509999999999</c:v>
                </c:pt>
                <c:pt idx="236">
                  <c:v>191.94999999999899</c:v>
                </c:pt>
                <c:pt idx="237">
                  <c:v>185.84</c:v>
                </c:pt>
                <c:pt idx="238">
                  <c:v>179.59</c:v>
                </c:pt>
                <c:pt idx="239">
                  <c:v>173.96</c:v>
                </c:pt>
                <c:pt idx="240">
                  <c:v>171.08</c:v>
                </c:pt>
                <c:pt idx="241">
                  <c:v>185.66</c:v>
                </c:pt>
                <c:pt idx="242">
                  <c:v>179.41999999999899</c:v>
                </c:pt>
                <c:pt idx="243">
                  <c:v>174.65</c:v>
                </c:pt>
                <c:pt idx="244">
                  <c:v>184.039999999999</c:v>
                </c:pt>
                <c:pt idx="245">
                  <c:v>189.53</c:v>
                </c:pt>
                <c:pt idx="246">
                  <c:v>178.849999999999</c:v>
                </c:pt>
                <c:pt idx="247">
                  <c:v>171.229999999999</c:v>
                </c:pt>
                <c:pt idx="248">
                  <c:v>159.97</c:v>
                </c:pt>
                <c:pt idx="249">
                  <c:v>135.11000000000001</c:v>
                </c:pt>
                <c:pt idx="250">
                  <c:v>190.78</c:v>
                </c:pt>
                <c:pt idx="251">
                  <c:v>158.38</c:v>
                </c:pt>
                <c:pt idx="252">
                  <c:v>186</c:v>
                </c:pt>
                <c:pt idx="253">
                  <c:v>168.13</c:v>
                </c:pt>
                <c:pt idx="254">
                  <c:v>203.24</c:v>
                </c:pt>
                <c:pt idx="255">
                  <c:v>222.37</c:v>
                </c:pt>
                <c:pt idx="256">
                  <c:v>222.36</c:v>
                </c:pt>
                <c:pt idx="257">
                  <c:v>220.75</c:v>
                </c:pt>
                <c:pt idx="258">
                  <c:v>215.41999999999899</c:v>
                </c:pt>
                <c:pt idx="259">
                  <c:v>200.569999999999</c:v>
                </c:pt>
                <c:pt idx="260">
                  <c:v>191.97</c:v>
                </c:pt>
                <c:pt idx="261">
                  <c:v>173.58</c:v>
                </c:pt>
                <c:pt idx="262">
                  <c:v>183.849999999999</c:v>
                </c:pt>
                <c:pt idx="263">
                  <c:v>164.819999999999</c:v>
                </c:pt>
                <c:pt idx="264">
                  <c:v>164.009999999999</c:v>
                </c:pt>
                <c:pt idx="265">
                  <c:v>151.05000000000001</c:v>
                </c:pt>
                <c:pt idx="266">
                  <c:v>165.84</c:v>
                </c:pt>
                <c:pt idx="267">
                  <c:v>157.4</c:v>
                </c:pt>
                <c:pt idx="268">
                  <c:v>180.13999999999899</c:v>
                </c:pt>
                <c:pt idx="269">
                  <c:v>174.62</c:v>
                </c:pt>
                <c:pt idx="270">
                  <c:v>197.44999999999899</c:v>
                </c:pt>
                <c:pt idx="271">
                  <c:v>206.069999999999</c:v>
                </c:pt>
                <c:pt idx="272">
                  <c:v>210.19</c:v>
                </c:pt>
                <c:pt idx="273">
                  <c:v>227.75</c:v>
                </c:pt>
                <c:pt idx="274">
                  <c:v>240.68</c:v>
                </c:pt>
                <c:pt idx="275">
                  <c:v>225.37</c:v>
                </c:pt>
                <c:pt idx="276">
                  <c:v>191.81</c:v>
                </c:pt>
                <c:pt idx="277">
                  <c:v>175.5</c:v>
                </c:pt>
                <c:pt idx="278">
                  <c:v>173.25</c:v>
                </c:pt>
                <c:pt idx="279">
                  <c:v>156.44</c:v>
                </c:pt>
                <c:pt idx="280">
                  <c:v>150.319999999999</c:v>
                </c:pt>
                <c:pt idx="281">
                  <c:v>160.58000000000001</c:v>
                </c:pt>
                <c:pt idx="282">
                  <c:v>146.5</c:v>
                </c:pt>
                <c:pt idx="283">
                  <c:v>148.75</c:v>
                </c:pt>
                <c:pt idx="284">
                  <c:v>144.12</c:v>
                </c:pt>
                <c:pt idx="285">
                  <c:v>154.71</c:v>
                </c:pt>
                <c:pt idx="286">
                  <c:v>125.37</c:v>
                </c:pt>
                <c:pt idx="287">
                  <c:v>122.849999999999</c:v>
                </c:pt>
              </c:numCache>
            </c:numRef>
          </c:val>
          <c:smooth val="0"/>
          <c:extLst>
            <c:ext xmlns:c16="http://schemas.microsoft.com/office/drawing/2014/chart" uri="{C3380CC4-5D6E-409C-BE32-E72D297353CC}">
              <c16:uniqueId val="{00000000-606A-4CE3-9E98-28BCAEDA53C8}"/>
            </c:ext>
          </c:extLst>
        </c:ser>
        <c:dLbls>
          <c:showLegendKey val="0"/>
          <c:showVal val="0"/>
          <c:showCatName val="0"/>
          <c:showSerName val="0"/>
          <c:showPercent val="0"/>
          <c:showBubbleSize val="0"/>
        </c:dLbls>
        <c:smooth val="0"/>
        <c:axId val="341478175"/>
        <c:axId val="341478591"/>
      </c:lineChart>
      <c:catAx>
        <c:axId val="341478175"/>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1478591"/>
        <c:crosses val="autoZero"/>
        <c:auto val="1"/>
        <c:lblAlgn val="ctr"/>
        <c:lblOffset val="100"/>
        <c:noMultiLvlLbl val="0"/>
      </c:catAx>
      <c:valAx>
        <c:axId val="34147859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14781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3" name="Date Placeholder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53A88C83-822A-4290-9A55-EBA34843E9A2}" type="datetimeFigureOut">
              <a:rPr lang="en-GB" smtClean="0"/>
              <a:pPr/>
              <a:t>18/01/2022</a:t>
            </a:fld>
            <a:endParaRPr lang="en-GB"/>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endParaRPr lang="en-GB"/>
          </a:p>
        </p:txBody>
      </p:sp>
      <p:sp>
        <p:nvSpPr>
          <p:cNvPr id="7" name="Slide Number Placeholder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fld id="{B94B4125-20DE-4407-A3BD-C398E90474C3}" type="slidenum">
              <a:rPr lang="en-GB" smtClean="0"/>
              <a:pPr/>
              <a:t>‹#›</a:t>
            </a:fld>
            <a:endParaRPr lang="en-GB"/>
          </a:p>
        </p:txBody>
      </p:sp>
    </p:spTree>
    <p:extLst>
      <p:ext uri="{BB962C8B-B14F-4D97-AF65-F5344CB8AC3E}">
        <p14:creationId xmlns:p14="http://schemas.microsoft.com/office/powerpoint/2010/main" val="945180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4572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9144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13716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828800" algn="l" defTabSz="914400" rtl="0" eaLnBrk="1" latinLnBrk="0" hangingPunct="1">
      <a:defRPr sz="12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t>1</a:t>
            </a:fld>
            <a:endParaRPr lang="en-GB"/>
          </a:p>
        </p:txBody>
      </p:sp>
    </p:spTree>
    <p:extLst>
      <p:ext uri="{BB962C8B-B14F-4D97-AF65-F5344CB8AC3E}">
        <p14:creationId xmlns:p14="http://schemas.microsoft.com/office/powerpoint/2010/main" val="22729715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10</a:t>
            </a:fld>
            <a:endParaRPr lang="en-GB"/>
          </a:p>
        </p:txBody>
      </p:sp>
    </p:spTree>
    <p:extLst>
      <p:ext uri="{BB962C8B-B14F-4D97-AF65-F5344CB8AC3E}">
        <p14:creationId xmlns:p14="http://schemas.microsoft.com/office/powerpoint/2010/main" val="2584926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11</a:t>
            </a:fld>
            <a:endParaRPr lang="en-GB"/>
          </a:p>
        </p:txBody>
      </p:sp>
    </p:spTree>
    <p:extLst>
      <p:ext uri="{BB962C8B-B14F-4D97-AF65-F5344CB8AC3E}">
        <p14:creationId xmlns:p14="http://schemas.microsoft.com/office/powerpoint/2010/main" val="1086841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12</a:t>
            </a:fld>
            <a:endParaRPr lang="en-GB"/>
          </a:p>
        </p:txBody>
      </p:sp>
    </p:spTree>
    <p:extLst>
      <p:ext uri="{BB962C8B-B14F-4D97-AF65-F5344CB8AC3E}">
        <p14:creationId xmlns:p14="http://schemas.microsoft.com/office/powerpoint/2010/main" val="2255706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13</a:t>
            </a:fld>
            <a:endParaRPr lang="en-GB"/>
          </a:p>
        </p:txBody>
      </p:sp>
    </p:spTree>
    <p:extLst>
      <p:ext uri="{BB962C8B-B14F-4D97-AF65-F5344CB8AC3E}">
        <p14:creationId xmlns:p14="http://schemas.microsoft.com/office/powerpoint/2010/main" val="7594952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t>14</a:t>
            </a:fld>
            <a:endParaRPr lang="en-GB"/>
          </a:p>
        </p:txBody>
      </p:sp>
    </p:spTree>
    <p:extLst>
      <p:ext uri="{BB962C8B-B14F-4D97-AF65-F5344CB8AC3E}">
        <p14:creationId xmlns:p14="http://schemas.microsoft.com/office/powerpoint/2010/main" val="2639944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t>2</a:t>
            </a:fld>
            <a:endParaRPr lang="en-GB"/>
          </a:p>
        </p:txBody>
      </p:sp>
    </p:spTree>
    <p:extLst>
      <p:ext uri="{BB962C8B-B14F-4D97-AF65-F5344CB8AC3E}">
        <p14:creationId xmlns:p14="http://schemas.microsoft.com/office/powerpoint/2010/main" val="2378978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3</a:t>
            </a:fld>
            <a:endParaRPr lang="en-GB"/>
          </a:p>
        </p:txBody>
      </p:sp>
    </p:spTree>
    <p:extLst>
      <p:ext uri="{BB962C8B-B14F-4D97-AF65-F5344CB8AC3E}">
        <p14:creationId xmlns:p14="http://schemas.microsoft.com/office/powerpoint/2010/main" val="2625114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t>4</a:t>
            </a:fld>
            <a:endParaRPr lang="en-GB"/>
          </a:p>
        </p:txBody>
      </p:sp>
    </p:spTree>
    <p:extLst>
      <p:ext uri="{BB962C8B-B14F-4D97-AF65-F5344CB8AC3E}">
        <p14:creationId xmlns:p14="http://schemas.microsoft.com/office/powerpoint/2010/main" val="2549617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5</a:t>
            </a:fld>
            <a:endParaRPr lang="en-GB"/>
          </a:p>
        </p:txBody>
      </p:sp>
    </p:spTree>
    <p:extLst>
      <p:ext uri="{BB962C8B-B14F-4D97-AF65-F5344CB8AC3E}">
        <p14:creationId xmlns:p14="http://schemas.microsoft.com/office/powerpoint/2010/main" val="3257153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6</a:t>
            </a:fld>
            <a:endParaRPr lang="en-GB"/>
          </a:p>
        </p:txBody>
      </p:sp>
    </p:spTree>
    <p:extLst>
      <p:ext uri="{BB962C8B-B14F-4D97-AF65-F5344CB8AC3E}">
        <p14:creationId xmlns:p14="http://schemas.microsoft.com/office/powerpoint/2010/main" val="2725681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pPr/>
              <a:t>7</a:t>
            </a:fld>
            <a:endParaRPr lang="en-GB"/>
          </a:p>
        </p:txBody>
      </p:sp>
    </p:spTree>
    <p:extLst>
      <p:ext uri="{BB962C8B-B14F-4D97-AF65-F5344CB8AC3E}">
        <p14:creationId xmlns:p14="http://schemas.microsoft.com/office/powerpoint/2010/main" val="2339778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94B4125-20DE-4407-A3BD-C398E90474C3}" type="slidenum">
              <a:rPr lang="en-GB" smtClean="0"/>
              <a:t>8</a:t>
            </a:fld>
            <a:endParaRPr lang="en-GB"/>
          </a:p>
        </p:txBody>
      </p:sp>
    </p:spTree>
    <p:extLst>
      <p:ext uri="{BB962C8B-B14F-4D97-AF65-F5344CB8AC3E}">
        <p14:creationId xmlns:p14="http://schemas.microsoft.com/office/powerpoint/2010/main" val="322327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2DE31E8-800C-4291-960B-443A5E892749}" type="slidenum">
              <a:rPr lang="en-GB" smtClean="0"/>
              <a:t>9</a:t>
            </a:fld>
            <a:endParaRPr lang="en-GB"/>
          </a:p>
        </p:txBody>
      </p:sp>
    </p:spTree>
    <p:extLst>
      <p:ext uri="{BB962C8B-B14F-4D97-AF65-F5344CB8AC3E}">
        <p14:creationId xmlns:p14="http://schemas.microsoft.com/office/powerpoint/2010/main" val="41656102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slideMaster" Target="../slideMasters/slideMaster1.xml"/><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slideMaster" Target="../slideMasters/slideMaster1.xml"/><Relationship Id="rId9"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45.xml"/><Relationship Id="rId1" Type="http://schemas.openxmlformats.org/officeDocument/2006/relationships/vmlDrawing" Target="../drawings/vmlDrawing42.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032090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67" name="think-cell Slide" r:id="rId6" imgW="492" imgH="504" progId="TCLayout.ActiveDocument.1">
                  <p:embed/>
                </p:oleObj>
              </mc:Choice>
              <mc:Fallback>
                <p:oleObj name="think-cell Slide" r:id="rId6" imgW="492" imgH="504" progId="TCLayout.ActiveDocument.1">
                  <p:embed/>
                  <p:pic>
                    <p:nvPicPr>
                      <p:cNvPr id="18" name="Object 17"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769441"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1"/>
            <a:ext cx="2389716" cy="558125"/>
          </a:xfrm>
          <a:prstGeom prst="rect">
            <a:avLst/>
          </a:prstGeom>
        </p:spPr>
      </p:pic>
    </p:spTree>
    <p:extLst>
      <p:ext uri="{BB962C8B-B14F-4D97-AF65-F5344CB8AC3E}">
        <p14:creationId xmlns:p14="http://schemas.microsoft.com/office/powerpoint/2010/main" val="381729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6922523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78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73406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523405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80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61956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3017925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3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42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42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41141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41141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406791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1106538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5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7832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172016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06951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39955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90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14496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553080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92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806459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2"/>
            </p:custDataLst>
            <p:extLst>
              <p:ext uri="{D42A27DB-BD31-4B8C-83A1-F6EECF244321}">
                <p14:modId xmlns:p14="http://schemas.microsoft.com/office/powerpoint/2010/main" val="222640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1" name="think-cell Slide" r:id="rId4" imgW="347" imgH="348" progId="TCLayout.ActiveDocument.1">
                  <p:embed/>
                </p:oleObj>
              </mc:Choice>
              <mc:Fallback>
                <p:oleObj name="think-cell Slide" r:id="rId4"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44206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8041234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7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4142915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9212934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99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92893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dd client log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6119271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91" name="think-cell Slide" r:id="rId6" imgW="492" imgH="504" progId="TCLayout.ActiveDocument.1">
                  <p:embed/>
                </p:oleObj>
              </mc:Choice>
              <mc:Fallback>
                <p:oleObj name="think-cell Slide" r:id="rId6" imgW="492" imgH="504" progId="TCLayout.ActiveDocument.1">
                  <p:embed/>
                  <p:pic>
                    <p:nvPicPr>
                      <p:cNvPr id="18" name="Object 17"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1B9B2B-AD9B-4C54-9056-21A1AC246198}"/>
              </a:ext>
            </a:extLst>
          </p:cNvPr>
          <p:cNvSpPr/>
          <p:nvPr userDrawn="1">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769441"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GB"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a:t>
            </a:r>
            <a:r>
              <a:rPr lang="en-GB" err="1"/>
              <a:t>34pt</a:t>
            </a:r>
            <a:r>
              <a:rPr lang="en-GB"/>
              <a: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20" name="Graphic 19">
            <a:extLst>
              <a:ext uri="{FF2B5EF4-FFF2-40B4-BE49-F238E27FC236}">
                <a16:creationId xmlns:a16="http://schemas.microsoft.com/office/drawing/2014/main" id="{F7835C38-364E-4B2E-9335-5D86F8C053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91584" y="655042"/>
            <a:ext cx="2053960" cy="479708"/>
          </a:xfrm>
          <a:prstGeom prst="rect">
            <a:avLst/>
          </a:prstGeom>
        </p:spPr>
      </p:pic>
    </p:spTree>
    <p:extLst>
      <p:ext uri="{BB962C8B-B14F-4D97-AF65-F5344CB8AC3E}">
        <p14:creationId xmlns:p14="http://schemas.microsoft.com/office/powerpoint/2010/main" val="16844449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713342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02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5257810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0680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04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56378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41141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812300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167070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07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75512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954609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09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11686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3954804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1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56427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566858"/>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4117232"/>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4117232"/>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160972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205815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4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2605707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3822507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16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14018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6318564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19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561821"/>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4112195"/>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24928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311460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1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93802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075803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3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444941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4947424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1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0447608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066976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6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40702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44311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5582241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28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563316"/>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563316"/>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4113213"/>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4113213"/>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362126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651435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31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1017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40089"/>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40089"/>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1017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10172"/>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49458"/>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49458"/>
            <a:ext cx="4412739" cy="1741783"/>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119541"/>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119541"/>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97360"/>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10172"/>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67151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67151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119541"/>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119541"/>
            <a:ext cx="908686" cy="2171700"/>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8015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5088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962882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9656192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33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823148"/>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823148"/>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73045"/>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73045"/>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9916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119131"/>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99169"/>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501474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2841947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35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462f667e-9984-42c7-85dd-eeae68e64e89">
            <a:extLst>
              <a:ext uri="{FF2B5EF4-FFF2-40B4-BE49-F238E27FC236}">
                <a16:creationId xmlns:a16="http://schemas.microsoft.com/office/drawing/2014/main" id="{C33DE3E8-0595-4AE5-8F4D-0884013EC5C1}"/>
              </a:ext>
            </a:extLst>
          </p:cNvPr>
          <p:cNvSpPr/>
          <p:nvPr/>
        </p:nvSpPr>
        <p:spPr>
          <a:xfrm>
            <a:off x="-386922" y="5504193"/>
            <a:ext cx="657372" cy="657372"/>
          </a:xfrm>
          <a:prstGeom prst="ellipse">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395694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1533942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38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163407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9507817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40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9009964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142524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43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28381021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7308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5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416868"/>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08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8260200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47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26713290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0318638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3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9216464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94123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50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 </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5202693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2"/>
            </p:custDataLst>
            <p:extLst>
              <p:ext uri="{D42A27DB-BD31-4B8C-83A1-F6EECF244321}">
                <p14:modId xmlns:p14="http://schemas.microsoft.com/office/powerpoint/2010/main" val="16179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7"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4213018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2"/>
            </p:custDataLst>
            <p:extLst>
              <p:ext uri="{D42A27DB-BD31-4B8C-83A1-F6EECF244321}">
                <p14:modId xmlns:p14="http://schemas.microsoft.com/office/powerpoint/2010/main" val="404896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1"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83843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0963227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63"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047377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136745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87"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06552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8060045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711"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83609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6833738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35"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54799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6769889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759" name="think-cell Slide" r:id="rId4" imgW="492" imgH="504" progId="TCLayout.ActiveDocument.1">
                  <p:embed/>
                </p:oleObj>
              </mc:Choice>
              <mc:Fallback>
                <p:oleObj name="think-cell Slide" r:id="rId4" imgW="492" imgH="504" progId="TCLayout.ActiveDocument.1">
                  <p:embed/>
                  <p:pic>
                    <p:nvPicPr>
                      <p:cNvPr id="17" name="Objec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407020"/>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407020"/>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027756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5"/>
            </p:custDataLst>
            <p:extLst>
              <p:ext uri="{D42A27DB-BD31-4B8C-83A1-F6EECF244321}">
                <p14:modId xmlns:p14="http://schemas.microsoft.com/office/powerpoint/2010/main" val="42430521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43" name="think-cell Slide" r:id="rId46" imgW="492" imgH="504" progId="TCLayout.ActiveDocument.1">
                  <p:embed/>
                </p:oleObj>
              </mc:Choice>
              <mc:Fallback>
                <p:oleObj name="think-cell Slide" r:id="rId46" imgW="492" imgH="504" progId="TCLayout.ActiveDocument.1">
                  <p:embed/>
                  <p:pic>
                    <p:nvPicPr>
                      <p:cNvPr id="16" name="Object 15" hidden="1"/>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977191"/>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0303669" y="463173"/>
            <a:ext cx="1520032" cy="205004"/>
          </a:xfrm>
          <a:prstGeom prst="rect">
            <a:avLst/>
          </a:prstGeom>
        </p:spPr>
      </p:pic>
    </p:spTree>
    <p:extLst>
      <p:ext uri="{BB962C8B-B14F-4D97-AF65-F5344CB8AC3E}">
        <p14:creationId xmlns:p14="http://schemas.microsoft.com/office/powerpoint/2010/main" val="3905195804"/>
      </p:ext>
    </p:extLst>
  </p:cSld>
  <p:clrMap bg1="lt1" tx1="dk1" bg2="lt2" tx2="dk2" accent1="accent1" accent2="accent2" accent3="accent3" accent4="accent4" accent5="accent5" accent6="accent6" hlink="hlink" folHlink="folHlink"/>
  <p:sldLayoutIdLst>
    <p:sldLayoutId id="2147483750" r:id="rId1"/>
    <p:sldLayoutId id="2147483649" r:id="rId2"/>
    <p:sldLayoutId id="2147483780" r:id="rId3"/>
    <p:sldLayoutId id="2147483777" r:id="rId4"/>
    <p:sldLayoutId id="2147483754" r:id="rId5"/>
    <p:sldLayoutId id="2147483759" r:id="rId6"/>
    <p:sldLayoutId id="2147483742" r:id="rId7"/>
    <p:sldLayoutId id="2147483733" r:id="rId8"/>
    <p:sldLayoutId id="2147483782" r:id="rId9"/>
    <p:sldLayoutId id="2147483783" r:id="rId10"/>
    <p:sldLayoutId id="2147483784" r:id="rId11"/>
    <p:sldLayoutId id="2147483739" r:id="rId12"/>
    <p:sldLayoutId id="2147483769" r:id="rId13"/>
    <p:sldLayoutId id="2147483741" r:id="rId14"/>
    <p:sldLayoutId id="2147483735" r:id="rId15"/>
    <p:sldLayoutId id="2147483761" r:id="rId16"/>
    <p:sldLayoutId id="2147483772" r:id="rId17"/>
    <p:sldLayoutId id="2147483743" r:id="rId18"/>
    <p:sldLayoutId id="2147483767" r:id="rId19"/>
    <p:sldLayoutId id="2147483698" r:id="rId20"/>
    <p:sldLayoutId id="2147483740" r:id="rId21"/>
    <p:sldLayoutId id="2147483768" r:id="rId22"/>
    <p:sldLayoutId id="2147483737" r:id="rId23"/>
    <p:sldLayoutId id="2147483770" r:id="rId24"/>
    <p:sldLayoutId id="2147483745" r:id="rId25"/>
    <p:sldLayoutId id="2147483771" r:id="rId26"/>
    <p:sldLayoutId id="2147483764" r:id="rId27"/>
    <p:sldLayoutId id="2147483765" r:id="rId28"/>
    <p:sldLayoutId id="2147483785" r:id="rId29"/>
    <p:sldLayoutId id="2147483786" r:id="rId30"/>
    <p:sldLayoutId id="2147483766" r:id="rId31"/>
    <p:sldLayoutId id="2147483774" r:id="rId32"/>
    <p:sldLayoutId id="2147483775" r:id="rId33"/>
    <p:sldLayoutId id="2147483746" r:id="rId34"/>
    <p:sldLayoutId id="2147483757" r:id="rId35"/>
    <p:sldLayoutId id="2147483778" r:id="rId36"/>
    <p:sldLayoutId id="2147483760" r:id="rId37"/>
    <p:sldLayoutId id="2147483779" r:id="rId38"/>
    <p:sldLayoutId id="2147483751" r:id="rId39"/>
    <p:sldLayoutId id="2147483753" r:id="rId40"/>
    <p:sldLayoutId id="2147483727" r:id="rId41"/>
    <p:sldLayoutId id="2147483723" r:id="rId42"/>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400" kern="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marL="1657316" indent="-285750" algn="l" defTabSz="685783" rtl="0" eaLnBrk="1" latinLnBrk="0" hangingPunct="1">
        <a:lnSpc>
          <a:spcPct val="90000"/>
        </a:lnSpc>
        <a:spcBef>
          <a:spcPts val="375"/>
        </a:spcBef>
        <a:buFontTx/>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44">
          <p15:clr>
            <a:srgbClr val="F26B43"/>
          </p15:clr>
        </p15:guide>
        <p15:guide id="2" pos="240">
          <p15:clr>
            <a:srgbClr val="F26B43"/>
          </p15:clr>
        </p15:guide>
        <p15:guide id="3" orient="horz" pos="799">
          <p15:clr>
            <a:srgbClr val="F26B43"/>
          </p15:clr>
        </p15:guide>
        <p15:guide id="4" pos="7448">
          <p15:clr>
            <a:srgbClr val="F26B43"/>
          </p15:clr>
        </p15:guide>
        <p15:guide id="5" orient="horz" pos="1071" userDrawn="1">
          <p15:clr>
            <a:srgbClr val="F26B43"/>
          </p15:clr>
        </p15:guide>
        <p15:guide id="6" pos="3624">
          <p15:clr>
            <a:srgbClr val="F26B43"/>
          </p15:clr>
        </p15:guide>
        <p15:guide id="7" pos="4056">
          <p15:clr>
            <a:srgbClr val="F26B43"/>
          </p15:clr>
        </p15:guide>
        <p15:guide id="8" orient="horz" pos="2591">
          <p15:clr>
            <a:srgbClr val="F26B43"/>
          </p15:clr>
        </p15:guide>
        <p15:guide id="9"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8.emf"/><Relationship Id="rId2" Type="http://schemas.openxmlformats.org/officeDocument/2006/relationships/tags" Target="../tags/tag47.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6.xml"/><Relationship Id="rId7" Type="http://schemas.openxmlformats.org/officeDocument/2006/relationships/image" Target="../media/image7.emf"/><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7.emf"/><Relationship Id="rId2" Type="http://schemas.openxmlformats.org/officeDocument/2006/relationships/tags" Target="../tags/tag107.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7.emf"/><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12.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7.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8.emf"/><Relationship Id="rId5" Type="http://schemas.openxmlformats.org/officeDocument/2006/relationships/oleObject" Target="../embeddings/oleObject57.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8.emf"/><Relationship Id="rId2" Type="http://schemas.openxmlformats.org/officeDocument/2006/relationships/tags" Target="../tags/tag4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52.xml"/><Relationship Id="rId7" Type="http://schemas.openxmlformats.org/officeDocument/2006/relationships/image" Target="../media/image7.emf"/><Relationship Id="rId2" Type="http://schemas.openxmlformats.org/officeDocument/2006/relationships/tags" Target="../tags/tag51.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8.emf"/><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tags" Target="../tags/tag92.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tags" Target="../tags/tag95.xml"/><Relationship Id="rId47" Type="http://schemas.openxmlformats.org/officeDocument/2006/relationships/image" Target="../media/image7.emf"/><Relationship Id="rId50" Type="http://schemas.openxmlformats.org/officeDocument/2006/relationships/image" Target="../media/image12.png"/><Relationship Id="rId7" Type="http://schemas.openxmlformats.org/officeDocument/2006/relationships/tags" Target="../tags/tag60.xml"/><Relationship Id="rId2" Type="http://schemas.openxmlformats.org/officeDocument/2006/relationships/tags" Target="../tags/tag55.xml"/><Relationship Id="rId16" Type="http://schemas.openxmlformats.org/officeDocument/2006/relationships/tags" Target="../tags/tag69.xml"/><Relationship Id="rId29" Type="http://schemas.openxmlformats.org/officeDocument/2006/relationships/tags" Target="../tags/tag82.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tags" Target="../tags/tag93.xml"/><Relationship Id="rId45" Type="http://schemas.openxmlformats.org/officeDocument/2006/relationships/notesSlide" Target="../notesSlides/notesSlide5.xml"/><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49" Type="http://schemas.openxmlformats.org/officeDocument/2006/relationships/image" Target="../media/image11.png"/><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4" Type="http://schemas.openxmlformats.org/officeDocument/2006/relationships/slideLayout" Target="../slideLayouts/slideLayout5.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tags" Target="../tags/tag96.xml"/><Relationship Id="rId48" Type="http://schemas.openxmlformats.org/officeDocument/2006/relationships/image" Target="../media/image10.png"/><Relationship Id="rId8" Type="http://schemas.openxmlformats.org/officeDocument/2006/relationships/tags" Target="../tags/tag61.xml"/><Relationship Id="rId3" Type="http://schemas.openxmlformats.org/officeDocument/2006/relationships/tags" Target="../tags/tag56.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oleObject" Target="../embeddings/oleObject48.bin"/><Relationship Id="rId20" Type="http://schemas.openxmlformats.org/officeDocument/2006/relationships/tags" Target="../tags/tag73.xml"/><Relationship Id="rId41"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tags" Target="../tags/tag59.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tags" Target="../tags/tag98.xml"/><Relationship Id="rId7" Type="http://schemas.openxmlformats.org/officeDocument/2006/relationships/image" Target="../media/image7.emf"/><Relationship Id="rId12" Type="http://schemas.openxmlformats.org/officeDocument/2006/relationships/image" Target="../media/image17.png"/><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6.svg"/><Relationship Id="rId5" Type="http://schemas.openxmlformats.org/officeDocument/2006/relationships/notesSlide" Target="../notesSlides/notesSlide6.xml"/><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slideLayout" Target="../slideLayouts/slideLayout5.xml"/><Relationship Id="rId9" Type="http://schemas.openxmlformats.org/officeDocument/2006/relationships/image" Target="../media/image14.svg"/><Relationship Id="rId14" Type="http://schemas.openxmlformats.org/officeDocument/2006/relationships/image" Target="../media/image19.png"/></Relationships>
</file>

<file path=ppt/slides/_rels/slide7.xml.rels><?xml version="1.0" encoding="UTF-8" standalone="yes"?>
<Relationships xmlns="http://schemas.openxmlformats.org/package/2006/relationships"><Relationship Id="rId26" Type="http://schemas.openxmlformats.org/officeDocument/2006/relationships/image" Target="../media/image39.gif"/><Relationship Id="rId117" Type="http://schemas.openxmlformats.org/officeDocument/2006/relationships/image" Target="../media/image130.jpeg"/><Relationship Id="rId21" Type="http://schemas.openxmlformats.org/officeDocument/2006/relationships/image" Target="../media/image34.png"/><Relationship Id="rId42" Type="http://schemas.openxmlformats.org/officeDocument/2006/relationships/image" Target="../media/image55.jpeg"/><Relationship Id="rId47" Type="http://schemas.openxmlformats.org/officeDocument/2006/relationships/image" Target="../media/image60.jpeg"/><Relationship Id="rId63" Type="http://schemas.openxmlformats.org/officeDocument/2006/relationships/image" Target="../media/image76.jpeg"/><Relationship Id="rId68" Type="http://schemas.openxmlformats.org/officeDocument/2006/relationships/image" Target="../media/image81.jpeg"/><Relationship Id="rId84" Type="http://schemas.openxmlformats.org/officeDocument/2006/relationships/image" Target="../media/image97.png"/><Relationship Id="rId89" Type="http://schemas.openxmlformats.org/officeDocument/2006/relationships/image" Target="../media/image102.png"/><Relationship Id="rId112" Type="http://schemas.openxmlformats.org/officeDocument/2006/relationships/image" Target="../media/image125.png"/><Relationship Id="rId16" Type="http://schemas.openxmlformats.org/officeDocument/2006/relationships/image" Target="../media/image29.jpeg"/><Relationship Id="rId107" Type="http://schemas.openxmlformats.org/officeDocument/2006/relationships/image" Target="../media/image120.png"/><Relationship Id="rId11" Type="http://schemas.openxmlformats.org/officeDocument/2006/relationships/image" Target="../media/image24.png"/><Relationship Id="rId32" Type="http://schemas.openxmlformats.org/officeDocument/2006/relationships/image" Target="../media/image45.jpeg"/><Relationship Id="rId37" Type="http://schemas.openxmlformats.org/officeDocument/2006/relationships/image" Target="../media/image50.jpeg"/><Relationship Id="rId53" Type="http://schemas.openxmlformats.org/officeDocument/2006/relationships/image" Target="../media/image66.jpeg"/><Relationship Id="rId58" Type="http://schemas.openxmlformats.org/officeDocument/2006/relationships/image" Target="../media/image71.gif"/><Relationship Id="rId74" Type="http://schemas.openxmlformats.org/officeDocument/2006/relationships/image" Target="../media/image87.png"/><Relationship Id="rId79" Type="http://schemas.openxmlformats.org/officeDocument/2006/relationships/image" Target="../media/image92.png"/><Relationship Id="rId102" Type="http://schemas.openxmlformats.org/officeDocument/2006/relationships/image" Target="../media/image115.png"/><Relationship Id="rId5" Type="http://schemas.openxmlformats.org/officeDocument/2006/relationships/notesSlide" Target="../notesSlides/notesSlide7.xml"/><Relationship Id="rId90" Type="http://schemas.openxmlformats.org/officeDocument/2006/relationships/image" Target="../media/image103.png"/><Relationship Id="rId95" Type="http://schemas.openxmlformats.org/officeDocument/2006/relationships/image" Target="../media/image108.jpeg"/><Relationship Id="rId22" Type="http://schemas.openxmlformats.org/officeDocument/2006/relationships/image" Target="../media/image35.png"/><Relationship Id="rId27" Type="http://schemas.openxmlformats.org/officeDocument/2006/relationships/image" Target="../media/image40.jpeg"/><Relationship Id="rId43" Type="http://schemas.openxmlformats.org/officeDocument/2006/relationships/image" Target="../media/image56.jpeg"/><Relationship Id="rId48" Type="http://schemas.openxmlformats.org/officeDocument/2006/relationships/image" Target="../media/image61.jpeg"/><Relationship Id="rId64" Type="http://schemas.openxmlformats.org/officeDocument/2006/relationships/image" Target="../media/image77.png"/><Relationship Id="rId69" Type="http://schemas.openxmlformats.org/officeDocument/2006/relationships/image" Target="../media/image82.jpeg"/><Relationship Id="rId113" Type="http://schemas.openxmlformats.org/officeDocument/2006/relationships/image" Target="../media/image126.jpeg"/><Relationship Id="rId118" Type="http://schemas.openxmlformats.org/officeDocument/2006/relationships/image" Target="../media/image131.png"/><Relationship Id="rId80" Type="http://schemas.openxmlformats.org/officeDocument/2006/relationships/image" Target="../media/image93.png"/><Relationship Id="rId85" Type="http://schemas.openxmlformats.org/officeDocument/2006/relationships/image" Target="../media/image98.png"/><Relationship Id="rId12" Type="http://schemas.openxmlformats.org/officeDocument/2006/relationships/image" Target="../media/image25.jpeg"/><Relationship Id="rId17" Type="http://schemas.openxmlformats.org/officeDocument/2006/relationships/image" Target="../media/image30.png"/><Relationship Id="rId33" Type="http://schemas.openxmlformats.org/officeDocument/2006/relationships/image" Target="../media/image46.jpeg"/><Relationship Id="rId38" Type="http://schemas.openxmlformats.org/officeDocument/2006/relationships/image" Target="../media/image51.png"/><Relationship Id="rId59" Type="http://schemas.openxmlformats.org/officeDocument/2006/relationships/image" Target="../media/image72.jpeg"/><Relationship Id="rId103" Type="http://schemas.openxmlformats.org/officeDocument/2006/relationships/image" Target="../media/image116.png"/><Relationship Id="rId108" Type="http://schemas.openxmlformats.org/officeDocument/2006/relationships/image" Target="../media/image121.png"/><Relationship Id="rId54" Type="http://schemas.openxmlformats.org/officeDocument/2006/relationships/image" Target="../media/image67.png"/><Relationship Id="rId70" Type="http://schemas.openxmlformats.org/officeDocument/2006/relationships/image" Target="../media/image83.png"/><Relationship Id="rId75" Type="http://schemas.openxmlformats.org/officeDocument/2006/relationships/image" Target="../media/image88.jpeg"/><Relationship Id="rId91" Type="http://schemas.openxmlformats.org/officeDocument/2006/relationships/image" Target="../media/image104.png"/><Relationship Id="rId96" Type="http://schemas.openxmlformats.org/officeDocument/2006/relationships/image" Target="../media/image109.png"/><Relationship Id="rId1" Type="http://schemas.openxmlformats.org/officeDocument/2006/relationships/vmlDrawing" Target="../drawings/vmlDrawing50.vml"/><Relationship Id="rId6" Type="http://schemas.openxmlformats.org/officeDocument/2006/relationships/oleObject" Target="../embeddings/oleObject50.bin"/><Relationship Id="rId23" Type="http://schemas.openxmlformats.org/officeDocument/2006/relationships/image" Target="../media/image36.jpeg"/><Relationship Id="rId28" Type="http://schemas.openxmlformats.org/officeDocument/2006/relationships/image" Target="../media/image41.jpeg"/><Relationship Id="rId49" Type="http://schemas.openxmlformats.org/officeDocument/2006/relationships/image" Target="../media/image62.jpeg"/><Relationship Id="rId114" Type="http://schemas.openxmlformats.org/officeDocument/2006/relationships/image" Target="../media/image127.png"/><Relationship Id="rId10" Type="http://schemas.openxmlformats.org/officeDocument/2006/relationships/image" Target="../media/image23.gif"/><Relationship Id="rId31" Type="http://schemas.openxmlformats.org/officeDocument/2006/relationships/image" Target="../media/image44.jpeg"/><Relationship Id="rId44" Type="http://schemas.openxmlformats.org/officeDocument/2006/relationships/image" Target="../media/image57.jpeg"/><Relationship Id="rId52" Type="http://schemas.openxmlformats.org/officeDocument/2006/relationships/image" Target="../media/image65.jpeg"/><Relationship Id="rId60" Type="http://schemas.openxmlformats.org/officeDocument/2006/relationships/image" Target="../media/image73.png"/><Relationship Id="rId65" Type="http://schemas.openxmlformats.org/officeDocument/2006/relationships/image" Target="../media/image78.png"/><Relationship Id="rId73" Type="http://schemas.openxmlformats.org/officeDocument/2006/relationships/image" Target="../media/image86.jpeg"/><Relationship Id="rId78" Type="http://schemas.openxmlformats.org/officeDocument/2006/relationships/image" Target="../media/image91.jpeg"/><Relationship Id="rId81" Type="http://schemas.openxmlformats.org/officeDocument/2006/relationships/image" Target="../media/image94.jpeg"/><Relationship Id="rId86" Type="http://schemas.openxmlformats.org/officeDocument/2006/relationships/image" Target="../media/image99.png"/><Relationship Id="rId94" Type="http://schemas.openxmlformats.org/officeDocument/2006/relationships/image" Target="../media/image107.png"/><Relationship Id="rId99" Type="http://schemas.openxmlformats.org/officeDocument/2006/relationships/image" Target="../media/image112.png"/><Relationship Id="rId101" Type="http://schemas.openxmlformats.org/officeDocument/2006/relationships/image" Target="../media/image114.png"/><Relationship Id="rId4" Type="http://schemas.openxmlformats.org/officeDocument/2006/relationships/slideLayout" Target="../slideLayouts/slideLayout5.xml"/><Relationship Id="rId9" Type="http://schemas.openxmlformats.org/officeDocument/2006/relationships/image" Target="../media/image22.gif"/><Relationship Id="rId13" Type="http://schemas.openxmlformats.org/officeDocument/2006/relationships/image" Target="../media/image26.jpeg"/><Relationship Id="rId18" Type="http://schemas.openxmlformats.org/officeDocument/2006/relationships/image" Target="../media/image31.png"/><Relationship Id="rId39" Type="http://schemas.openxmlformats.org/officeDocument/2006/relationships/image" Target="../media/image52.svg"/><Relationship Id="rId109" Type="http://schemas.openxmlformats.org/officeDocument/2006/relationships/image" Target="../media/image122.png"/><Relationship Id="rId34" Type="http://schemas.openxmlformats.org/officeDocument/2006/relationships/image" Target="../media/image47.jpeg"/><Relationship Id="rId50" Type="http://schemas.openxmlformats.org/officeDocument/2006/relationships/image" Target="../media/image63.jpeg"/><Relationship Id="rId55" Type="http://schemas.openxmlformats.org/officeDocument/2006/relationships/image" Target="../media/image68.png"/><Relationship Id="rId76" Type="http://schemas.openxmlformats.org/officeDocument/2006/relationships/image" Target="../media/image89.png"/><Relationship Id="rId97" Type="http://schemas.openxmlformats.org/officeDocument/2006/relationships/image" Target="../media/image110.png"/><Relationship Id="rId104" Type="http://schemas.openxmlformats.org/officeDocument/2006/relationships/image" Target="../media/image117.jpeg"/><Relationship Id="rId7" Type="http://schemas.openxmlformats.org/officeDocument/2006/relationships/image" Target="../media/image7.emf"/><Relationship Id="rId71" Type="http://schemas.openxmlformats.org/officeDocument/2006/relationships/image" Target="../media/image84.png"/><Relationship Id="rId92" Type="http://schemas.openxmlformats.org/officeDocument/2006/relationships/image" Target="../media/image105.png"/><Relationship Id="rId2" Type="http://schemas.openxmlformats.org/officeDocument/2006/relationships/tags" Target="../tags/tag99.xml"/><Relationship Id="rId29" Type="http://schemas.openxmlformats.org/officeDocument/2006/relationships/image" Target="../media/image42.jpeg"/><Relationship Id="rId24" Type="http://schemas.openxmlformats.org/officeDocument/2006/relationships/image" Target="../media/image37.png"/><Relationship Id="rId40" Type="http://schemas.openxmlformats.org/officeDocument/2006/relationships/image" Target="../media/image53.jpeg"/><Relationship Id="rId45" Type="http://schemas.openxmlformats.org/officeDocument/2006/relationships/image" Target="../media/image58.jpeg"/><Relationship Id="rId66" Type="http://schemas.openxmlformats.org/officeDocument/2006/relationships/image" Target="../media/image79.png"/><Relationship Id="rId87" Type="http://schemas.openxmlformats.org/officeDocument/2006/relationships/image" Target="../media/image100.jpeg"/><Relationship Id="rId110" Type="http://schemas.openxmlformats.org/officeDocument/2006/relationships/image" Target="../media/image123.jpeg"/><Relationship Id="rId115" Type="http://schemas.openxmlformats.org/officeDocument/2006/relationships/image" Target="../media/image128.jpeg"/><Relationship Id="rId61" Type="http://schemas.openxmlformats.org/officeDocument/2006/relationships/image" Target="../media/image74.png"/><Relationship Id="rId82" Type="http://schemas.openxmlformats.org/officeDocument/2006/relationships/image" Target="../media/image95.png"/><Relationship Id="rId19" Type="http://schemas.openxmlformats.org/officeDocument/2006/relationships/image" Target="../media/image32.png"/><Relationship Id="rId14" Type="http://schemas.openxmlformats.org/officeDocument/2006/relationships/image" Target="../media/image27.png"/><Relationship Id="rId30" Type="http://schemas.openxmlformats.org/officeDocument/2006/relationships/image" Target="../media/image43.png"/><Relationship Id="rId35" Type="http://schemas.openxmlformats.org/officeDocument/2006/relationships/image" Target="../media/image48.png"/><Relationship Id="rId56" Type="http://schemas.openxmlformats.org/officeDocument/2006/relationships/image" Target="../media/image69.jpeg"/><Relationship Id="rId77" Type="http://schemas.openxmlformats.org/officeDocument/2006/relationships/image" Target="../media/image90.png"/><Relationship Id="rId100" Type="http://schemas.openxmlformats.org/officeDocument/2006/relationships/image" Target="../media/image113.png"/><Relationship Id="rId105" Type="http://schemas.openxmlformats.org/officeDocument/2006/relationships/image" Target="../media/image118.png"/><Relationship Id="rId8" Type="http://schemas.openxmlformats.org/officeDocument/2006/relationships/image" Target="../media/image21.gif"/><Relationship Id="rId51" Type="http://schemas.openxmlformats.org/officeDocument/2006/relationships/image" Target="../media/image64.png"/><Relationship Id="rId72" Type="http://schemas.openxmlformats.org/officeDocument/2006/relationships/image" Target="../media/image85.jpeg"/><Relationship Id="rId93" Type="http://schemas.openxmlformats.org/officeDocument/2006/relationships/image" Target="../media/image106.png"/><Relationship Id="rId98" Type="http://schemas.openxmlformats.org/officeDocument/2006/relationships/image" Target="../media/image111.png"/><Relationship Id="rId3" Type="http://schemas.openxmlformats.org/officeDocument/2006/relationships/tags" Target="../tags/tag100.xml"/><Relationship Id="rId25" Type="http://schemas.openxmlformats.org/officeDocument/2006/relationships/image" Target="../media/image38.svg"/><Relationship Id="rId46" Type="http://schemas.openxmlformats.org/officeDocument/2006/relationships/image" Target="../media/image59.png"/><Relationship Id="rId67" Type="http://schemas.openxmlformats.org/officeDocument/2006/relationships/image" Target="../media/image80.jpeg"/><Relationship Id="rId116" Type="http://schemas.openxmlformats.org/officeDocument/2006/relationships/image" Target="../media/image129.jpeg"/><Relationship Id="rId20" Type="http://schemas.openxmlformats.org/officeDocument/2006/relationships/image" Target="../media/image33.jpeg"/><Relationship Id="rId41" Type="http://schemas.openxmlformats.org/officeDocument/2006/relationships/image" Target="../media/image54.jpeg"/><Relationship Id="rId62" Type="http://schemas.openxmlformats.org/officeDocument/2006/relationships/image" Target="../media/image75.jpeg"/><Relationship Id="rId83" Type="http://schemas.openxmlformats.org/officeDocument/2006/relationships/image" Target="../media/image96.png"/><Relationship Id="rId88" Type="http://schemas.openxmlformats.org/officeDocument/2006/relationships/image" Target="../media/image101.png"/><Relationship Id="rId111" Type="http://schemas.openxmlformats.org/officeDocument/2006/relationships/image" Target="../media/image124.png"/><Relationship Id="rId15" Type="http://schemas.openxmlformats.org/officeDocument/2006/relationships/image" Target="../media/image28.png"/><Relationship Id="rId36" Type="http://schemas.openxmlformats.org/officeDocument/2006/relationships/image" Target="../media/image49.png"/><Relationship Id="rId57" Type="http://schemas.openxmlformats.org/officeDocument/2006/relationships/image" Target="../media/image70.png"/><Relationship Id="rId106" Type="http://schemas.openxmlformats.org/officeDocument/2006/relationships/image" Target="../media/image119.gif"/></Relationships>
</file>

<file path=ppt/slides/_rels/slide8.xml.rels><?xml version="1.0" encoding="UTF-8" standalone="yes"?>
<Relationships xmlns="http://schemas.openxmlformats.org/package/2006/relationships"><Relationship Id="rId8" Type="http://schemas.openxmlformats.org/officeDocument/2006/relationships/hyperlink" Target="https://www.auroraer.com/careers-at-aurora/" TargetMode="External"/><Relationship Id="rId3" Type="http://schemas.openxmlformats.org/officeDocument/2006/relationships/tags" Target="../tags/tag102.xml"/><Relationship Id="rId7" Type="http://schemas.openxmlformats.org/officeDocument/2006/relationships/image" Target="../media/image7.em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8.emf"/><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7839E7-8250-43FC-8060-462E6FCB9A5C}"/>
              </a:ext>
            </a:extLst>
          </p:cNvPr>
          <p:cNvGraphicFramePr>
            <a:graphicFrameLocks noChangeAspect="1"/>
          </p:cNvGraphicFramePr>
          <p:nvPr>
            <p:custDataLst>
              <p:tags r:id="rId2"/>
            </p:custDataLst>
            <p:extLst>
              <p:ext uri="{D42A27DB-BD31-4B8C-83A1-F6EECF244321}">
                <p14:modId xmlns:p14="http://schemas.microsoft.com/office/powerpoint/2010/main" val="173077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5"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617839E7-8250-43FC-8060-462E6FCB9A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6900072-8530-4F29-BB86-94E41E796118}"/>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34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itle 1">
            <a:extLst>
              <a:ext uri="{FF2B5EF4-FFF2-40B4-BE49-F238E27FC236}">
                <a16:creationId xmlns:a16="http://schemas.microsoft.com/office/drawing/2014/main" id="{A940D559-46B7-47E0-A003-EE968B57A7C5}"/>
              </a:ext>
            </a:extLst>
          </p:cNvPr>
          <p:cNvSpPr>
            <a:spLocks noGrp="1"/>
          </p:cNvSpPr>
          <p:nvPr>
            <p:ph type="ctrTitle"/>
          </p:nvPr>
        </p:nvSpPr>
        <p:spPr>
          <a:xfrm>
            <a:off x="391584" y="3677095"/>
            <a:ext cx="5158316" cy="1046440"/>
          </a:xfrm>
        </p:spPr>
        <p:txBody>
          <a:bodyPr vert="horz"/>
          <a:lstStyle/>
          <a:p>
            <a:r>
              <a:rPr lang="en-GB" dirty="0"/>
              <a:t>Mathematical Modelling Project</a:t>
            </a:r>
          </a:p>
        </p:txBody>
      </p:sp>
      <p:sp>
        <p:nvSpPr>
          <p:cNvPr id="8" name="Text Placeholder 7">
            <a:extLst>
              <a:ext uri="{FF2B5EF4-FFF2-40B4-BE49-F238E27FC236}">
                <a16:creationId xmlns:a16="http://schemas.microsoft.com/office/drawing/2014/main" id="{F932D796-9011-4655-9127-E4EE477C4F5E}"/>
              </a:ext>
            </a:extLst>
          </p:cNvPr>
          <p:cNvSpPr>
            <a:spLocks noGrp="1"/>
          </p:cNvSpPr>
          <p:nvPr>
            <p:ph type="body" sz="quarter" idx="11"/>
          </p:nvPr>
        </p:nvSpPr>
        <p:spPr>
          <a:xfrm>
            <a:off x="391585" y="4892984"/>
            <a:ext cx="5158316" cy="246221"/>
          </a:xfrm>
        </p:spPr>
        <p:txBody>
          <a:bodyPr/>
          <a:lstStyle/>
          <a:p>
            <a:r>
              <a:rPr lang="en-GB" dirty="0"/>
              <a:t>Jonathan Black</a:t>
            </a:r>
          </a:p>
        </p:txBody>
      </p:sp>
    </p:spTree>
    <p:extLst>
      <p:ext uri="{BB962C8B-B14F-4D97-AF65-F5344CB8AC3E}">
        <p14:creationId xmlns:p14="http://schemas.microsoft.com/office/powerpoint/2010/main" val="3255054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extLst>
              <p:ext uri="{D42A27DB-BD31-4B8C-83A1-F6EECF244321}">
                <p14:modId xmlns:p14="http://schemas.microsoft.com/office/powerpoint/2010/main" val="181049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7"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a:extLst>
              <a:ext uri="{FF2B5EF4-FFF2-40B4-BE49-F238E27FC236}">
                <a16:creationId xmlns:a16="http://schemas.microsoft.com/office/drawing/2014/main" id="{88AC21D3-3A7A-41C4-8F81-AD6200B2B4AE}"/>
              </a:ext>
            </a:extLst>
          </p:cNvPr>
          <p:cNvSpPr>
            <a:spLocks noGrp="1"/>
          </p:cNvSpPr>
          <p:nvPr>
            <p:ph type="body" sz="quarter" idx="27"/>
          </p:nvPr>
        </p:nvSpPr>
        <p:spPr>
          <a:xfrm>
            <a:off x="387462" y="1524000"/>
            <a:ext cx="11428800" cy="2072362"/>
          </a:xfrm>
        </p:spPr>
        <p:txBody>
          <a:bodyPr vert="horz" lIns="0" tIns="0" rIns="0" bIns="0" rtlCol="0" anchor="t">
            <a:spAutoFit/>
          </a:bodyPr>
          <a:lstStyle/>
          <a:p>
            <a:r>
              <a:rPr lang="en-GB" b="0" i="0" dirty="0">
                <a:solidFill>
                  <a:srgbClr val="172B4D"/>
                </a:solidFill>
                <a:effectLst/>
                <a:latin typeface="+mj-lt"/>
              </a:rPr>
              <a:t>In typical liberalised wholesale electricity markets, power generators sell the energy they produce and retailers buy energy on behalf of their customers.  Like other goods, the price of electricity depends on supply and demand. </a:t>
            </a:r>
          </a:p>
          <a:p>
            <a:endParaRPr lang="en-GB" dirty="0">
              <a:solidFill>
                <a:srgbClr val="172B4D"/>
              </a:solidFill>
              <a:latin typeface="+mj-lt"/>
            </a:endParaRPr>
          </a:p>
          <a:p>
            <a:r>
              <a:rPr lang="en-GB" b="0" i="0" dirty="0">
                <a:solidFill>
                  <a:srgbClr val="172B4D"/>
                </a:solidFill>
                <a:effectLst/>
                <a:latin typeface="+mj-lt"/>
              </a:rPr>
              <a:t>However, both demand and supply fluctuate significantly with time - due to factors such as weather variability and daily work patterns. Although it is possible to store electricity (for example in batteries or hydroelectric dams), it is not cheap to do so. As a result, wholesale electricity prices vary significantly in the short term (e.g. over the course of a day), based on the underlying supply and demand.</a:t>
            </a:r>
          </a:p>
          <a:p>
            <a:endParaRPr lang="en-GB" dirty="0">
              <a:solidFill>
                <a:srgbClr val="172B4D"/>
              </a:solidFill>
              <a:latin typeface="+mj-lt"/>
            </a:endParaRPr>
          </a:p>
          <a:p>
            <a:r>
              <a:rPr lang="en-GB" b="0" i="0" dirty="0">
                <a:solidFill>
                  <a:srgbClr val="172B4D"/>
                </a:solidFill>
                <a:effectLst/>
                <a:latin typeface="+mj-lt"/>
              </a:rPr>
              <a:t>This price variability creates an opportunity for generators with storage capabilities to generate profits by buying electricity when prices are low and selling when prices are high.</a:t>
            </a:r>
            <a:endParaRPr lang="en-GB" dirty="0">
              <a:latin typeface="+mj-lt"/>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noProof="0" dirty="0"/>
              <a:t>Background information</a:t>
            </a:r>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aphicFrame>
        <p:nvGraphicFramePr>
          <p:cNvPr id="11" name="Chart 10">
            <a:extLst>
              <a:ext uri="{FF2B5EF4-FFF2-40B4-BE49-F238E27FC236}">
                <a16:creationId xmlns:a16="http://schemas.microsoft.com/office/drawing/2014/main" id="{84093C13-4A64-4753-9084-0AD80DE701DE}"/>
              </a:ext>
            </a:extLst>
          </p:cNvPr>
          <p:cNvGraphicFramePr>
            <a:graphicFrameLocks/>
          </p:cNvGraphicFramePr>
          <p:nvPr>
            <p:extLst>
              <p:ext uri="{D42A27DB-BD31-4B8C-83A1-F6EECF244321}">
                <p14:modId xmlns:p14="http://schemas.microsoft.com/office/powerpoint/2010/main" val="4044532673"/>
              </p:ext>
            </p:extLst>
          </p:nvPr>
        </p:nvGraphicFramePr>
        <p:xfrm>
          <a:off x="2415497" y="3429000"/>
          <a:ext cx="6210300" cy="2743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401361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3"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a:extLst>
              <a:ext uri="{FF2B5EF4-FFF2-40B4-BE49-F238E27FC236}">
                <a16:creationId xmlns:a16="http://schemas.microsoft.com/office/drawing/2014/main" id="{88AC21D3-3A7A-41C4-8F81-AD6200B2B4AE}"/>
              </a:ext>
            </a:extLst>
          </p:cNvPr>
          <p:cNvSpPr>
            <a:spLocks noGrp="1"/>
          </p:cNvSpPr>
          <p:nvPr>
            <p:ph type="body" sz="quarter" idx="27"/>
          </p:nvPr>
        </p:nvSpPr>
        <p:spPr>
          <a:xfrm>
            <a:off x="387462" y="1325687"/>
            <a:ext cx="11428800" cy="759182"/>
          </a:xfrm>
        </p:spPr>
        <p:txBody>
          <a:bodyPr vert="horz" lIns="0" tIns="0" rIns="0" bIns="0" rtlCol="0" anchor="t">
            <a:spAutoFit/>
          </a:bodyPr>
          <a:lstStyle/>
          <a:p>
            <a:r>
              <a:rPr lang="en-GB" dirty="0">
                <a:solidFill>
                  <a:srgbClr val="172B4D"/>
                </a:solidFill>
                <a:latin typeface="+mj-lt"/>
              </a:rPr>
              <a:t>Build an optimisation model to charge/discharge the battery over the time period provided (2018-2020) in order to maximise profit</a:t>
            </a:r>
          </a:p>
          <a:p>
            <a:endParaRPr lang="en-GB" b="0" i="0" dirty="0">
              <a:solidFill>
                <a:srgbClr val="172B4D"/>
              </a:solidFill>
              <a:effectLst/>
              <a:latin typeface="+mj-lt"/>
            </a:endParaRPr>
          </a:p>
          <a:p>
            <a:r>
              <a:rPr lang="en-GB" dirty="0">
                <a:solidFill>
                  <a:srgbClr val="172B4D"/>
                </a:solidFill>
                <a:latin typeface="+mj-lt"/>
              </a:rPr>
              <a:t>The following data will be provided:</a:t>
            </a:r>
            <a:endParaRPr lang="en-GB" b="0" i="0" dirty="0">
              <a:solidFill>
                <a:srgbClr val="172B4D"/>
              </a:solidFill>
              <a:effectLst/>
              <a:latin typeface="+mj-lt"/>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noProof="0" dirty="0"/>
              <a:t>Problem statement</a:t>
            </a:r>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aphicFrame>
        <p:nvGraphicFramePr>
          <p:cNvPr id="11" name="Table 14">
            <a:extLst>
              <a:ext uri="{FF2B5EF4-FFF2-40B4-BE49-F238E27FC236}">
                <a16:creationId xmlns:a16="http://schemas.microsoft.com/office/drawing/2014/main" id="{D0C25A3C-7EF8-409C-81C9-7CB6B0EC4080}"/>
              </a:ext>
            </a:extLst>
          </p:cNvPr>
          <p:cNvGraphicFramePr>
            <a:graphicFrameLocks noGrp="1"/>
          </p:cNvGraphicFramePr>
          <p:nvPr>
            <p:extLst>
              <p:ext uri="{D42A27DB-BD31-4B8C-83A1-F6EECF244321}">
                <p14:modId xmlns:p14="http://schemas.microsoft.com/office/powerpoint/2010/main" val="1988782655"/>
              </p:ext>
            </p:extLst>
          </p:nvPr>
        </p:nvGraphicFramePr>
        <p:xfrm>
          <a:off x="381001" y="2237794"/>
          <a:ext cx="8128000" cy="34137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47838012"/>
                    </a:ext>
                  </a:extLst>
                </a:gridCol>
                <a:gridCol w="2032000">
                  <a:extLst>
                    <a:ext uri="{9D8B030D-6E8A-4147-A177-3AD203B41FA5}">
                      <a16:colId xmlns:a16="http://schemas.microsoft.com/office/drawing/2014/main" val="1051417176"/>
                    </a:ext>
                  </a:extLst>
                </a:gridCol>
                <a:gridCol w="2032000">
                  <a:extLst>
                    <a:ext uri="{9D8B030D-6E8A-4147-A177-3AD203B41FA5}">
                      <a16:colId xmlns:a16="http://schemas.microsoft.com/office/drawing/2014/main" val="763861865"/>
                    </a:ext>
                  </a:extLst>
                </a:gridCol>
                <a:gridCol w="2032000">
                  <a:extLst>
                    <a:ext uri="{9D8B030D-6E8A-4147-A177-3AD203B41FA5}">
                      <a16:colId xmlns:a16="http://schemas.microsoft.com/office/drawing/2014/main" val="2477222895"/>
                    </a:ext>
                  </a:extLst>
                </a:gridCol>
              </a:tblGrid>
              <a:tr h="370840">
                <a:tc>
                  <a:txBody>
                    <a:bodyPr/>
                    <a:lstStyle/>
                    <a:p>
                      <a:r>
                        <a:rPr lang="en-GB" dirty="0"/>
                        <a:t>Data</a:t>
                      </a:r>
                    </a:p>
                  </a:txBody>
                  <a:tcPr/>
                </a:tc>
                <a:tc>
                  <a:txBody>
                    <a:bodyPr/>
                    <a:lstStyle/>
                    <a:p>
                      <a:r>
                        <a:rPr lang="en-GB" dirty="0"/>
                        <a:t>Granularity</a:t>
                      </a:r>
                    </a:p>
                  </a:txBody>
                  <a:tcPr/>
                </a:tc>
                <a:tc>
                  <a:txBody>
                    <a:bodyPr/>
                    <a:lstStyle/>
                    <a:p>
                      <a:r>
                        <a:rPr lang="en-GB" dirty="0"/>
                        <a:t>Units</a:t>
                      </a:r>
                    </a:p>
                  </a:txBody>
                  <a:tcPr/>
                </a:tc>
                <a:tc>
                  <a:txBody>
                    <a:bodyPr/>
                    <a:lstStyle/>
                    <a:p>
                      <a:r>
                        <a:rPr lang="en-GB" dirty="0"/>
                        <a:t>Time period</a:t>
                      </a:r>
                    </a:p>
                  </a:txBody>
                  <a:tcPr/>
                </a:tc>
                <a:extLst>
                  <a:ext uri="{0D108BD9-81ED-4DB2-BD59-A6C34878D82A}">
                    <a16:rowId xmlns:a16="http://schemas.microsoft.com/office/drawing/2014/main" val="2634178288"/>
                  </a:ext>
                </a:extLst>
              </a:tr>
              <a:tr h="370840">
                <a:tc>
                  <a:txBody>
                    <a:bodyPr/>
                    <a:lstStyle/>
                    <a:p>
                      <a:r>
                        <a:rPr lang="en-GB" sz="1000" dirty="0"/>
                        <a:t>Market 1 Price</a:t>
                      </a:r>
                    </a:p>
                  </a:txBody>
                  <a:tcPr/>
                </a:tc>
                <a:tc>
                  <a:txBody>
                    <a:bodyPr/>
                    <a:lstStyle/>
                    <a:p>
                      <a:r>
                        <a:rPr lang="en-GB" sz="1000" dirty="0"/>
                        <a:t>Half-hourly</a:t>
                      </a:r>
                    </a:p>
                  </a:txBody>
                  <a:tcPr/>
                </a:tc>
                <a:tc>
                  <a:txBody>
                    <a:bodyPr/>
                    <a:lstStyle/>
                    <a:p>
                      <a:r>
                        <a:rPr lang="en-GB" sz="1000" dirty="0"/>
                        <a:t>£/MWh</a:t>
                      </a:r>
                    </a:p>
                  </a:txBody>
                  <a:tcPr/>
                </a:tc>
                <a:tc>
                  <a:txBody>
                    <a:bodyPr/>
                    <a:lstStyle/>
                    <a:p>
                      <a:r>
                        <a:rPr lang="en-GB" sz="1000" dirty="0"/>
                        <a:t>2018 - 2020</a:t>
                      </a:r>
                    </a:p>
                  </a:txBody>
                  <a:tcPr/>
                </a:tc>
                <a:extLst>
                  <a:ext uri="{0D108BD9-81ED-4DB2-BD59-A6C34878D82A}">
                    <a16:rowId xmlns:a16="http://schemas.microsoft.com/office/drawing/2014/main" val="3532354675"/>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arket 2 Price</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p>
                      <a:endParaRPr lang="en-GB" sz="1000" dirty="0"/>
                    </a:p>
                  </a:txBody>
                  <a:tcPr/>
                </a:tc>
                <a:tc>
                  <a:txBody>
                    <a:bodyPr/>
                    <a:lstStyle/>
                    <a:p>
                      <a:r>
                        <a:rPr lang="en-GB" sz="1000" dirty="0"/>
                        <a:t>£/MWh</a:t>
                      </a:r>
                    </a:p>
                    <a:p>
                      <a:endParaRPr lang="en-GB" sz="1000"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392628681"/>
                  </a:ext>
                </a:extLst>
              </a:tr>
              <a:tr h="37084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arket 3 Price</a:t>
                      </a:r>
                    </a:p>
                    <a:p>
                      <a:endParaRPr lang="en-GB" sz="1000"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Daily</a:t>
                      </a:r>
                    </a:p>
                    <a:p>
                      <a:endParaRPr lang="en-GB" sz="1000"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Wh</a:t>
                      </a:r>
                    </a:p>
                    <a:p>
                      <a:endParaRPr lang="en-GB" sz="1000"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3029046763"/>
                  </a:ext>
                </a:extLst>
              </a:tr>
              <a:tr h="370840">
                <a:tc>
                  <a:txBody>
                    <a:bodyPr/>
                    <a:lstStyle/>
                    <a:p>
                      <a:r>
                        <a:rPr lang="en-GB" sz="1000" dirty="0"/>
                        <a:t>Transmission System Electricity Demand</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p>
                      <a:endParaRPr lang="en-GB" sz="1000" dirty="0"/>
                    </a:p>
                  </a:txBody>
                  <a:tcPr/>
                </a:tc>
                <a:tc>
                  <a:txBody>
                    <a:bodyPr/>
                    <a:lstStyle/>
                    <a:p>
                      <a:r>
                        <a:rPr lang="en-GB" sz="1000" dirty="0"/>
                        <a:t>MW</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p>
                      <a:endParaRPr lang="en-GB" sz="1000" dirty="0"/>
                    </a:p>
                  </a:txBody>
                  <a:tcPr/>
                </a:tc>
                <a:extLst>
                  <a:ext uri="{0D108BD9-81ED-4DB2-BD59-A6C34878D82A}">
                    <a16:rowId xmlns:a16="http://schemas.microsoft.com/office/drawing/2014/main" val="3753036806"/>
                  </a:ext>
                </a:extLst>
              </a:tr>
              <a:tr h="370840">
                <a:tc>
                  <a:txBody>
                    <a:bodyPr/>
                    <a:lstStyle/>
                    <a:p>
                      <a:r>
                        <a:rPr lang="en-GB" sz="1000" dirty="0"/>
                        <a:t>Wind Generation</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W</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1243266679"/>
                  </a:ext>
                </a:extLst>
              </a:tr>
              <a:tr h="370840">
                <a:tc>
                  <a:txBody>
                    <a:bodyPr/>
                    <a:lstStyle/>
                    <a:p>
                      <a:r>
                        <a:rPr lang="en-GB" sz="1000" dirty="0"/>
                        <a:t>Solar Generation</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W</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1701876556"/>
                  </a:ext>
                </a:extLst>
              </a:tr>
              <a:tr h="370840">
                <a:tc>
                  <a:txBody>
                    <a:bodyPr/>
                    <a:lstStyle/>
                    <a:p>
                      <a:r>
                        <a:rPr lang="en-GB" sz="1000" dirty="0"/>
                        <a:t>Coal Generation</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W</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2426192405"/>
                  </a:ext>
                </a:extLst>
              </a:tr>
              <a:tr h="370840">
                <a:tc>
                  <a:txBody>
                    <a:bodyPr/>
                    <a:lstStyle/>
                    <a:p>
                      <a:r>
                        <a:rPr lang="en-GB" sz="1000" dirty="0"/>
                        <a:t>Gas Generation</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Half-hourly</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MW</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GB" sz="1000" dirty="0"/>
                        <a:t>2018 - 2020</a:t>
                      </a:r>
                    </a:p>
                  </a:txBody>
                  <a:tcPr/>
                </a:tc>
                <a:extLst>
                  <a:ext uri="{0D108BD9-81ED-4DB2-BD59-A6C34878D82A}">
                    <a16:rowId xmlns:a16="http://schemas.microsoft.com/office/drawing/2014/main" val="2754036065"/>
                  </a:ext>
                </a:extLst>
              </a:tr>
            </a:tbl>
          </a:graphicData>
        </a:graphic>
      </p:graphicFrame>
    </p:spTree>
    <p:extLst>
      <p:ext uri="{BB962C8B-B14F-4D97-AF65-F5344CB8AC3E}">
        <p14:creationId xmlns:p14="http://schemas.microsoft.com/office/powerpoint/2010/main" val="399456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extLst>
              <p:ext uri="{D42A27DB-BD31-4B8C-83A1-F6EECF244321}">
                <p14:modId xmlns:p14="http://schemas.microsoft.com/office/powerpoint/2010/main" val="205926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6"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noProof="0" dirty="0"/>
              <a:t>Battery parameters</a:t>
            </a:r>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aphicFrame>
        <p:nvGraphicFramePr>
          <p:cNvPr id="5" name="Table 6">
            <a:extLst>
              <a:ext uri="{FF2B5EF4-FFF2-40B4-BE49-F238E27FC236}">
                <a16:creationId xmlns:a16="http://schemas.microsoft.com/office/drawing/2014/main" id="{47C6816A-553E-40D0-AAAB-59044AC1D013}"/>
              </a:ext>
            </a:extLst>
          </p:cNvPr>
          <p:cNvGraphicFramePr>
            <a:graphicFrameLocks noGrp="1"/>
          </p:cNvGraphicFramePr>
          <p:nvPr>
            <p:extLst>
              <p:ext uri="{D42A27DB-BD31-4B8C-83A1-F6EECF244321}">
                <p14:modId xmlns:p14="http://schemas.microsoft.com/office/powerpoint/2010/main" val="1617088866"/>
              </p:ext>
            </p:extLst>
          </p:nvPr>
        </p:nvGraphicFramePr>
        <p:xfrm>
          <a:off x="381001" y="1394386"/>
          <a:ext cx="10088188" cy="4466996"/>
        </p:xfrm>
        <a:graphic>
          <a:graphicData uri="http://schemas.openxmlformats.org/drawingml/2006/table">
            <a:tbl>
              <a:tblPr firstRow="1" bandRow="1">
                <a:tableStyleId>{5C22544A-7EE6-4342-B048-85BDC9FD1C3A}</a:tableStyleId>
              </a:tblPr>
              <a:tblGrid>
                <a:gridCol w="2522047">
                  <a:extLst>
                    <a:ext uri="{9D8B030D-6E8A-4147-A177-3AD203B41FA5}">
                      <a16:colId xmlns:a16="http://schemas.microsoft.com/office/drawing/2014/main" val="1892768751"/>
                    </a:ext>
                  </a:extLst>
                </a:gridCol>
                <a:gridCol w="2522047">
                  <a:extLst>
                    <a:ext uri="{9D8B030D-6E8A-4147-A177-3AD203B41FA5}">
                      <a16:colId xmlns:a16="http://schemas.microsoft.com/office/drawing/2014/main" val="1981842213"/>
                    </a:ext>
                  </a:extLst>
                </a:gridCol>
                <a:gridCol w="2522047">
                  <a:extLst>
                    <a:ext uri="{9D8B030D-6E8A-4147-A177-3AD203B41FA5}">
                      <a16:colId xmlns:a16="http://schemas.microsoft.com/office/drawing/2014/main" val="1487714742"/>
                    </a:ext>
                  </a:extLst>
                </a:gridCol>
                <a:gridCol w="2522047">
                  <a:extLst>
                    <a:ext uri="{9D8B030D-6E8A-4147-A177-3AD203B41FA5}">
                      <a16:colId xmlns:a16="http://schemas.microsoft.com/office/drawing/2014/main" val="2285515728"/>
                    </a:ext>
                  </a:extLst>
                </a:gridCol>
              </a:tblGrid>
              <a:tr h="305237">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endParaRPr lang="en-GB" sz="1350" b="0" kern="1200" dirty="0">
                        <a:solidFill>
                          <a:schemeClr val="lt1"/>
                        </a:solidFill>
                        <a:latin typeface="+mn-lt"/>
                        <a:ea typeface="+mn-ea"/>
                        <a:cs typeface="+mn-cs"/>
                      </a:endParaRPr>
                    </a:p>
                  </a:txBody>
                  <a:tcPr/>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r>
                        <a:rPr lang="en-GB" sz="1350" b="1" kern="1200" dirty="0">
                          <a:solidFill>
                            <a:schemeClr val="lt1"/>
                          </a:solidFill>
                          <a:latin typeface="+mn-lt"/>
                          <a:ea typeface="+mn-ea"/>
                          <a:cs typeface="+mn-cs"/>
                        </a:rPr>
                        <a:t>Values</a:t>
                      </a:r>
                    </a:p>
                  </a:txBody>
                  <a:tcPr marL="9525" marR="9525" marT="9525" marB="0" anchor="b"/>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r>
                        <a:rPr lang="en-GB" sz="1350" b="1" kern="1200" dirty="0">
                          <a:solidFill>
                            <a:schemeClr val="lt1"/>
                          </a:solidFill>
                          <a:latin typeface="+mn-lt"/>
                          <a:ea typeface="+mn-ea"/>
                          <a:cs typeface="+mn-cs"/>
                        </a:rPr>
                        <a:t>Units</a:t>
                      </a:r>
                    </a:p>
                  </a:txBody>
                  <a:tcPr marL="9525" marR="9525" marT="9525" marB="0" anchor="b"/>
                </a:tc>
                <a:tc>
                  <a:txBody>
                    <a:bodyPr/>
                    <a:lstStyle/>
                    <a:p>
                      <a:r>
                        <a:rPr lang="en-GB" sz="1350" b="1" kern="1200" dirty="0">
                          <a:solidFill>
                            <a:schemeClr val="lt1"/>
                          </a:solidFill>
                          <a:latin typeface="+mn-lt"/>
                          <a:ea typeface="+mn-ea"/>
                          <a:cs typeface="+mn-cs"/>
                        </a:rPr>
                        <a:t>Description</a:t>
                      </a:r>
                    </a:p>
                  </a:txBody>
                  <a:tcPr marL="9525" marR="9525" marT="9525" marB="0" anchor="b"/>
                </a:tc>
                <a:extLst>
                  <a:ext uri="{0D108BD9-81ED-4DB2-BD59-A6C34878D82A}">
                    <a16:rowId xmlns:a16="http://schemas.microsoft.com/office/drawing/2014/main" val="4251834732"/>
                  </a:ext>
                </a:extLst>
              </a:tr>
              <a:tr h="104108">
                <a:tc>
                  <a:txBody>
                    <a:bodyPr/>
                    <a:lstStyle/>
                    <a:p>
                      <a:pPr algn="l" fontAlgn="b"/>
                      <a:r>
                        <a:rPr lang="en-GB" sz="1000" b="0" i="0" u="none" strike="noStrike" dirty="0">
                          <a:solidFill>
                            <a:srgbClr val="000000"/>
                          </a:solidFill>
                          <a:effectLst/>
                          <a:latin typeface="+mn-lt"/>
                        </a:rPr>
                        <a:t>Max charging rate</a:t>
                      </a:r>
                    </a:p>
                  </a:txBody>
                  <a:tcPr marL="9525" marR="9525" marT="9525" marB="0" anchor="b"/>
                </a:tc>
                <a:tc>
                  <a:txBody>
                    <a:bodyPr/>
                    <a:lstStyle/>
                    <a:p>
                      <a:pPr algn="l" fontAlgn="b"/>
                      <a:r>
                        <a:rPr lang="en-GB" sz="1000" b="0" i="0" u="none" strike="noStrike" dirty="0">
                          <a:solidFill>
                            <a:srgbClr val="000000"/>
                          </a:solidFill>
                          <a:effectLst/>
                          <a:latin typeface="+mn-lt"/>
                        </a:rPr>
                        <a:t>2</a:t>
                      </a:r>
                    </a:p>
                  </a:txBody>
                  <a:tcPr marL="9525" marR="9525" marT="9525" marB="0" anchor="b"/>
                </a:tc>
                <a:tc>
                  <a:txBody>
                    <a:bodyPr/>
                    <a:lstStyle/>
                    <a:p>
                      <a:pPr algn="l" fontAlgn="b"/>
                      <a:r>
                        <a:rPr lang="en-GB" sz="1000" b="0" i="0" u="none" strike="noStrike" dirty="0">
                          <a:solidFill>
                            <a:srgbClr val="000000"/>
                          </a:solidFill>
                          <a:effectLst/>
                          <a:latin typeface="+mn-lt"/>
                        </a:rPr>
                        <a:t>MW</a:t>
                      </a:r>
                    </a:p>
                  </a:txBody>
                  <a:tcPr marL="9525" marR="9525" marT="9525" marB="0" anchor="b"/>
                </a:tc>
                <a:tc>
                  <a:txBody>
                    <a:bodyPr/>
                    <a:lstStyle/>
                    <a:p>
                      <a:pPr algn="l" fontAlgn="b"/>
                      <a:r>
                        <a:rPr lang="en-GB" sz="1000" b="0" i="0" u="none" strike="noStrike">
                          <a:solidFill>
                            <a:srgbClr val="000000"/>
                          </a:solidFill>
                          <a:effectLst/>
                          <a:latin typeface="+mn-lt"/>
                        </a:rPr>
                        <a:t>The maximum power that the battery can import from the grid</a:t>
                      </a:r>
                    </a:p>
                  </a:txBody>
                  <a:tcPr marL="9525" marR="9525" marT="9525" marB="0" anchor="b"/>
                </a:tc>
                <a:extLst>
                  <a:ext uri="{0D108BD9-81ED-4DB2-BD59-A6C34878D82A}">
                    <a16:rowId xmlns:a16="http://schemas.microsoft.com/office/drawing/2014/main" val="2452931005"/>
                  </a:ext>
                </a:extLst>
              </a:tr>
              <a:tr h="272193">
                <a:tc>
                  <a:txBody>
                    <a:bodyPr/>
                    <a:lstStyle/>
                    <a:p>
                      <a:pPr algn="l" fontAlgn="b"/>
                      <a:r>
                        <a:rPr lang="en-GB" sz="1000" b="0" i="0" u="none" strike="noStrike" dirty="0">
                          <a:solidFill>
                            <a:srgbClr val="000000"/>
                          </a:solidFill>
                          <a:effectLst/>
                          <a:latin typeface="+mn-lt"/>
                        </a:rPr>
                        <a:t>Max discharging rate</a:t>
                      </a:r>
                    </a:p>
                  </a:txBody>
                  <a:tcPr marL="9525" marR="9525" marT="9525" marB="0" anchor="b"/>
                </a:tc>
                <a:tc>
                  <a:txBody>
                    <a:bodyPr/>
                    <a:lstStyle/>
                    <a:p>
                      <a:pPr algn="l" fontAlgn="b"/>
                      <a:r>
                        <a:rPr lang="en-GB" sz="1000" b="0" i="0" u="none" strike="noStrike" dirty="0">
                          <a:solidFill>
                            <a:srgbClr val="000000"/>
                          </a:solidFill>
                          <a:effectLst/>
                          <a:latin typeface="+mn-lt"/>
                        </a:rPr>
                        <a:t>2</a:t>
                      </a:r>
                    </a:p>
                  </a:txBody>
                  <a:tcPr marL="9525" marR="9525" marT="9525" marB="0" anchor="b"/>
                </a:tc>
                <a:tc>
                  <a:txBody>
                    <a:bodyPr/>
                    <a:lstStyle/>
                    <a:p>
                      <a:pPr algn="l" fontAlgn="b"/>
                      <a:r>
                        <a:rPr lang="en-GB" sz="1000" b="0" i="0" u="none" strike="noStrike" dirty="0">
                          <a:solidFill>
                            <a:srgbClr val="000000"/>
                          </a:solidFill>
                          <a:effectLst/>
                          <a:latin typeface="+mn-lt"/>
                        </a:rPr>
                        <a:t>MW</a:t>
                      </a:r>
                    </a:p>
                  </a:txBody>
                  <a:tcPr marL="9525" marR="9525" marT="9525" marB="0" anchor="b"/>
                </a:tc>
                <a:tc>
                  <a:txBody>
                    <a:bodyPr/>
                    <a:lstStyle/>
                    <a:p>
                      <a:pPr algn="l" fontAlgn="b"/>
                      <a:r>
                        <a:rPr lang="en-GB" sz="1000" b="0" i="0" u="none" strike="noStrike">
                          <a:solidFill>
                            <a:srgbClr val="000000"/>
                          </a:solidFill>
                          <a:effectLst/>
                          <a:latin typeface="+mn-lt"/>
                        </a:rPr>
                        <a:t>The maximum power that the battery can export to the grid</a:t>
                      </a:r>
                    </a:p>
                  </a:txBody>
                  <a:tcPr marL="9525" marR="9525" marT="9525" marB="0" anchor="b"/>
                </a:tc>
                <a:extLst>
                  <a:ext uri="{0D108BD9-81ED-4DB2-BD59-A6C34878D82A}">
                    <a16:rowId xmlns:a16="http://schemas.microsoft.com/office/drawing/2014/main" val="3573814579"/>
                  </a:ext>
                </a:extLst>
              </a:tr>
              <a:tr h="286341">
                <a:tc>
                  <a:txBody>
                    <a:bodyPr/>
                    <a:lstStyle/>
                    <a:p>
                      <a:pPr algn="l" fontAlgn="b"/>
                      <a:r>
                        <a:rPr lang="en-GB" sz="1000" b="0" i="0" u="none" strike="noStrike" dirty="0">
                          <a:solidFill>
                            <a:srgbClr val="000000"/>
                          </a:solidFill>
                          <a:effectLst/>
                          <a:latin typeface="+mn-lt"/>
                        </a:rPr>
                        <a:t>Max storage volume</a:t>
                      </a:r>
                    </a:p>
                  </a:txBody>
                  <a:tcPr marL="9525" marR="9525" marT="9525" marB="0" anchor="b"/>
                </a:tc>
                <a:tc>
                  <a:txBody>
                    <a:bodyPr/>
                    <a:lstStyle/>
                    <a:p>
                      <a:pPr algn="l" fontAlgn="b"/>
                      <a:r>
                        <a:rPr lang="en-GB" sz="1000" b="0" i="0" u="none" strike="noStrike" dirty="0">
                          <a:solidFill>
                            <a:srgbClr val="000000"/>
                          </a:solidFill>
                          <a:effectLst/>
                          <a:latin typeface="+mn-lt"/>
                        </a:rPr>
                        <a:t>4</a:t>
                      </a:r>
                    </a:p>
                  </a:txBody>
                  <a:tcPr marL="9525" marR="9525" marT="9525" marB="0" anchor="b"/>
                </a:tc>
                <a:tc>
                  <a:txBody>
                    <a:bodyPr/>
                    <a:lstStyle/>
                    <a:p>
                      <a:pPr algn="l" fontAlgn="b"/>
                      <a:r>
                        <a:rPr lang="en-GB" sz="1000" b="0" i="0" u="none" strike="noStrike" dirty="0">
                          <a:solidFill>
                            <a:srgbClr val="000000"/>
                          </a:solidFill>
                          <a:effectLst/>
                          <a:latin typeface="+mn-lt"/>
                        </a:rPr>
                        <a:t>MWh</a:t>
                      </a:r>
                    </a:p>
                  </a:txBody>
                  <a:tcPr marL="9525" marR="9525" marT="9525" marB="0" anchor="b"/>
                </a:tc>
                <a:tc>
                  <a:txBody>
                    <a:bodyPr/>
                    <a:lstStyle/>
                    <a:p>
                      <a:pPr algn="l" fontAlgn="b"/>
                      <a:r>
                        <a:rPr lang="en-GB" sz="1000" b="0" i="0" u="none" strike="noStrike">
                          <a:solidFill>
                            <a:srgbClr val="000000"/>
                          </a:solidFill>
                          <a:effectLst/>
                          <a:latin typeface="+mn-lt"/>
                        </a:rPr>
                        <a:t>Maximum volume of energy that the battery can store</a:t>
                      </a:r>
                    </a:p>
                  </a:txBody>
                  <a:tcPr marL="9525" marR="9525" marT="9525" marB="0" anchor="b"/>
                </a:tc>
                <a:extLst>
                  <a:ext uri="{0D108BD9-81ED-4DB2-BD59-A6C34878D82A}">
                    <a16:rowId xmlns:a16="http://schemas.microsoft.com/office/drawing/2014/main" val="318588498"/>
                  </a:ext>
                </a:extLst>
              </a:tr>
              <a:tr h="135735">
                <a:tc>
                  <a:txBody>
                    <a:bodyPr/>
                    <a:lstStyle/>
                    <a:p>
                      <a:pPr algn="l" fontAlgn="b"/>
                      <a:r>
                        <a:rPr lang="en-GB" sz="1000" b="0" i="0" u="none" strike="noStrike" dirty="0">
                          <a:solidFill>
                            <a:srgbClr val="000000"/>
                          </a:solidFill>
                          <a:effectLst/>
                          <a:latin typeface="+mn-lt"/>
                        </a:rPr>
                        <a:t>Battery charging efficiency</a:t>
                      </a:r>
                    </a:p>
                  </a:txBody>
                  <a:tcPr marL="9525" marR="9525" marT="9525" marB="0" anchor="b"/>
                </a:tc>
                <a:tc>
                  <a:txBody>
                    <a:bodyPr/>
                    <a:lstStyle/>
                    <a:p>
                      <a:pPr algn="l" fontAlgn="b"/>
                      <a:r>
                        <a:rPr lang="en-GB" sz="1000" b="0" i="0" u="none" strike="noStrike" dirty="0">
                          <a:solidFill>
                            <a:srgbClr val="000000"/>
                          </a:solidFill>
                          <a:effectLst/>
                          <a:latin typeface="+mn-lt"/>
                        </a:rPr>
                        <a:t>0.05</a:t>
                      </a:r>
                    </a:p>
                  </a:txBody>
                  <a:tcPr marL="9525" marR="9525" marT="9525" marB="0" anchor="b"/>
                </a:tc>
                <a:tc>
                  <a:txBody>
                    <a:bodyPr/>
                    <a:lstStyle/>
                    <a:p>
                      <a:pPr algn="l" fontAlgn="b"/>
                      <a:r>
                        <a:rPr lang="en-GB" sz="1000" b="0" i="0" u="none" strike="noStrike">
                          <a:solidFill>
                            <a:srgbClr val="000000"/>
                          </a:solidFill>
                          <a:effectLst/>
                          <a:latin typeface="+mn-lt"/>
                        </a:rPr>
                        <a:t>-</a:t>
                      </a:r>
                    </a:p>
                  </a:txBody>
                  <a:tcPr marL="9525" marR="9525" marT="9525" marB="0" anchor="b"/>
                </a:tc>
                <a:tc>
                  <a:txBody>
                    <a:bodyPr/>
                    <a:lstStyle/>
                    <a:p>
                      <a:pPr algn="l" fontAlgn="b"/>
                      <a:r>
                        <a:rPr lang="en-GB" sz="1000" b="0" i="0" u="none" strike="noStrike" dirty="0">
                          <a:solidFill>
                            <a:srgbClr val="000000"/>
                          </a:solidFill>
                          <a:effectLst/>
                          <a:latin typeface="+mn-lt"/>
                        </a:rPr>
                        <a:t>Fraction of energy imported from grid that is lost prior to storage in the battery</a:t>
                      </a:r>
                    </a:p>
                  </a:txBody>
                  <a:tcPr marL="9525" marR="9525" marT="9525" marB="0" anchor="b"/>
                </a:tc>
                <a:extLst>
                  <a:ext uri="{0D108BD9-81ED-4DB2-BD59-A6C34878D82A}">
                    <a16:rowId xmlns:a16="http://schemas.microsoft.com/office/drawing/2014/main" val="568965407"/>
                  </a:ext>
                </a:extLst>
              </a:tr>
              <a:tr h="119330">
                <a:tc>
                  <a:txBody>
                    <a:bodyPr/>
                    <a:lstStyle/>
                    <a:p>
                      <a:pPr algn="l" fontAlgn="b"/>
                      <a:r>
                        <a:rPr lang="en-GB" sz="1000" b="0" i="0" u="none" strike="noStrike" dirty="0">
                          <a:solidFill>
                            <a:srgbClr val="000000"/>
                          </a:solidFill>
                          <a:effectLst/>
                          <a:latin typeface="+mn-lt"/>
                        </a:rPr>
                        <a:t>Battery discharging efficiency</a:t>
                      </a:r>
                    </a:p>
                  </a:txBody>
                  <a:tcPr marL="9525" marR="9525" marT="9525" marB="0" anchor="b"/>
                </a:tc>
                <a:tc>
                  <a:txBody>
                    <a:bodyPr/>
                    <a:lstStyle/>
                    <a:p>
                      <a:pPr algn="l" fontAlgn="b"/>
                      <a:r>
                        <a:rPr lang="en-GB" sz="1000" b="0" i="0" u="none" strike="noStrike" dirty="0">
                          <a:solidFill>
                            <a:srgbClr val="000000"/>
                          </a:solidFill>
                          <a:effectLst/>
                          <a:latin typeface="+mn-lt"/>
                        </a:rPr>
                        <a:t>0.05</a:t>
                      </a:r>
                    </a:p>
                  </a:txBody>
                  <a:tcPr marL="9525" marR="9525" marT="9525" marB="0" anchor="b"/>
                </a:tc>
                <a:tc>
                  <a:txBody>
                    <a:bodyPr/>
                    <a:lstStyle/>
                    <a:p>
                      <a:pPr algn="l" fontAlgn="b"/>
                      <a:r>
                        <a:rPr lang="en-GB" sz="1000" b="0" i="0" u="none" strike="noStrike">
                          <a:solidFill>
                            <a:srgbClr val="000000"/>
                          </a:solidFill>
                          <a:effectLst/>
                          <a:latin typeface="+mn-lt"/>
                        </a:rPr>
                        <a:t>-</a:t>
                      </a:r>
                    </a:p>
                  </a:txBody>
                  <a:tcPr marL="9525" marR="9525" marT="9525" marB="0" anchor="b"/>
                </a:tc>
                <a:tc>
                  <a:txBody>
                    <a:bodyPr/>
                    <a:lstStyle/>
                    <a:p>
                      <a:pPr algn="l" fontAlgn="b"/>
                      <a:r>
                        <a:rPr lang="en-GB" sz="1000" b="0" i="0" u="none" strike="noStrike">
                          <a:solidFill>
                            <a:srgbClr val="000000"/>
                          </a:solidFill>
                          <a:effectLst/>
                          <a:latin typeface="+mn-lt"/>
                        </a:rPr>
                        <a:t>Fraction of energy exported from the battery that is lost prior to reaching the grid</a:t>
                      </a:r>
                    </a:p>
                  </a:txBody>
                  <a:tcPr marL="9525" marR="9525" marT="9525" marB="0" anchor="b"/>
                </a:tc>
                <a:extLst>
                  <a:ext uri="{0D108BD9-81ED-4DB2-BD59-A6C34878D82A}">
                    <a16:rowId xmlns:a16="http://schemas.microsoft.com/office/drawing/2014/main" val="1108436022"/>
                  </a:ext>
                </a:extLst>
              </a:tr>
              <a:tr h="248889">
                <a:tc>
                  <a:txBody>
                    <a:bodyPr/>
                    <a:lstStyle/>
                    <a:p>
                      <a:pPr algn="l" fontAlgn="b"/>
                      <a:r>
                        <a:rPr lang="en-GB" sz="1000" b="0" i="0" u="none" strike="noStrike">
                          <a:solidFill>
                            <a:srgbClr val="000000"/>
                          </a:solidFill>
                          <a:effectLst/>
                          <a:latin typeface="+mn-lt"/>
                        </a:rPr>
                        <a:t>Lifetime (1)</a:t>
                      </a:r>
                    </a:p>
                  </a:txBody>
                  <a:tcPr marL="9525" marR="9525" marT="9525" marB="0" anchor="b"/>
                </a:tc>
                <a:tc>
                  <a:txBody>
                    <a:bodyPr/>
                    <a:lstStyle/>
                    <a:p>
                      <a:pPr algn="l" fontAlgn="b"/>
                      <a:r>
                        <a:rPr lang="en-GB" sz="1000" b="0" i="0" u="none" strike="noStrike" dirty="0">
                          <a:solidFill>
                            <a:srgbClr val="000000"/>
                          </a:solidFill>
                          <a:effectLst/>
                          <a:latin typeface="+mn-lt"/>
                        </a:rPr>
                        <a:t>10</a:t>
                      </a:r>
                    </a:p>
                  </a:txBody>
                  <a:tcPr marL="9525" marR="9525" marT="9525" marB="0" anchor="b"/>
                </a:tc>
                <a:tc>
                  <a:txBody>
                    <a:bodyPr/>
                    <a:lstStyle/>
                    <a:p>
                      <a:pPr algn="l" fontAlgn="b"/>
                      <a:r>
                        <a:rPr lang="en-GB" sz="1000" b="0" i="0" u="none" strike="noStrike">
                          <a:solidFill>
                            <a:srgbClr val="000000"/>
                          </a:solidFill>
                          <a:effectLst/>
                          <a:latin typeface="+mn-lt"/>
                        </a:rPr>
                        <a:t>years</a:t>
                      </a:r>
                    </a:p>
                  </a:txBody>
                  <a:tcPr marL="9525" marR="9525" marT="9525" marB="0" anchor="b"/>
                </a:tc>
                <a:tc>
                  <a:txBody>
                    <a:bodyPr/>
                    <a:lstStyle/>
                    <a:p>
                      <a:pPr algn="l" fontAlgn="b"/>
                      <a:r>
                        <a:rPr lang="en-GB" sz="1000" b="0" i="0" u="none" strike="noStrike">
                          <a:solidFill>
                            <a:srgbClr val="000000"/>
                          </a:solidFill>
                          <a:effectLst/>
                          <a:latin typeface="+mn-lt"/>
                        </a:rPr>
                        <a:t>Maximum battery lifetime in years</a:t>
                      </a:r>
                    </a:p>
                  </a:txBody>
                  <a:tcPr marL="9525" marR="9525" marT="9525" marB="0" anchor="b"/>
                </a:tc>
                <a:extLst>
                  <a:ext uri="{0D108BD9-81ED-4DB2-BD59-A6C34878D82A}">
                    <a16:rowId xmlns:a16="http://schemas.microsoft.com/office/drawing/2014/main" val="2894412778"/>
                  </a:ext>
                </a:extLst>
              </a:tr>
              <a:tr h="370840">
                <a:tc>
                  <a:txBody>
                    <a:bodyPr/>
                    <a:lstStyle/>
                    <a:p>
                      <a:pPr algn="l" fontAlgn="b"/>
                      <a:r>
                        <a:rPr lang="en-GB" sz="1000" b="0" i="0" u="none" strike="noStrike" dirty="0">
                          <a:solidFill>
                            <a:srgbClr val="000000"/>
                          </a:solidFill>
                          <a:effectLst/>
                          <a:latin typeface="+mn-lt"/>
                        </a:rPr>
                        <a:t>Lifetime (2)</a:t>
                      </a:r>
                    </a:p>
                  </a:txBody>
                  <a:tcPr marL="9525" marR="9525" marT="9525" marB="0" anchor="b"/>
                </a:tc>
                <a:tc>
                  <a:txBody>
                    <a:bodyPr/>
                    <a:lstStyle/>
                    <a:p>
                      <a:pPr algn="l" fontAlgn="b"/>
                      <a:r>
                        <a:rPr lang="en-GB" sz="1000" b="0" i="0" u="none" strike="noStrike" dirty="0">
                          <a:solidFill>
                            <a:srgbClr val="000000"/>
                          </a:solidFill>
                          <a:effectLst/>
                          <a:latin typeface="+mn-lt"/>
                        </a:rPr>
                        <a:t>5000</a:t>
                      </a:r>
                    </a:p>
                  </a:txBody>
                  <a:tcPr marL="9525" marR="9525" marT="9525" marB="0" anchor="b"/>
                </a:tc>
                <a:tc>
                  <a:txBody>
                    <a:bodyPr/>
                    <a:lstStyle/>
                    <a:p>
                      <a:pPr algn="l" fontAlgn="b"/>
                      <a:r>
                        <a:rPr lang="en-GB" sz="1000" b="0" i="0" u="none" strike="noStrike" dirty="0">
                          <a:solidFill>
                            <a:srgbClr val="000000"/>
                          </a:solidFill>
                          <a:effectLst/>
                          <a:latin typeface="+mn-lt"/>
                        </a:rPr>
                        <a:t>cycles</a:t>
                      </a:r>
                    </a:p>
                  </a:txBody>
                  <a:tcPr marL="9525" marR="9525" marT="9525" marB="0" anchor="b"/>
                </a:tc>
                <a:tc>
                  <a:txBody>
                    <a:bodyPr/>
                    <a:lstStyle/>
                    <a:p>
                      <a:pPr algn="l" fontAlgn="b"/>
                      <a:r>
                        <a:rPr lang="en-GB" sz="1000" b="0" i="0" u="none" strike="noStrike" dirty="0">
                          <a:solidFill>
                            <a:srgbClr val="000000"/>
                          </a:solidFill>
                          <a:effectLst/>
                          <a:latin typeface="+mn-lt"/>
                        </a:rPr>
                        <a:t>Maximum battery lifetime in battery cycles equivalent - one cycle is defined as charging up to max storage volume and then discharging all stored energy. This does not have to be done in one go - e.g. charging up to 75%, discharging to 0%, then charging up to 25% and discharging to 0% equals one cycle.</a:t>
                      </a:r>
                    </a:p>
                  </a:txBody>
                  <a:tcPr marL="9525" marR="9525" marT="9525" marB="0" anchor="b"/>
                </a:tc>
                <a:extLst>
                  <a:ext uri="{0D108BD9-81ED-4DB2-BD59-A6C34878D82A}">
                    <a16:rowId xmlns:a16="http://schemas.microsoft.com/office/drawing/2014/main" val="1677642134"/>
                  </a:ext>
                </a:extLst>
              </a:tr>
              <a:tr h="370840">
                <a:tc>
                  <a:txBody>
                    <a:bodyPr/>
                    <a:lstStyle/>
                    <a:p>
                      <a:pPr algn="l" fontAlgn="b"/>
                      <a:r>
                        <a:rPr lang="en-GB" sz="1000" b="0" i="0" u="none" strike="noStrike" dirty="0">
                          <a:solidFill>
                            <a:srgbClr val="000000"/>
                          </a:solidFill>
                          <a:effectLst/>
                          <a:latin typeface="+mn-lt"/>
                        </a:rPr>
                        <a:t>Storage volume degradation rate</a:t>
                      </a:r>
                    </a:p>
                  </a:txBody>
                  <a:tcPr marL="9525" marR="9525" marT="9525" marB="0" anchor="b"/>
                </a:tc>
                <a:tc>
                  <a:txBody>
                    <a:bodyPr/>
                    <a:lstStyle/>
                    <a:p>
                      <a:pPr algn="l" fontAlgn="b"/>
                      <a:r>
                        <a:rPr lang="en-GB" sz="1000" b="0" i="0" u="none" strike="noStrike">
                          <a:solidFill>
                            <a:srgbClr val="000000"/>
                          </a:solidFill>
                          <a:effectLst/>
                          <a:latin typeface="+mn-lt"/>
                        </a:rPr>
                        <a:t>0.001</a:t>
                      </a:r>
                    </a:p>
                  </a:txBody>
                  <a:tcPr marL="9525" marR="9525" marT="9525" marB="0" anchor="b"/>
                </a:tc>
                <a:tc>
                  <a:txBody>
                    <a:bodyPr/>
                    <a:lstStyle/>
                    <a:p>
                      <a:pPr algn="l" fontAlgn="b"/>
                      <a:r>
                        <a:rPr lang="en-GB" sz="1000" b="0" i="0" u="none" strike="noStrike" dirty="0">
                          <a:solidFill>
                            <a:srgbClr val="000000"/>
                          </a:solidFill>
                          <a:effectLst/>
                          <a:latin typeface="+mn-lt"/>
                        </a:rPr>
                        <a:t>%/cycle</a:t>
                      </a:r>
                    </a:p>
                  </a:txBody>
                  <a:tcPr marL="9525" marR="9525" marT="9525" marB="0" anchor="b"/>
                </a:tc>
                <a:tc>
                  <a:txBody>
                    <a:bodyPr/>
                    <a:lstStyle/>
                    <a:p>
                      <a:pPr algn="l" fontAlgn="b"/>
                      <a:r>
                        <a:rPr lang="en-GB" sz="1000" b="0" i="0" u="none" strike="noStrike" dirty="0">
                          <a:solidFill>
                            <a:srgbClr val="000000"/>
                          </a:solidFill>
                          <a:effectLst/>
                          <a:latin typeface="+mn-lt"/>
                        </a:rPr>
                        <a:t>Percentage loss of storage volume per battery cycle (note: in %, not as a fraction)</a:t>
                      </a:r>
                    </a:p>
                  </a:txBody>
                  <a:tcPr marL="9525" marR="9525" marT="9525" marB="0" anchor="b"/>
                </a:tc>
                <a:extLst>
                  <a:ext uri="{0D108BD9-81ED-4DB2-BD59-A6C34878D82A}">
                    <a16:rowId xmlns:a16="http://schemas.microsoft.com/office/drawing/2014/main" val="3984155239"/>
                  </a:ext>
                </a:extLst>
              </a:tr>
              <a:tr h="370840">
                <a:tc>
                  <a:txBody>
                    <a:bodyPr/>
                    <a:lstStyle/>
                    <a:p>
                      <a:pPr algn="l" fontAlgn="b"/>
                      <a:r>
                        <a:rPr lang="en-GB" sz="1000" b="0" i="0" u="none" strike="noStrike" dirty="0">
                          <a:solidFill>
                            <a:srgbClr val="000000"/>
                          </a:solidFill>
                          <a:effectLst/>
                          <a:latin typeface="+mn-lt"/>
                        </a:rPr>
                        <a:t>Capex</a:t>
                      </a:r>
                    </a:p>
                  </a:txBody>
                  <a:tcPr marL="9525" marR="9525" marT="9525" marB="0" anchor="b"/>
                </a:tc>
                <a:tc>
                  <a:txBody>
                    <a:bodyPr/>
                    <a:lstStyle/>
                    <a:p>
                      <a:pPr algn="l" fontAlgn="b"/>
                      <a:r>
                        <a:rPr lang="en-GB" sz="1000" b="0" i="0" u="none" strike="noStrike">
                          <a:solidFill>
                            <a:srgbClr val="000000"/>
                          </a:solidFill>
                          <a:effectLst/>
                          <a:latin typeface="+mn-lt"/>
                        </a:rPr>
                        <a:t>500000</a:t>
                      </a:r>
                    </a:p>
                  </a:txBody>
                  <a:tcPr marL="9525" marR="9525" marT="9525" marB="0" anchor="b"/>
                </a:tc>
                <a:tc>
                  <a:txBody>
                    <a:bodyPr/>
                    <a:lstStyle/>
                    <a:p>
                      <a:pPr algn="l" fontAlgn="b"/>
                      <a:r>
                        <a:rPr lang="en-GB" sz="1000" b="0" i="0" u="none" strike="noStrike" dirty="0">
                          <a:solidFill>
                            <a:srgbClr val="000000"/>
                          </a:solidFill>
                          <a:effectLst/>
                          <a:latin typeface="+mn-lt"/>
                        </a:rPr>
                        <a:t>£</a:t>
                      </a:r>
                    </a:p>
                  </a:txBody>
                  <a:tcPr marL="9525" marR="9525" marT="9525" marB="0" anchor="b"/>
                </a:tc>
                <a:tc>
                  <a:txBody>
                    <a:bodyPr/>
                    <a:lstStyle/>
                    <a:p>
                      <a:pPr algn="l" fontAlgn="b"/>
                      <a:r>
                        <a:rPr lang="en-GB" sz="1000" b="0" i="0" u="none" strike="noStrike" dirty="0">
                          <a:solidFill>
                            <a:srgbClr val="000000"/>
                          </a:solidFill>
                          <a:effectLst/>
                          <a:latin typeface="+mn-lt"/>
                        </a:rPr>
                        <a:t>Cost of purchasing and installing the battery</a:t>
                      </a:r>
                    </a:p>
                  </a:txBody>
                  <a:tcPr marL="9525" marR="9525" marT="9525" marB="0" anchor="b"/>
                </a:tc>
                <a:extLst>
                  <a:ext uri="{0D108BD9-81ED-4DB2-BD59-A6C34878D82A}">
                    <a16:rowId xmlns:a16="http://schemas.microsoft.com/office/drawing/2014/main" val="3952797373"/>
                  </a:ext>
                </a:extLst>
              </a:tr>
              <a:tr h="370840">
                <a:tc>
                  <a:txBody>
                    <a:bodyPr/>
                    <a:lstStyle/>
                    <a:p>
                      <a:pPr algn="l" fontAlgn="b"/>
                      <a:r>
                        <a:rPr lang="en-GB" sz="1000" b="0" i="0" u="none" strike="noStrike" dirty="0">
                          <a:solidFill>
                            <a:srgbClr val="000000"/>
                          </a:solidFill>
                          <a:effectLst/>
                          <a:latin typeface="+mn-lt"/>
                        </a:rPr>
                        <a:t>Fixed Operational Costs</a:t>
                      </a:r>
                    </a:p>
                  </a:txBody>
                  <a:tcPr marL="9525" marR="9525" marT="9525" marB="0" anchor="b"/>
                </a:tc>
                <a:tc>
                  <a:txBody>
                    <a:bodyPr/>
                    <a:lstStyle/>
                    <a:p>
                      <a:pPr algn="l" fontAlgn="b"/>
                      <a:r>
                        <a:rPr lang="en-GB" sz="1000" b="0" i="0" u="none" strike="noStrike">
                          <a:solidFill>
                            <a:srgbClr val="000000"/>
                          </a:solidFill>
                          <a:effectLst/>
                          <a:latin typeface="+mn-lt"/>
                        </a:rPr>
                        <a:t>£5,000</a:t>
                      </a:r>
                    </a:p>
                  </a:txBody>
                  <a:tcPr marL="9525" marR="9525" marT="9525" marB="0" anchor="b"/>
                </a:tc>
                <a:tc>
                  <a:txBody>
                    <a:bodyPr/>
                    <a:lstStyle/>
                    <a:p>
                      <a:pPr algn="l" fontAlgn="b"/>
                      <a:r>
                        <a:rPr lang="en-GB" sz="1000" b="0" i="0" u="none" strike="noStrike" dirty="0">
                          <a:solidFill>
                            <a:srgbClr val="000000"/>
                          </a:solidFill>
                          <a:effectLst/>
                          <a:latin typeface="+mn-lt"/>
                        </a:rPr>
                        <a:t>£/year</a:t>
                      </a:r>
                    </a:p>
                  </a:txBody>
                  <a:tcPr marL="9525" marR="9525" marT="9525" marB="0" anchor="b"/>
                </a:tc>
                <a:tc>
                  <a:txBody>
                    <a:bodyPr/>
                    <a:lstStyle/>
                    <a:p>
                      <a:pPr algn="l" fontAlgn="b"/>
                      <a:r>
                        <a:rPr lang="en-GB" sz="1000" b="0" i="0" u="none" strike="noStrike" dirty="0">
                          <a:solidFill>
                            <a:srgbClr val="000000"/>
                          </a:solidFill>
                          <a:effectLst/>
                          <a:latin typeface="+mn-lt"/>
                        </a:rPr>
                        <a:t>Annual overhead costs for operating the battery in electricity markets</a:t>
                      </a:r>
                    </a:p>
                  </a:txBody>
                  <a:tcPr marL="9525" marR="9525" marT="9525" marB="0" anchor="b"/>
                </a:tc>
                <a:extLst>
                  <a:ext uri="{0D108BD9-81ED-4DB2-BD59-A6C34878D82A}">
                    <a16:rowId xmlns:a16="http://schemas.microsoft.com/office/drawing/2014/main" val="2094256960"/>
                  </a:ext>
                </a:extLst>
              </a:tr>
            </a:tbl>
          </a:graphicData>
        </a:graphic>
      </p:graphicFrame>
    </p:spTree>
    <p:extLst>
      <p:ext uri="{BB962C8B-B14F-4D97-AF65-F5344CB8AC3E}">
        <p14:creationId xmlns:p14="http://schemas.microsoft.com/office/powerpoint/2010/main" val="30345841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extLst>
              <p:ext uri="{D42A27DB-BD31-4B8C-83A1-F6EECF244321}">
                <p14:modId xmlns:p14="http://schemas.microsoft.com/office/powerpoint/2010/main" val="3310164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3"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a:extLst>
              <a:ext uri="{FF2B5EF4-FFF2-40B4-BE49-F238E27FC236}">
                <a16:creationId xmlns:a16="http://schemas.microsoft.com/office/drawing/2014/main" id="{88AC21D3-3A7A-41C4-8F81-AD6200B2B4AE}"/>
              </a:ext>
            </a:extLst>
          </p:cNvPr>
          <p:cNvSpPr>
            <a:spLocks noGrp="1"/>
          </p:cNvSpPr>
          <p:nvPr>
            <p:ph type="body" sz="quarter" idx="27"/>
          </p:nvPr>
        </p:nvSpPr>
        <p:spPr>
          <a:xfrm>
            <a:off x="381001" y="1169043"/>
            <a:ext cx="11428800" cy="6304290"/>
          </a:xfrm>
        </p:spPr>
        <p:txBody>
          <a:bodyPr vert="horz" lIns="0" tIns="0" rIns="0" bIns="0" rtlCol="0" anchor="t">
            <a:spAutoFit/>
          </a:bodyPr>
          <a:lstStyle/>
          <a:p>
            <a:endParaRPr lang="en-GB" b="0" i="0" dirty="0">
              <a:solidFill>
                <a:srgbClr val="172B4D"/>
              </a:solidFill>
              <a:effectLst/>
              <a:latin typeface="+mj-lt"/>
            </a:endParaRPr>
          </a:p>
          <a:p>
            <a:pPr marL="171450" indent="-171450">
              <a:buFont typeface="Arial" panose="020B0604020202020204" pitchFamily="34" charset="0"/>
              <a:buChar char="•"/>
            </a:pPr>
            <a:r>
              <a:rPr lang="en-GB" b="0" i="0" dirty="0">
                <a:effectLst/>
                <a:latin typeface="+mn-lt"/>
              </a:rPr>
              <a:t>The battery is a price-taker i.e. </a:t>
            </a:r>
            <a:r>
              <a:rPr lang="en-GB" dirty="0">
                <a:latin typeface="+mn-lt"/>
              </a:rPr>
              <a:t>the actions of the battery have no impact on market prices.</a:t>
            </a:r>
          </a:p>
          <a:p>
            <a:pPr marL="171450" indent="-171450">
              <a:buFont typeface="Arial" panose="020B0604020202020204" pitchFamily="34" charset="0"/>
              <a:buChar char="•"/>
            </a:pPr>
            <a:r>
              <a:rPr lang="en-GB" b="0" i="0" dirty="0">
                <a:effectLst/>
                <a:latin typeface="+mn-lt"/>
              </a:rPr>
              <a:t>The battery is able to </a:t>
            </a:r>
            <a:r>
              <a:rPr lang="en-GB" dirty="0">
                <a:latin typeface="+mn-lt"/>
              </a:rPr>
              <a:t>trade across 3 wholesale electricity markets, with prices included in the data file. </a:t>
            </a:r>
          </a:p>
          <a:p>
            <a:pPr marL="352425" lvl="1" indent="-171450">
              <a:buFont typeface="Arial" panose="020B0604020202020204" pitchFamily="34" charset="0"/>
              <a:buChar char="•"/>
            </a:pPr>
            <a:r>
              <a:rPr lang="en-GB" b="0" i="0" dirty="0">
                <a:effectLst/>
                <a:latin typeface="+mn-lt"/>
              </a:rPr>
              <a:t>Battery can choose to provide some power for some duration of time – if battery provides 5MW of power for 30 m</a:t>
            </a:r>
            <a:r>
              <a:rPr lang="en-GB" dirty="0">
                <a:latin typeface="+mn-lt"/>
              </a:rPr>
              <a:t>inutes at a market price of 50 £/MWh, it would be paid £125 (5 * 0.5 * 50). </a:t>
            </a:r>
          </a:p>
          <a:p>
            <a:pPr marL="171450" indent="-171450">
              <a:buFont typeface="Arial" panose="020B0604020202020204" pitchFamily="34" charset="0"/>
              <a:buChar char="•"/>
            </a:pPr>
            <a:r>
              <a:rPr lang="en-GB" b="0" i="0" dirty="0">
                <a:effectLst/>
                <a:latin typeface="+mn-lt"/>
              </a:rPr>
              <a:t>The battery can import/export any amount of power up to its maximum charge/discharge rate for any duration of time, as long as it has sufficient remaining storage capacity/energy stored to do so</a:t>
            </a:r>
          </a:p>
          <a:p>
            <a:pPr marL="171450" indent="-171450">
              <a:buFont typeface="Arial" panose="020B0604020202020204" pitchFamily="34" charset="0"/>
              <a:buChar char="•"/>
            </a:pPr>
            <a:r>
              <a:rPr lang="en-GB" b="0" i="0" dirty="0">
                <a:effectLst/>
                <a:latin typeface="+mn-lt"/>
              </a:rPr>
              <a:t>The battery cannot simultaneously charge and discharge to arbitrage between markets e.g. charge in Market 1 whilst discharge in Market 2 in the same time period.</a:t>
            </a:r>
          </a:p>
          <a:p>
            <a:pPr marL="171450" indent="-171450">
              <a:buFont typeface="Arial" panose="020B0604020202020204" pitchFamily="34" charset="0"/>
              <a:buChar char="•"/>
            </a:pPr>
            <a:r>
              <a:rPr lang="en-GB" b="0" i="0" dirty="0">
                <a:effectLst/>
                <a:latin typeface="+mn-lt"/>
              </a:rPr>
              <a:t>Markets 1 and 2 are traded at half-hourly time granularity, whereas Market 3 is traded at daily granularity</a:t>
            </a:r>
          </a:p>
          <a:p>
            <a:pPr marL="742950" lvl="1" indent="-285750" algn="l">
              <a:buFont typeface="Arial" panose="020B0604020202020204" pitchFamily="34" charset="0"/>
              <a:buChar char="•"/>
            </a:pPr>
            <a:r>
              <a:rPr lang="en-GB" b="0" i="0" dirty="0">
                <a:effectLst/>
                <a:latin typeface="+mn-lt"/>
              </a:rPr>
              <a:t>This means that the price for Markets 1 and 2 changes from one half-hour to the next, whereas the price for Market 3 changes from one day to the next</a:t>
            </a:r>
          </a:p>
          <a:p>
            <a:pPr lvl="1">
              <a:buFont typeface="Arial" panose="020B0604020202020204" pitchFamily="34" charset="0"/>
              <a:buChar char="•"/>
            </a:pPr>
            <a:r>
              <a:rPr lang="en-GB" b="0" i="0" dirty="0">
                <a:effectLst/>
                <a:latin typeface="+mn-lt"/>
              </a:rPr>
              <a:t>The battery cannot sell the </a:t>
            </a:r>
            <a:r>
              <a:rPr lang="en-GB" b="0" i="1" dirty="0">
                <a:effectLst/>
                <a:latin typeface="+mn-lt"/>
              </a:rPr>
              <a:t>same </a:t>
            </a:r>
            <a:r>
              <a:rPr lang="en-GB" b="0" i="0" dirty="0">
                <a:effectLst/>
                <a:latin typeface="+mn-lt"/>
              </a:rPr>
              <a:t>unit of power into multiple markets, but can divide its power across the markets</a:t>
            </a:r>
          </a:p>
          <a:p>
            <a:pPr marL="742950" lvl="1" indent="-285750" algn="l">
              <a:buFont typeface="Arial" panose="020B0604020202020204" pitchFamily="34" charset="0"/>
              <a:buChar char="•"/>
            </a:pPr>
            <a:r>
              <a:rPr lang="en-GB" b="0" i="0" dirty="0">
                <a:effectLst/>
                <a:latin typeface="+mn-lt"/>
              </a:rPr>
              <a:t>e.g. a battery exporting 5MW of power may sell 2MW into Market 1 and 3MW into Market 2, but may </a:t>
            </a:r>
            <a:r>
              <a:rPr lang="en-GB" b="0" i="1" dirty="0">
                <a:effectLst/>
                <a:latin typeface="+mn-lt"/>
              </a:rPr>
              <a:t>not</a:t>
            </a:r>
            <a:r>
              <a:rPr lang="en-GB" b="0" i="0" dirty="0">
                <a:effectLst/>
                <a:latin typeface="+mn-lt"/>
              </a:rPr>
              <a:t> sell 5MW into both Markets 1 and 2</a:t>
            </a:r>
          </a:p>
          <a:p>
            <a:pPr lvl="1">
              <a:buFont typeface="Arial" panose="020B0604020202020204" pitchFamily="34" charset="0"/>
              <a:buChar char="•"/>
            </a:pPr>
            <a:r>
              <a:rPr lang="en-GB" b="0" i="0" dirty="0">
                <a:effectLst/>
                <a:latin typeface="+mn-lt"/>
              </a:rPr>
              <a:t>For the battery to participate in Markets 1 and 2, it must export/import a constant level of power for the full half-hour period</a:t>
            </a:r>
          </a:p>
          <a:p>
            <a:pPr lvl="1">
              <a:buFont typeface="Arial" panose="020B0604020202020204" pitchFamily="34" charset="0"/>
              <a:buChar char="•"/>
            </a:pPr>
            <a:r>
              <a:rPr lang="en-GB" b="0" i="0" dirty="0">
                <a:effectLst/>
                <a:latin typeface="+mn-lt"/>
              </a:rPr>
              <a:t>For the battery to participate in Market 3, it must export/import a constant level of power for the full day</a:t>
            </a:r>
          </a:p>
          <a:p>
            <a:pPr marL="742950" lvl="1" indent="-285750" algn="l">
              <a:buFont typeface="Arial" panose="020B0604020202020204" pitchFamily="34" charset="0"/>
              <a:buChar char="•"/>
            </a:pPr>
            <a:r>
              <a:rPr lang="en-GB" b="0" i="0" dirty="0">
                <a:effectLst/>
                <a:latin typeface="+mn-lt"/>
              </a:rPr>
              <a:t>i.e. it is not allowed to export/import for a few specific hours only</a:t>
            </a:r>
          </a:p>
          <a:p>
            <a:pPr marL="457200" lvl="1" indent="0" algn="l">
              <a:buNone/>
            </a:pPr>
            <a:endParaRPr lang="en-GB" dirty="0">
              <a:latin typeface="+mn-lt"/>
            </a:endParaRPr>
          </a:p>
          <a:p>
            <a:pPr marL="171450" indent="-171450">
              <a:buFont typeface="Arial" panose="020B0604020202020204" pitchFamily="34" charset="0"/>
              <a:buChar char="•"/>
            </a:pPr>
            <a:r>
              <a:rPr lang="en-GB" b="0" i="0" dirty="0">
                <a:effectLst/>
                <a:latin typeface="+mn-lt"/>
              </a:rPr>
              <a:t>Do not expect you to source any additional data than that provided. </a:t>
            </a:r>
          </a:p>
          <a:p>
            <a:pPr marL="171450" indent="-171450">
              <a:buFont typeface="Arial" panose="020B0604020202020204" pitchFamily="34" charset="0"/>
              <a:buChar char="•"/>
            </a:pPr>
            <a:r>
              <a:rPr lang="en-GB" dirty="0">
                <a:latin typeface="+mn-lt"/>
              </a:rPr>
              <a:t>You are not required to use all the data provided. </a:t>
            </a:r>
          </a:p>
          <a:p>
            <a:pPr marL="171450" indent="-171450">
              <a:buFont typeface="Arial" panose="020B0604020202020204" pitchFamily="34" charset="0"/>
              <a:buChar char="•"/>
            </a:pPr>
            <a:r>
              <a:rPr lang="en-GB" dirty="0">
                <a:latin typeface="+mn-lt"/>
              </a:rPr>
              <a:t>In building the optimisation model feel free to use any available libraries or external solvers.</a:t>
            </a:r>
          </a:p>
          <a:p>
            <a:pPr marL="457200" lvl="1" indent="0" algn="l">
              <a:buNone/>
            </a:pPr>
            <a:endParaRPr lang="en-GB" b="0" i="0" dirty="0">
              <a:solidFill>
                <a:srgbClr val="172B4D"/>
              </a:solidFill>
              <a:effectLst/>
              <a:latin typeface="+mj-lt"/>
            </a:endParaRPr>
          </a:p>
          <a:p>
            <a:pPr marL="561975" indent="-285750">
              <a:buFont typeface="Arial" panose="020B0604020202020204" pitchFamily="34" charset="0"/>
              <a:buChar char="•"/>
            </a:pPr>
            <a:endParaRPr lang="en-GB" dirty="0">
              <a:solidFill>
                <a:srgbClr val="172B4D"/>
              </a:solidFill>
              <a:latin typeface="+mj-lt"/>
            </a:endParaRPr>
          </a:p>
          <a:p>
            <a:pPr marL="742950" lvl="1" indent="-285750" algn="l">
              <a:buFont typeface="Arial" panose="020B0604020202020204" pitchFamily="34" charset="0"/>
              <a:buChar char="•"/>
            </a:pPr>
            <a:endParaRPr lang="en-GB" b="0" i="0" dirty="0">
              <a:solidFill>
                <a:srgbClr val="172B4D"/>
              </a:solidFill>
              <a:effectLst/>
              <a:latin typeface="+mj-lt"/>
            </a:endParaRPr>
          </a:p>
          <a:p>
            <a:pPr marL="171450" indent="-171450">
              <a:buFont typeface="Arial" panose="020B0604020202020204" pitchFamily="34" charset="0"/>
              <a:buChar char="•"/>
            </a:pPr>
            <a:endParaRPr lang="en-GB" b="0" i="0" dirty="0">
              <a:solidFill>
                <a:srgbClr val="172B4D"/>
              </a:solidFill>
              <a:effectLst/>
              <a:latin typeface="+mj-lt"/>
            </a:endParaRPr>
          </a:p>
          <a:p>
            <a:pPr marL="171450" indent="-171450">
              <a:buFont typeface="Arial" panose="020B0604020202020204" pitchFamily="34" charset="0"/>
              <a:buChar char="•"/>
            </a:pPr>
            <a:endParaRPr lang="en-GB" b="0" i="0" dirty="0">
              <a:solidFill>
                <a:srgbClr val="172B4D"/>
              </a:solidFill>
              <a:effectLst/>
              <a:latin typeface="+mj-lt"/>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y points</a:t>
            </a: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293148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633CF-3337-4A16-A7F5-63B9974ED2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1"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3AE633CF-3337-4A16-A7F5-63B9974ED2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85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5"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79330F-1C01-4A7B-8111-20A132A05C2E}"/>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 name="Text Placeholder 5">
            <a:extLst>
              <a:ext uri="{FF2B5EF4-FFF2-40B4-BE49-F238E27FC236}">
                <a16:creationId xmlns:a16="http://schemas.microsoft.com/office/drawing/2014/main" id="{2C448B90-8FE6-4AB7-BF75-5A8D9ADD80E4}"/>
              </a:ext>
            </a:extLst>
          </p:cNvPr>
          <p:cNvSpPr>
            <a:spLocks noGrp="1"/>
          </p:cNvSpPr>
          <p:nvPr>
            <p:ph type="body" sz="quarter" idx="28"/>
          </p:nvPr>
        </p:nvSpPr>
        <p:spPr>
          <a:xfrm>
            <a:off x="-19050" y="1322202"/>
            <a:ext cx="12192000" cy="355799"/>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7"/>
          </p:nvPr>
        </p:nvSpPr>
        <p:spPr>
          <a:xfrm>
            <a:off x="381000" y="1348181"/>
            <a:ext cx="11428411" cy="1200329"/>
          </a:xfrm>
        </p:spPr>
        <p:txBody>
          <a:bodyPr/>
          <a:lstStyle/>
          <a:p>
            <a:r>
              <a:rPr lang="en-GB" dirty="0"/>
              <a:t>Introduction</a:t>
            </a:r>
          </a:p>
          <a:p>
            <a:r>
              <a:rPr lang="en-GB" dirty="0"/>
              <a:t>About Aurora Energy Research</a:t>
            </a:r>
          </a:p>
          <a:p>
            <a:r>
              <a:rPr lang="en-GB" dirty="0"/>
              <a:t>Modelling problem	</a:t>
            </a:r>
          </a:p>
        </p:txBody>
      </p:sp>
    </p:spTree>
    <p:extLst>
      <p:ext uri="{BB962C8B-B14F-4D97-AF65-F5344CB8AC3E}">
        <p14:creationId xmlns:p14="http://schemas.microsoft.com/office/powerpoint/2010/main" val="13601798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extLst>
              <p:ext uri="{D42A27DB-BD31-4B8C-83A1-F6EECF244321}">
                <p14:modId xmlns:p14="http://schemas.microsoft.com/office/powerpoint/2010/main" val="2088305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2"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Text Placeholder 1">
            <a:extLst>
              <a:ext uri="{FF2B5EF4-FFF2-40B4-BE49-F238E27FC236}">
                <a16:creationId xmlns:a16="http://schemas.microsoft.com/office/drawing/2014/main" id="{88AC21D3-3A7A-41C4-8F81-AD6200B2B4AE}"/>
              </a:ext>
            </a:extLst>
          </p:cNvPr>
          <p:cNvSpPr>
            <a:spLocks noGrp="1"/>
          </p:cNvSpPr>
          <p:nvPr>
            <p:ph type="body" sz="quarter" idx="27"/>
          </p:nvPr>
        </p:nvSpPr>
        <p:spPr>
          <a:xfrm>
            <a:off x="2991774" y="1269240"/>
            <a:ext cx="6977849" cy="3139321"/>
          </a:xfrm>
        </p:spPr>
        <p:txBody>
          <a:bodyPr vert="horz" wrap="square" lIns="0" tIns="0" rIns="0" bIns="0" rtlCol="0" anchor="t">
            <a:spAutoFit/>
          </a:bodyPr>
          <a:lstStyle/>
          <a:p>
            <a:pPr marL="171450" indent="-171450">
              <a:buFont typeface="Arial" panose="020B0604020202020204" pitchFamily="34" charset="0"/>
              <a:buChar char="•"/>
            </a:pPr>
            <a:r>
              <a:rPr lang="en-GB" dirty="0">
                <a:latin typeface="+mj-lt"/>
              </a:rPr>
              <a:t>Graduated in 2011 with </a:t>
            </a:r>
            <a:r>
              <a:rPr lang="en-GB" dirty="0" err="1">
                <a:latin typeface="+mj-lt"/>
              </a:rPr>
              <a:t>MSci</a:t>
            </a:r>
            <a:r>
              <a:rPr lang="en-GB" dirty="0">
                <a:latin typeface="+mj-lt"/>
              </a:rPr>
              <a:t> in Maths &amp; Physics.</a:t>
            </a:r>
          </a:p>
          <a:p>
            <a:endParaRPr lang="en-GB" dirty="0">
              <a:latin typeface="+mj-lt"/>
            </a:endParaRPr>
          </a:p>
          <a:p>
            <a:pPr marL="171450" indent="-171450">
              <a:buFont typeface="Arial" panose="020B0604020202020204" pitchFamily="34" charset="0"/>
              <a:buChar char="•"/>
            </a:pPr>
            <a:r>
              <a:rPr lang="en-GB" dirty="0">
                <a:latin typeface="+mj-lt"/>
              </a:rPr>
              <a:t>Completed PhD in 2015 titled “Mathematical modelling of electronic contact mechanisms in silicon photovoltaic cells”.</a:t>
            </a:r>
          </a:p>
          <a:p>
            <a:pPr marL="171450" indent="-171450">
              <a:buFont typeface="Arial" panose="020B0604020202020204" pitchFamily="34" charset="0"/>
              <a:buChar char="•"/>
            </a:pPr>
            <a:endParaRPr lang="en-GB" dirty="0">
              <a:latin typeface="+mj-lt"/>
            </a:endParaRPr>
          </a:p>
          <a:p>
            <a:pPr marL="171450" indent="-171450">
              <a:buFont typeface="Arial" panose="020B0604020202020204" pitchFamily="34" charset="0"/>
              <a:buChar char="•"/>
            </a:pPr>
            <a:r>
              <a:rPr lang="en-GB" dirty="0">
                <a:latin typeface="+mj-lt"/>
              </a:rPr>
              <a:t>Worked at National Physical Laboratory in modelling and simulation department as a Higher Research Scientist for 1 year.</a:t>
            </a:r>
          </a:p>
          <a:p>
            <a:pPr marL="171450" indent="-171450">
              <a:buFont typeface="Arial" panose="020B0604020202020204" pitchFamily="34" charset="0"/>
              <a:buChar char="•"/>
            </a:pPr>
            <a:endParaRPr lang="en-GB" dirty="0">
              <a:latin typeface="+mj-lt"/>
            </a:endParaRPr>
          </a:p>
          <a:p>
            <a:pPr marL="171450" indent="-171450">
              <a:buFont typeface="Arial" panose="020B0604020202020204" pitchFamily="34" charset="0"/>
              <a:buChar char="•"/>
            </a:pPr>
            <a:r>
              <a:rPr lang="en-GB" dirty="0">
                <a:latin typeface="+mj-lt"/>
              </a:rPr>
              <a:t>Joined Aurora Energy Research in 2016 when was in start-up phase (~25 employees).</a:t>
            </a:r>
          </a:p>
          <a:p>
            <a:pPr marL="171450" indent="-171450">
              <a:buFont typeface="Arial" panose="020B0604020202020204" pitchFamily="34" charset="0"/>
              <a:buChar char="•"/>
            </a:pPr>
            <a:endParaRPr lang="en-GB" dirty="0">
              <a:latin typeface="+mj-lt"/>
            </a:endParaRPr>
          </a:p>
          <a:p>
            <a:pPr marL="171450" indent="-171450">
              <a:buFont typeface="Arial" panose="020B0604020202020204" pitchFamily="34" charset="0"/>
              <a:buChar char="•"/>
            </a:pPr>
            <a:r>
              <a:rPr lang="en-GB" dirty="0">
                <a:latin typeface="+mj-lt"/>
              </a:rPr>
              <a:t>Now manage a team of 30 modellers located in Oxford &amp; Sydney. </a:t>
            </a:r>
          </a:p>
          <a:p>
            <a:pPr marL="171450" indent="-171450">
              <a:buFont typeface="Arial" panose="020B0604020202020204" pitchFamily="34" charset="0"/>
              <a:buChar char="•"/>
            </a:pPr>
            <a:endParaRPr lang="en-GB" dirty="0">
              <a:latin typeface="+mj-lt"/>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noProof="0" dirty="0"/>
              <a:t>Introduction</a:t>
            </a:r>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aphicFrame>
        <p:nvGraphicFramePr>
          <p:cNvPr id="11" name="Table 5">
            <a:extLst>
              <a:ext uri="{FF2B5EF4-FFF2-40B4-BE49-F238E27FC236}">
                <a16:creationId xmlns:a16="http://schemas.microsoft.com/office/drawing/2014/main" id="{73F0AF11-DEB5-4F73-81DB-B16480C87256}"/>
              </a:ext>
            </a:extLst>
          </p:cNvPr>
          <p:cNvGraphicFramePr>
            <a:graphicFrameLocks noGrp="1"/>
          </p:cNvGraphicFramePr>
          <p:nvPr>
            <p:extLst>
              <p:ext uri="{D42A27DB-BD31-4B8C-83A1-F6EECF244321}">
                <p14:modId xmlns:p14="http://schemas.microsoft.com/office/powerpoint/2010/main" val="1531967837"/>
              </p:ext>
            </p:extLst>
          </p:nvPr>
        </p:nvGraphicFramePr>
        <p:xfrm>
          <a:off x="242573" y="1269240"/>
          <a:ext cx="2216542" cy="3093038"/>
        </p:xfrm>
        <a:graphic>
          <a:graphicData uri="http://schemas.openxmlformats.org/drawingml/2006/table">
            <a:tbl>
              <a:tblPr firstRow="1" bandRow="1">
                <a:tableStyleId>{5C22544A-7EE6-4342-B048-85BDC9FD1C3A}</a:tableStyleId>
              </a:tblPr>
              <a:tblGrid>
                <a:gridCol w="2216542">
                  <a:extLst>
                    <a:ext uri="{9D8B030D-6E8A-4147-A177-3AD203B41FA5}">
                      <a16:colId xmlns:a16="http://schemas.microsoft.com/office/drawing/2014/main" val="1883244522"/>
                    </a:ext>
                  </a:extLst>
                </a:gridCol>
              </a:tblGrid>
              <a:tr h="2083374">
                <a:tc>
                  <a:txBody>
                    <a:bodyPr/>
                    <a:lstStyle/>
                    <a:p>
                      <a:endParaRPr lang="en-GB"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46474618"/>
                  </a:ext>
                </a:extLst>
              </a:tr>
              <a:tr h="323429">
                <a:tc>
                  <a:txBody>
                    <a:bodyPr/>
                    <a:lstStyle/>
                    <a:p>
                      <a:pPr algn="ctr"/>
                      <a:r>
                        <a:rPr lang="en-GB" sz="1400" b="1" dirty="0"/>
                        <a:t>Jonathan Black</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514283965"/>
                  </a:ext>
                </a:extLst>
              </a:tr>
              <a:tr h="686235">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1"/>
                          </a:solidFill>
                          <a:effectLst/>
                          <a:uLnTx/>
                          <a:uFillTx/>
                          <a:latin typeface="+mn-lt"/>
                          <a:ea typeface="+mn-ea"/>
                          <a:cs typeface="+mn-cs"/>
                        </a:rPr>
                        <a:t>Head of Modelling</a:t>
                      </a:r>
                      <a:endParaRPr lang="en-GB" sz="1400" b="1" dirty="0">
                        <a:solidFill>
                          <a:schemeClr val="accent1"/>
                        </a:solidFill>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370941594"/>
                  </a:ext>
                </a:extLst>
              </a:tr>
            </a:tbl>
          </a:graphicData>
        </a:graphic>
      </p:graphicFrame>
      <p:pic>
        <p:nvPicPr>
          <p:cNvPr id="5" name="Picture 4" descr="A person wearing glasses&#10;&#10;Description automatically generated with medium confidence">
            <a:extLst>
              <a:ext uri="{FF2B5EF4-FFF2-40B4-BE49-F238E27FC236}">
                <a16:creationId xmlns:a16="http://schemas.microsoft.com/office/drawing/2014/main" id="{EE253715-D293-46F0-A6A4-31C8B804F65F}"/>
              </a:ext>
            </a:extLst>
          </p:cNvPr>
          <p:cNvPicPr>
            <a:picLocks noChangeAspect="1"/>
          </p:cNvPicPr>
          <p:nvPr/>
        </p:nvPicPr>
        <p:blipFill>
          <a:blip r:embed="rId8"/>
          <a:stretch>
            <a:fillRect/>
          </a:stretch>
        </p:blipFill>
        <p:spPr>
          <a:xfrm>
            <a:off x="455695" y="1269241"/>
            <a:ext cx="1858780" cy="1864576"/>
          </a:xfrm>
          <a:prstGeom prst="rect">
            <a:avLst/>
          </a:prstGeom>
        </p:spPr>
      </p:pic>
    </p:spTree>
    <p:extLst>
      <p:ext uri="{BB962C8B-B14F-4D97-AF65-F5344CB8AC3E}">
        <p14:creationId xmlns:p14="http://schemas.microsoft.com/office/powerpoint/2010/main" val="2564533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9"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79330F-1C01-4A7B-8111-20A132A05C2E}"/>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 name="Text Placeholder 5">
            <a:extLst>
              <a:ext uri="{FF2B5EF4-FFF2-40B4-BE49-F238E27FC236}">
                <a16:creationId xmlns:a16="http://schemas.microsoft.com/office/drawing/2014/main" id="{2C448B90-8FE6-4AB7-BF75-5A8D9ADD80E4}"/>
              </a:ext>
            </a:extLst>
          </p:cNvPr>
          <p:cNvSpPr>
            <a:spLocks noGrp="1"/>
          </p:cNvSpPr>
          <p:nvPr>
            <p:ph type="body" sz="quarter" idx="28"/>
          </p:nvPr>
        </p:nvSpPr>
        <p:spPr>
          <a:xfrm>
            <a:off x="0" y="1770445"/>
            <a:ext cx="12192000" cy="355799"/>
          </a:xfrm>
        </p:spPr>
        <p:txBody>
          <a:bodyPr/>
          <a:lstStyle/>
          <a:p>
            <a:endParaRPr lang="en-GB"/>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7"/>
          </p:nvPr>
        </p:nvSpPr>
        <p:spPr>
          <a:xfrm>
            <a:off x="381000" y="1348181"/>
            <a:ext cx="11428411" cy="1200329"/>
          </a:xfrm>
        </p:spPr>
        <p:txBody>
          <a:bodyPr/>
          <a:lstStyle/>
          <a:p>
            <a:r>
              <a:rPr lang="en-GB" dirty="0"/>
              <a:t>Introduction</a:t>
            </a:r>
          </a:p>
          <a:p>
            <a:r>
              <a:rPr lang="en-GB" dirty="0"/>
              <a:t>About Aurora Energy Research</a:t>
            </a:r>
          </a:p>
          <a:p>
            <a:r>
              <a:rPr lang="en-GB" dirty="0"/>
              <a:t>Modelling problem	</a:t>
            </a:r>
          </a:p>
        </p:txBody>
      </p:sp>
    </p:spTree>
    <p:extLst>
      <p:ext uri="{BB962C8B-B14F-4D97-AF65-F5344CB8AC3E}">
        <p14:creationId xmlns:p14="http://schemas.microsoft.com/office/powerpoint/2010/main" val="3611033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D2A52A-2285-4711-8089-8524B824C1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6" imgW="347" imgH="348" progId="TCLayout.ActiveDocument.1">
                  <p:embed/>
                </p:oleObj>
              </mc:Choice>
              <mc:Fallback>
                <p:oleObj name="think-cell Slide" r:id="rId46" imgW="347" imgH="348" progId="TCLayout.ActiveDocument.1">
                  <p:embed/>
                  <p:pic>
                    <p:nvPicPr>
                      <p:cNvPr id="8" name="Object 7" hidden="1">
                        <a:extLst>
                          <a:ext uri="{FF2B5EF4-FFF2-40B4-BE49-F238E27FC236}">
                            <a16:creationId xmlns:a16="http://schemas.microsoft.com/office/drawing/2014/main" id="{FAD2A52A-2285-4711-8089-8524B824C1FA}"/>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89B2F7A4-B1A3-4FEF-9CEB-28D928FBA8D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863926F4-C29A-4206-9AF5-98D330EC09EA}"/>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4" name="Title 3">
            <a:extLst>
              <a:ext uri="{FF2B5EF4-FFF2-40B4-BE49-F238E27FC236}">
                <a16:creationId xmlns:a16="http://schemas.microsoft.com/office/drawing/2014/main" id="{9890F4A8-B07B-4DC0-9DF2-726F6AF2D3C2}"/>
              </a:ext>
            </a:extLst>
          </p:cNvPr>
          <p:cNvSpPr>
            <a:spLocks noGrp="1"/>
          </p:cNvSpPr>
          <p:nvPr>
            <p:ph type="title"/>
          </p:nvPr>
        </p:nvSpPr>
        <p:spPr>
          <a:xfrm>
            <a:off x="381599" y="411856"/>
            <a:ext cx="8600471" cy="609398"/>
          </a:xfrm>
        </p:spPr>
        <p:txBody>
          <a:bodyPr vert="horz"/>
          <a:lstStyle/>
          <a:p>
            <a:r>
              <a:rPr lang="en-GB"/>
              <a:t>Aurora provides data-driven intelligence for the global energy transformation</a:t>
            </a:r>
          </a:p>
        </p:txBody>
      </p:sp>
      <p:sp>
        <p:nvSpPr>
          <p:cNvPr id="7" name="Text Placeholder 6">
            <a:extLst>
              <a:ext uri="{FF2B5EF4-FFF2-40B4-BE49-F238E27FC236}">
                <a16:creationId xmlns:a16="http://schemas.microsoft.com/office/drawing/2014/main" id="{C0F0E131-1E56-49F7-9D40-2A96268BFB65}"/>
              </a:ext>
            </a:extLst>
          </p:cNvPr>
          <p:cNvSpPr>
            <a:spLocks noGrp="1"/>
          </p:cNvSpPr>
          <p:nvPr>
            <p:ph type="body" sz="quarter" idx="32"/>
          </p:nvPr>
        </p:nvSpPr>
        <p:spPr>
          <a:xfrm>
            <a:off x="381600" y="6474841"/>
            <a:ext cx="11428800" cy="110800"/>
          </a:xfrm>
        </p:spPr>
        <p:txBody>
          <a:bodyPr/>
          <a:lstStyle/>
          <a:p>
            <a:endParaRPr lang="en-GB"/>
          </a:p>
        </p:txBody>
      </p:sp>
      <p:sp>
        <p:nvSpPr>
          <p:cNvPr id="6" name="Text Placeholder 5">
            <a:extLst>
              <a:ext uri="{FF2B5EF4-FFF2-40B4-BE49-F238E27FC236}">
                <a16:creationId xmlns:a16="http://schemas.microsoft.com/office/drawing/2014/main" id="{0439859C-6E91-4204-921E-388C15A32F0A}"/>
              </a:ext>
            </a:extLst>
          </p:cNvPr>
          <p:cNvSpPr>
            <a:spLocks noGrp="1"/>
          </p:cNvSpPr>
          <p:nvPr>
            <p:ph type="body" sz="quarter" idx="31"/>
          </p:nvPr>
        </p:nvSpPr>
        <p:spPr>
          <a:xfrm>
            <a:off x="381599" y="79401"/>
            <a:ext cx="924933" cy="184666"/>
          </a:xfrm>
        </p:spPr>
        <p:txBody>
          <a:bodyPr/>
          <a:lstStyle/>
          <a:p>
            <a:r>
              <a:rPr lang="en-GB"/>
              <a:t>About Aurora</a:t>
            </a:r>
          </a:p>
        </p:txBody>
      </p:sp>
      <p:sp>
        <p:nvSpPr>
          <p:cNvPr id="17" name="TextBox 16">
            <a:extLst>
              <a:ext uri="{FF2B5EF4-FFF2-40B4-BE49-F238E27FC236}">
                <a16:creationId xmlns:a16="http://schemas.microsoft.com/office/drawing/2014/main" id="{F47F6EE7-4F30-4F59-95D0-A28767DB3433}"/>
              </a:ext>
            </a:extLst>
          </p:cNvPr>
          <p:cNvSpPr txBox="1"/>
          <p:nvPr/>
        </p:nvSpPr>
        <p:spPr>
          <a:xfrm>
            <a:off x="9276005" y="1506739"/>
            <a:ext cx="2704266" cy="784830"/>
          </a:xfrm>
          <a:prstGeom prst="rect">
            <a:avLst/>
          </a:prstGeom>
          <a:noFill/>
        </p:spPr>
        <p:txBody>
          <a:bodyPr wrap="none" lIns="0" tIns="0" rIns="0" bIns="0" rtlCol="0">
            <a:spAutoFit/>
          </a:bodyPr>
          <a:lstStyle>
            <a:defPPr>
              <a:defRPr lang="en-US"/>
            </a:defPPr>
            <a:lvl1pPr>
              <a:spcAft>
                <a:spcPts val="600"/>
              </a:spcAft>
              <a:defRPr sz="4800"/>
            </a:lvl1pPr>
          </a:lstStyle>
          <a:p>
            <a:pPr>
              <a:spcAft>
                <a:spcPts val="0"/>
              </a:spcAft>
            </a:pPr>
            <a:r>
              <a:rPr lang="en-GB" sz="36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 </a:t>
            </a:r>
            <a:r>
              <a:rPr lang="en-GB" sz="24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ffices</a:t>
            </a:r>
          </a:p>
          <a:p>
            <a:pPr>
              <a:spcAft>
                <a:spcPts val="0"/>
              </a:spcAft>
            </a:pPr>
            <a:r>
              <a:rPr lang="en-GB" sz="15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xford | Berlin | Sydney | Austin</a:t>
            </a:r>
          </a:p>
        </p:txBody>
      </p:sp>
      <p:sp>
        <p:nvSpPr>
          <p:cNvPr id="21" name="TextBox 20">
            <a:extLst>
              <a:ext uri="{FF2B5EF4-FFF2-40B4-BE49-F238E27FC236}">
                <a16:creationId xmlns:a16="http://schemas.microsoft.com/office/drawing/2014/main" id="{380C0AD3-096D-4016-BCE8-DA44FBE47885}"/>
              </a:ext>
            </a:extLst>
          </p:cNvPr>
          <p:cNvSpPr txBox="1"/>
          <p:nvPr/>
        </p:nvSpPr>
        <p:spPr>
          <a:xfrm>
            <a:off x="9276005" y="2800765"/>
            <a:ext cx="1271182" cy="784830"/>
          </a:xfrm>
          <a:prstGeom prst="rect">
            <a:avLst/>
          </a:prstGeom>
          <a:noFill/>
        </p:spPr>
        <p:txBody>
          <a:bodyPr wrap="none" lIns="0" tIns="0" rIns="0" bIns="0" rtlCol="0">
            <a:spAutoFit/>
          </a:bodyPr>
          <a:lstStyle/>
          <a:p>
            <a:r>
              <a:rPr lang="en-GB" sz="36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80+</a:t>
            </a:r>
            <a:br>
              <a:rPr lang="en-GB" sz="48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5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rket experts</a:t>
            </a:r>
          </a:p>
        </p:txBody>
      </p:sp>
      <p:sp>
        <p:nvSpPr>
          <p:cNvPr id="23" name="TextBox 22">
            <a:extLst>
              <a:ext uri="{FF2B5EF4-FFF2-40B4-BE49-F238E27FC236}">
                <a16:creationId xmlns:a16="http://schemas.microsoft.com/office/drawing/2014/main" id="{50272D98-7577-4EEB-AB2B-53AC57BA180C}"/>
              </a:ext>
            </a:extLst>
          </p:cNvPr>
          <p:cNvSpPr txBox="1"/>
          <p:nvPr/>
        </p:nvSpPr>
        <p:spPr>
          <a:xfrm>
            <a:off x="9276005" y="4064698"/>
            <a:ext cx="1901161" cy="784830"/>
          </a:xfrm>
          <a:prstGeom prst="rect">
            <a:avLst/>
          </a:prstGeom>
          <a:noFill/>
        </p:spPr>
        <p:txBody>
          <a:bodyPr wrap="none" lIns="0" tIns="0" rIns="0" bIns="0" rtlCol="0">
            <a:spAutoFit/>
          </a:bodyPr>
          <a:lstStyle/>
          <a:p>
            <a:r>
              <a:rPr lang="en-GB" sz="36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350+</a:t>
            </a:r>
          </a:p>
          <a:p>
            <a:r>
              <a:rPr lang="en-GB" sz="15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ubscribing companies</a:t>
            </a:r>
          </a:p>
        </p:txBody>
      </p:sp>
      <p:sp>
        <p:nvSpPr>
          <p:cNvPr id="25" name="TextBox 24">
            <a:extLst>
              <a:ext uri="{FF2B5EF4-FFF2-40B4-BE49-F238E27FC236}">
                <a16:creationId xmlns:a16="http://schemas.microsoft.com/office/drawing/2014/main" id="{82F3A7A3-180E-4B07-96D9-930578AD2DEF}"/>
              </a:ext>
            </a:extLst>
          </p:cNvPr>
          <p:cNvSpPr txBox="1"/>
          <p:nvPr/>
        </p:nvSpPr>
        <p:spPr>
          <a:xfrm>
            <a:off x="9276005" y="5344178"/>
            <a:ext cx="2643352" cy="784830"/>
          </a:xfrm>
          <a:prstGeom prst="rect">
            <a:avLst/>
          </a:prstGeom>
          <a:noFill/>
        </p:spPr>
        <p:txBody>
          <a:bodyPr wrap="none" lIns="0" tIns="0" rIns="0" bIns="0" rtlCol="0">
            <a:spAutoFit/>
          </a:bodyPr>
          <a:lstStyle/>
          <a:p>
            <a:r>
              <a:rPr lang="en-GB" sz="36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100+</a:t>
            </a:r>
          </a:p>
          <a:p>
            <a:r>
              <a:rPr lang="en-GB" sz="15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ansactions supported in 2020</a:t>
            </a:r>
          </a:p>
        </p:txBody>
      </p:sp>
      <p:grpSp>
        <p:nvGrpSpPr>
          <p:cNvPr id="12" name="Group 11">
            <a:extLst>
              <a:ext uri="{FF2B5EF4-FFF2-40B4-BE49-F238E27FC236}">
                <a16:creationId xmlns:a16="http://schemas.microsoft.com/office/drawing/2014/main" id="{B3A45829-262A-47ED-A347-0FAF3AAF6F36}"/>
              </a:ext>
            </a:extLst>
          </p:cNvPr>
          <p:cNvGrpSpPr/>
          <p:nvPr/>
        </p:nvGrpSpPr>
        <p:grpSpPr>
          <a:xfrm>
            <a:off x="8384428" y="1599036"/>
            <a:ext cx="689112" cy="689112"/>
            <a:chOff x="7864083" y="1259656"/>
            <a:chExt cx="1107922" cy="1107922"/>
          </a:xfrm>
        </p:grpSpPr>
        <p:sp>
          <p:nvSpPr>
            <p:cNvPr id="604" name="Oval 603">
              <a:extLst>
                <a:ext uri="{FF2B5EF4-FFF2-40B4-BE49-F238E27FC236}">
                  <a16:creationId xmlns:a16="http://schemas.microsoft.com/office/drawing/2014/main" id="{855554A6-D527-4541-865D-CAA98D2F0017}"/>
                </a:ext>
              </a:extLst>
            </p:cNvPr>
            <p:cNvSpPr/>
            <p:nvPr/>
          </p:nvSpPr>
          <p:spPr>
            <a:xfrm>
              <a:off x="7864083" y="1259656"/>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75" name="Group 574">
              <a:extLst>
                <a:ext uri="{FF2B5EF4-FFF2-40B4-BE49-F238E27FC236}">
                  <a16:creationId xmlns:a16="http://schemas.microsoft.com/office/drawing/2014/main" id="{118F4472-3190-43CC-B7A1-B37CA137A445}"/>
                </a:ext>
              </a:extLst>
            </p:cNvPr>
            <p:cNvGrpSpPr/>
            <p:nvPr/>
          </p:nvGrpSpPr>
          <p:grpSpPr>
            <a:xfrm>
              <a:off x="8119782" y="1402473"/>
              <a:ext cx="559580" cy="766874"/>
              <a:chOff x="5516608" y="3536380"/>
              <a:chExt cx="767257" cy="1051485"/>
            </a:xfrm>
          </p:grpSpPr>
          <p:sp>
            <p:nvSpPr>
              <p:cNvPr id="573" name="Graphic 571">
                <a:extLst>
                  <a:ext uri="{FF2B5EF4-FFF2-40B4-BE49-F238E27FC236}">
                    <a16:creationId xmlns:a16="http://schemas.microsoft.com/office/drawing/2014/main" id="{2A29F676-5A73-4FDC-8DB9-CD34B230BBCA}"/>
                  </a:ext>
                </a:extLst>
              </p:cNvPr>
              <p:cNvSpPr/>
              <p:nvPr/>
            </p:nvSpPr>
            <p:spPr>
              <a:xfrm>
                <a:off x="5516608" y="3730615"/>
                <a:ext cx="767257" cy="857250"/>
              </a:xfrm>
              <a:custGeom>
                <a:avLst/>
                <a:gdLst>
                  <a:gd name="connsiteX0" fmla="*/ 130235 w 767257"/>
                  <a:gd name="connsiteY0" fmla="*/ 199863 h 857250"/>
                  <a:gd name="connsiteX1" fmla="*/ 170964 w 767257"/>
                  <a:gd name="connsiteY1" fmla="*/ 214541 h 857250"/>
                  <a:gd name="connsiteX2" fmla="*/ 183280 w 767257"/>
                  <a:gd name="connsiteY2" fmla="*/ 258118 h 857250"/>
                  <a:gd name="connsiteX3" fmla="*/ 168602 w 767257"/>
                  <a:gd name="connsiteY3" fmla="*/ 308324 h 857250"/>
                  <a:gd name="connsiteX4" fmla="*/ 155810 w 767257"/>
                  <a:gd name="connsiteY4" fmla="*/ 323002 h 857250"/>
                  <a:gd name="connsiteX5" fmla="*/ 192748 w 767257"/>
                  <a:gd name="connsiteY5" fmla="*/ 366579 h 857250"/>
                  <a:gd name="connsiteX6" fmla="*/ 177117 w 767257"/>
                  <a:gd name="connsiteY6" fmla="*/ 403993 h 857250"/>
                  <a:gd name="connsiteX7" fmla="*/ 166697 w 767257"/>
                  <a:gd name="connsiteY7" fmla="*/ 422462 h 857250"/>
                  <a:gd name="connsiteX8" fmla="*/ 164325 w 767257"/>
                  <a:gd name="connsiteY8" fmla="*/ 427673 h 857250"/>
                  <a:gd name="connsiteX9" fmla="*/ 168592 w 767257"/>
                  <a:gd name="connsiteY9" fmla="*/ 432406 h 857250"/>
                  <a:gd name="connsiteX10" fmla="*/ 186118 w 767257"/>
                  <a:gd name="connsiteY10" fmla="*/ 435731 h 857250"/>
                  <a:gd name="connsiteX11" fmla="*/ 215475 w 767257"/>
                  <a:gd name="connsiteY11" fmla="*/ 419157 h 857250"/>
                  <a:gd name="connsiteX12" fmla="*/ 220685 w 767257"/>
                  <a:gd name="connsiteY12" fmla="*/ 397364 h 857250"/>
                  <a:gd name="connsiteX13" fmla="*/ 248631 w 767257"/>
                  <a:gd name="connsiteY13" fmla="*/ 383162 h 857250"/>
                  <a:gd name="connsiteX14" fmla="*/ 283683 w 767257"/>
                  <a:gd name="connsiteY14" fmla="*/ 397364 h 857250"/>
                  <a:gd name="connsiteX15" fmla="*/ 305467 w 767257"/>
                  <a:gd name="connsiteY15" fmla="*/ 435264 h 857250"/>
                  <a:gd name="connsiteX16" fmla="*/ 269948 w 767257"/>
                  <a:gd name="connsiteY16" fmla="*/ 483565 h 857250"/>
                  <a:gd name="connsiteX17" fmla="*/ 242478 w 767257"/>
                  <a:gd name="connsiteY17" fmla="*/ 521922 h 857250"/>
                  <a:gd name="connsiteX18" fmla="*/ 246745 w 767257"/>
                  <a:gd name="connsiteY18" fmla="*/ 539934 h 857250"/>
                  <a:gd name="connsiteX19" fmla="*/ 261899 w 767257"/>
                  <a:gd name="connsiteY19" fmla="*/ 543249 h 857250"/>
                  <a:gd name="connsiteX20" fmla="*/ 289370 w 767257"/>
                  <a:gd name="connsiteY20" fmla="*/ 538505 h 857250"/>
                  <a:gd name="connsiteX21" fmla="*/ 318735 w 767257"/>
                  <a:gd name="connsiteY21" fmla="*/ 532829 h 857250"/>
                  <a:gd name="connsiteX22" fmla="*/ 341948 w 767257"/>
                  <a:gd name="connsiteY22" fmla="*/ 538505 h 857250"/>
                  <a:gd name="connsiteX23" fmla="*/ 354263 w 767257"/>
                  <a:gd name="connsiteY23" fmla="*/ 557451 h 857250"/>
                  <a:gd name="connsiteX24" fmla="*/ 343357 w 767257"/>
                  <a:gd name="connsiteY24" fmla="*/ 584445 h 857250"/>
                  <a:gd name="connsiteX25" fmla="*/ 334366 w 767257"/>
                  <a:gd name="connsiteY25" fmla="*/ 608609 h 857250"/>
                  <a:gd name="connsiteX26" fmla="*/ 352368 w 767257"/>
                  <a:gd name="connsiteY26" fmla="*/ 617601 h 857250"/>
                  <a:gd name="connsiteX27" fmla="*/ 388353 w 767257"/>
                  <a:gd name="connsiteY27" fmla="*/ 658330 h 857250"/>
                  <a:gd name="connsiteX28" fmla="*/ 379828 w 767257"/>
                  <a:gd name="connsiteY28" fmla="*/ 677742 h 857250"/>
                  <a:gd name="connsiteX29" fmla="*/ 415823 w 767257"/>
                  <a:gd name="connsiteY29" fmla="*/ 679637 h 857250"/>
                  <a:gd name="connsiteX30" fmla="*/ 548430 w 767257"/>
                  <a:gd name="connsiteY30" fmla="*/ 652643 h 857250"/>
                  <a:gd name="connsiteX31" fmla="*/ 546068 w 767257"/>
                  <a:gd name="connsiteY31" fmla="*/ 649319 h 857250"/>
                  <a:gd name="connsiteX32" fmla="*/ 520017 w 767257"/>
                  <a:gd name="connsiteY32" fmla="*/ 599113 h 857250"/>
                  <a:gd name="connsiteX33" fmla="*/ 584902 w 767257"/>
                  <a:gd name="connsiteY33" fmla="*/ 520494 h 857250"/>
                  <a:gd name="connsiteX34" fmla="*/ 637003 w 767257"/>
                  <a:gd name="connsiteY34" fmla="*/ 464134 h 857250"/>
                  <a:gd name="connsiteX35" fmla="*/ 610010 w 767257"/>
                  <a:gd name="connsiteY35" fmla="*/ 445665 h 857250"/>
                  <a:gd name="connsiteX36" fmla="*/ 531390 w 767257"/>
                  <a:gd name="connsiteY36" fmla="*/ 443294 h 857250"/>
                  <a:gd name="connsiteX37" fmla="*/ 449456 w 767257"/>
                  <a:gd name="connsiteY37" fmla="*/ 442827 h 857250"/>
                  <a:gd name="connsiteX38" fmla="*/ 401622 w 767257"/>
                  <a:gd name="connsiteY38" fmla="*/ 405879 h 857250"/>
                  <a:gd name="connsiteX39" fmla="*/ 424358 w 767257"/>
                  <a:gd name="connsiteY39" fmla="*/ 360874 h 857250"/>
                  <a:gd name="connsiteX40" fmla="*/ 439512 w 767257"/>
                  <a:gd name="connsiteY40" fmla="*/ 334832 h 857250"/>
                  <a:gd name="connsiteX41" fmla="*/ 405413 w 767257"/>
                  <a:gd name="connsiteY41" fmla="*/ 281311 h 857250"/>
                  <a:gd name="connsiteX42" fmla="*/ 362321 w 767257"/>
                  <a:gd name="connsiteY42" fmla="*/ 213122 h 857250"/>
                  <a:gd name="connsiteX43" fmla="*/ 436683 w 767257"/>
                  <a:gd name="connsiteY43" fmla="*/ 163382 h 857250"/>
                  <a:gd name="connsiteX44" fmla="*/ 541820 w 767257"/>
                  <a:gd name="connsiteY44" fmla="*/ 260947 h 857250"/>
                  <a:gd name="connsiteX45" fmla="*/ 557917 w 767257"/>
                  <a:gd name="connsiteY45" fmla="*/ 320621 h 857250"/>
                  <a:gd name="connsiteX46" fmla="*/ 579234 w 767257"/>
                  <a:gd name="connsiteY46" fmla="*/ 340995 h 857250"/>
                  <a:gd name="connsiteX47" fmla="*/ 610010 w 767257"/>
                  <a:gd name="connsiteY47" fmla="*/ 335785 h 857250"/>
                  <a:gd name="connsiteX48" fmla="*/ 642690 w 767257"/>
                  <a:gd name="connsiteY48" fmla="*/ 329155 h 857250"/>
                  <a:gd name="connsiteX49" fmla="*/ 701888 w 767257"/>
                  <a:gd name="connsiteY49" fmla="*/ 343843 h 857250"/>
                  <a:gd name="connsiteX50" fmla="*/ 719890 w 767257"/>
                  <a:gd name="connsiteY50" fmla="*/ 377466 h 857250"/>
                  <a:gd name="connsiteX51" fmla="*/ 727472 w 767257"/>
                  <a:gd name="connsiteY51" fmla="*/ 398307 h 857250"/>
                  <a:gd name="connsiteX52" fmla="*/ 739788 w 767257"/>
                  <a:gd name="connsiteY52" fmla="*/ 404936 h 857250"/>
                  <a:gd name="connsiteX53" fmla="*/ 743569 w 767257"/>
                  <a:gd name="connsiteY53" fmla="*/ 351415 h 857250"/>
                  <a:gd name="connsiteX54" fmla="*/ 742150 w 767257"/>
                  <a:gd name="connsiteY54" fmla="*/ 317316 h 857250"/>
                  <a:gd name="connsiteX55" fmla="*/ 744998 w 767257"/>
                  <a:gd name="connsiteY55" fmla="*/ 308791 h 857250"/>
                  <a:gd name="connsiteX56" fmla="*/ 753047 w 767257"/>
                  <a:gd name="connsiteY56" fmla="*/ 304533 h 857250"/>
                  <a:gd name="connsiteX57" fmla="*/ 761581 w 767257"/>
                  <a:gd name="connsiteY57" fmla="*/ 306896 h 857250"/>
                  <a:gd name="connsiteX58" fmla="*/ 765839 w 767257"/>
                  <a:gd name="connsiteY58" fmla="*/ 314954 h 857250"/>
                  <a:gd name="connsiteX59" fmla="*/ 767258 w 767257"/>
                  <a:gd name="connsiteY59" fmla="*/ 351415 h 857250"/>
                  <a:gd name="connsiteX60" fmla="*/ 761571 w 767257"/>
                  <a:gd name="connsiteY60" fmla="*/ 420567 h 857250"/>
                  <a:gd name="connsiteX61" fmla="*/ 664464 w 767257"/>
                  <a:gd name="connsiteY61" fmla="*/ 600075 h 857250"/>
                  <a:gd name="connsiteX62" fmla="*/ 572586 w 767257"/>
                  <a:gd name="connsiteY62" fmla="*/ 667331 h 857250"/>
                  <a:gd name="connsiteX63" fmla="*/ 415823 w 767257"/>
                  <a:gd name="connsiteY63" fmla="*/ 703326 h 857250"/>
                  <a:gd name="connsiteX64" fmla="*/ 354721 w 767257"/>
                  <a:gd name="connsiteY64" fmla="*/ 698116 h 857250"/>
                  <a:gd name="connsiteX65" fmla="*/ 167659 w 767257"/>
                  <a:gd name="connsiteY65" fmla="*/ 600075 h 857250"/>
                  <a:gd name="connsiteX66" fmla="*/ 64884 w 767257"/>
                  <a:gd name="connsiteY66" fmla="*/ 351425 h 857250"/>
                  <a:gd name="connsiteX67" fmla="*/ 92831 w 767257"/>
                  <a:gd name="connsiteY67" fmla="*/ 210760 h 857250"/>
                  <a:gd name="connsiteX68" fmla="*/ 136874 w 767257"/>
                  <a:gd name="connsiteY68" fmla="*/ 137827 h 857250"/>
                  <a:gd name="connsiteX69" fmla="*/ 144456 w 767257"/>
                  <a:gd name="connsiteY69" fmla="*/ 133083 h 857250"/>
                  <a:gd name="connsiteX70" fmla="*/ 153448 w 767257"/>
                  <a:gd name="connsiteY70" fmla="*/ 135455 h 857250"/>
                  <a:gd name="connsiteX71" fmla="*/ 158182 w 767257"/>
                  <a:gd name="connsiteY71" fmla="*/ 143513 h 857250"/>
                  <a:gd name="connsiteX72" fmla="*/ 155343 w 767257"/>
                  <a:gd name="connsiteY72" fmla="*/ 152038 h 857250"/>
                  <a:gd name="connsiteX73" fmla="*/ 124082 w 767257"/>
                  <a:gd name="connsiteY73" fmla="*/ 200349 h 857250"/>
                  <a:gd name="connsiteX74" fmla="*/ 130235 w 767257"/>
                  <a:gd name="connsiteY74" fmla="*/ 199863 h 857250"/>
                  <a:gd name="connsiteX75" fmla="*/ 112243 w 767257"/>
                  <a:gd name="connsiteY75" fmla="*/ 225914 h 857250"/>
                  <a:gd name="connsiteX76" fmla="*/ 88573 w 767257"/>
                  <a:gd name="connsiteY76" fmla="*/ 351425 h 857250"/>
                  <a:gd name="connsiteX77" fmla="*/ 184242 w 767257"/>
                  <a:gd name="connsiteY77" fmla="*/ 583502 h 857250"/>
                  <a:gd name="connsiteX78" fmla="*/ 352368 w 767257"/>
                  <a:gd name="connsiteY78" fmla="*/ 673960 h 857250"/>
                  <a:gd name="connsiteX79" fmla="*/ 364674 w 767257"/>
                  <a:gd name="connsiteY79" fmla="*/ 657387 h 857250"/>
                  <a:gd name="connsiteX80" fmla="*/ 347634 w 767257"/>
                  <a:gd name="connsiteY80" fmla="*/ 640813 h 857250"/>
                  <a:gd name="connsiteX81" fmla="*/ 311163 w 767257"/>
                  <a:gd name="connsiteY81" fmla="*/ 608609 h 857250"/>
                  <a:gd name="connsiteX82" fmla="*/ 322059 w 767257"/>
                  <a:gd name="connsiteY82" fmla="*/ 574500 h 857250"/>
                  <a:gd name="connsiteX83" fmla="*/ 329165 w 767257"/>
                  <a:gd name="connsiteY83" fmla="*/ 558403 h 857250"/>
                  <a:gd name="connsiteX84" fmla="*/ 318745 w 767257"/>
                  <a:gd name="connsiteY84" fmla="*/ 556517 h 857250"/>
                  <a:gd name="connsiteX85" fmla="*/ 295065 w 767257"/>
                  <a:gd name="connsiteY85" fmla="*/ 561727 h 857250"/>
                  <a:gd name="connsiteX86" fmla="*/ 261918 w 767257"/>
                  <a:gd name="connsiteY86" fmla="*/ 566928 h 857250"/>
                  <a:gd name="connsiteX87" fmla="*/ 230191 w 767257"/>
                  <a:gd name="connsiteY87" fmla="*/ 557460 h 857250"/>
                  <a:gd name="connsiteX88" fmla="*/ 218827 w 767257"/>
                  <a:gd name="connsiteY88" fmla="*/ 521941 h 857250"/>
                  <a:gd name="connsiteX89" fmla="*/ 254346 w 767257"/>
                  <a:gd name="connsiteY89" fmla="*/ 466058 h 857250"/>
                  <a:gd name="connsiteX90" fmla="*/ 281816 w 767257"/>
                  <a:gd name="connsiteY90" fmla="*/ 434330 h 857250"/>
                  <a:gd name="connsiteX91" fmla="*/ 269034 w 767257"/>
                  <a:gd name="connsiteY91" fmla="*/ 415862 h 857250"/>
                  <a:gd name="connsiteX92" fmla="*/ 248660 w 767257"/>
                  <a:gd name="connsiteY92" fmla="*/ 406870 h 857250"/>
                  <a:gd name="connsiteX93" fmla="*/ 242040 w 767257"/>
                  <a:gd name="connsiteY93" fmla="*/ 408280 h 857250"/>
                  <a:gd name="connsiteX94" fmla="*/ 238716 w 767257"/>
                  <a:gd name="connsiteY94" fmla="*/ 423443 h 857250"/>
                  <a:gd name="connsiteX95" fmla="*/ 186147 w 767257"/>
                  <a:gd name="connsiteY95" fmla="*/ 459438 h 857250"/>
                  <a:gd name="connsiteX96" fmla="*/ 157734 w 767257"/>
                  <a:gd name="connsiteY96" fmla="*/ 453276 h 857250"/>
                  <a:gd name="connsiteX97" fmla="*/ 141161 w 767257"/>
                  <a:gd name="connsiteY97" fmla="*/ 427234 h 857250"/>
                  <a:gd name="connsiteX98" fmla="*/ 157248 w 767257"/>
                  <a:gd name="connsiteY98" fmla="*/ 391239 h 857250"/>
                  <a:gd name="connsiteX99" fmla="*/ 169088 w 767257"/>
                  <a:gd name="connsiteY99" fmla="*/ 366617 h 857250"/>
                  <a:gd name="connsiteX100" fmla="*/ 164830 w 767257"/>
                  <a:gd name="connsiteY100" fmla="*/ 353349 h 857250"/>
                  <a:gd name="connsiteX101" fmla="*/ 134055 w 767257"/>
                  <a:gd name="connsiteY101" fmla="*/ 343881 h 857250"/>
                  <a:gd name="connsiteX102" fmla="*/ 124101 w 767257"/>
                  <a:gd name="connsiteY102" fmla="*/ 338195 h 857250"/>
                  <a:gd name="connsiteX103" fmla="*/ 123634 w 767257"/>
                  <a:gd name="connsiteY103" fmla="*/ 326831 h 857250"/>
                  <a:gd name="connsiteX104" fmla="*/ 151105 w 767257"/>
                  <a:gd name="connsiteY104" fmla="*/ 292246 h 857250"/>
                  <a:gd name="connsiteX105" fmla="*/ 159629 w 767257"/>
                  <a:gd name="connsiteY105" fmla="*/ 258156 h 857250"/>
                  <a:gd name="connsiteX106" fmla="*/ 153476 w 767257"/>
                  <a:gd name="connsiteY106" fmla="*/ 230210 h 857250"/>
                  <a:gd name="connsiteX107" fmla="*/ 130264 w 767257"/>
                  <a:gd name="connsiteY107" fmla="*/ 223571 h 857250"/>
                  <a:gd name="connsiteX108" fmla="*/ 112243 w 767257"/>
                  <a:gd name="connsiteY108" fmla="*/ 225914 h 857250"/>
                  <a:gd name="connsiteX109" fmla="*/ 309267 w 767257"/>
                  <a:gd name="connsiteY109" fmla="*/ 81458 h 857250"/>
                  <a:gd name="connsiteX110" fmla="*/ 367036 w 767257"/>
                  <a:gd name="connsiteY110" fmla="*/ 99470 h 857250"/>
                  <a:gd name="connsiteX111" fmla="*/ 385039 w 767257"/>
                  <a:gd name="connsiteY111" fmla="*/ 112728 h 857250"/>
                  <a:gd name="connsiteX112" fmla="*/ 400669 w 767257"/>
                  <a:gd name="connsiteY112" fmla="*/ 105623 h 857250"/>
                  <a:gd name="connsiteX113" fmla="*/ 415833 w 767257"/>
                  <a:gd name="connsiteY113" fmla="*/ 55416 h 857250"/>
                  <a:gd name="connsiteX114" fmla="*/ 411566 w 767257"/>
                  <a:gd name="connsiteY114" fmla="*/ 27003 h 857250"/>
                  <a:gd name="connsiteX115" fmla="*/ 411099 w 767257"/>
                  <a:gd name="connsiteY115" fmla="*/ 24165 h 857250"/>
                  <a:gd name="connsiteX116" fmla="*/ 222599 w 767257"/>
                  <a:gd name="connsiteY116" fmla="*/ 86678 h 857250"/>
                  <a:gd name="connsiteX117" fmla="*/ 232067 w 767257"/>
                  <a:gd name="connsiteY117" fmla="*/ 99936 h 857250"/>
                  <a:gd name="connsiteX118" fmla="*/ 248641 w 767257"/>
                  <a:gd name="connsiteY118" fmla="*/ 114624 h 857250"/>
                  <a:gd name="connsiteX119" fmla="*/ 252432 w 767257"/>
                  <a:gd name="connsiteY119" fmla="*/ 112728 h 857250"/>
                  <a:gd name="connsiteX120" fmla="*/ 264271 w 767257"/>
                  <a:gd name="connsiteY120" fmla="*/ 101832 h 857250"/>
                  <a:gd name="connsiteX121" fmla="*/ 309267 w 767257"/>
                  <a:gd name="connsiteY121" fmla="*/ 81458 h 857250"/>
                  <a:gd name="connsiteX122" fmla="*/ 281797 w 767257"/>
                  <a:gd name="connsiteY122" fmla="*/ 117929 h 857250"/>
                  <a:gd name="connsiteX123" fmla="*/ 248650 w 767257"/>
                  <a:gd name="connsiteY123" fmla="*/ 138293 h 857250"/>
                  <a:gd name="connsiteX124" fmla="*/ 213608 w 767257"/>
                  <a:gd name="connsiteY124" fmla="*/ 115091 h 857250"/>
                  <a:gd name="connsiteX125" fmla="*/ 204130 w 767257"/>
                  <a:gd name="connsiteY125" fmla="*/ 101356 h 857250"/>
                  <a:gd name="connsiteX126" fmla="*/ 198444 w 767257"/>
                  <a:gd name="connsiteY126" fmla="*/ 106566 h 857250"/>
                  <a:gd name="connsiteX127" fmla="*/ 181394 w 767257"/>
                  <a:gd name="connsiteY127" fmla="*/ 105613 h 857250"/>
                  <a:gd name="connsiteX128" fmla="*/ 178556 w 767257"/>
                  <a:gd name="connsiteY128" fmla="*/ 97088 h 857250"/>
                  <a:gd name="connsiteX129" fmla="*/ 182337 w 767257"/>
                  <a:gd name="connsiteY129" fmla="*/ 89030 h 857250"/>
                  <a:gd name="connsiteX130" fmla="*/ 200806 w 767257"/>
                  <a:gd name="connsiteY130" fmla="*/ 73400 h 857250"/>
                  <a:gd name="connsiteX131" fmla="*/ 415833 w 767257"/>
                  <a:gd name="connsiteY131" fmla="*/ 0 h 857250"/>
                  <a:gd name="connsiteX132" fmla="*/ 420567 w 767257"/>
                  <a:gd name="connsiteY132" fmla="*/ 0 h 857250"/>
                  <a:gd name="connsiteX133" fmla="*/ 421043 w 767257"/>
                  <a:gd name="connsiteY133" fmla="*/ 476 h 857250"/>
                  <a:gd name="connsiteX134" fmla="*/ 629898 w 767257"/>
                  <a:gd name="connsiteY134" fmla="*/ 72466 h 857250"/>
                  <a:gd name="connsiteX135" fmla="*/ 664474 w 767257"/>
                  <a:gd name="connsiteY135" fmla="*/ 103251 h 857250"/>
                  <a:gd name="connsiteX136" fmla="*/ 720357 w 767257"/>
                  <a:gd name="connsiteY136" fmla="*/ 173812 h 857250"/>
                  <a:gd name="connsiteX137" fmla="*/ 720357 w 767257"/>
                  <a:gd name="connsiteY137" fmla="*/ 174288 h 857250"/>
                  <a:gd name="connsiteX138" fmla="*/ 756828 w 767257"/>
                  <a:gd name="connsiteY138" fmla="*/ 262861 h 857250"/>
                  <a:gd name="connsiteX139" fmla="*/ 755409 w 767257"/>
                  <a:gd name="connsiteY139" fmla="*/ 271853 h 857250"/>
                  <a:gd name="connsiteX140" fmla="*/ 748303 w 767257"/>
                  <a:gd name="connsiteY140" fmla="*/ 277073 h 857250"/>
                  <a:gd name="connsiteX141" fmla="*/ 739311 w 767257"/>
                  <a:gd name="connsiteY141" fmla="*/ 275644 h 857250"/>
                  <a:gd name="connsiteX142" fmla="*/ 734101 w 767257"/>
                  <a:gd name="connsiteY142" fmla="*/ 268548 h 857250"/>
                  <a:gd name="connsiteX143" fmla="*/ 703317 w 767257"/>
                  <a:gd name="connsiteY143" fmla="*/ 192291 h 857250"/>
                  <a:gd name="connsiteX144" fmla="*/ 680114 w 767257"/>
                  <a:gd name="connsiteY144" fmla="*/ 194662 h 857250"/>
                  <a:gd name="connsiteX145" fmla="*/ 671579 w 767257"/>
                  <a:gd name="connsiteY145" fmla="*/ 201292 h 857250"/>
                  <a:gd name="connsiteX146" fmla="*/ 676789 w 767257"/>
                  <a:gd name="connsiteY146" fmla="*/ 219751 h 857250"/>
                  <a:gd name="connsiteX147" fmla="*/ 682943 w 767257"/>
                  <a:gd name="connsiteY147" fmla="*/ 248164 h 857250"/>
                  <a:gd name="connsiteX148" fmla="*/ 674884 w 767257"/>
                  <a:gd name="connsiteY148" fmla="*/ 272796 h 857250"/>
                  <a:gd name="connsiteX149" fmla="*/ 652634 w 767257"/>
                  <a:gd name="connsiteY149" fmla="*/ 281797 h 857250"/>
                  <a:gd name="connsiteX150" fmla="*/ 621373 w 767257"/>
                  <a:gd name="connsiteY150" fmla="*/ 275634 h 857250"/>
                  <a:gd name="connsiteX151" fmla="*/ 601475 w 767257"/>
                  <a:gd name="connsiteY151" fmla="*/ 247221 h 857250"/>
                  <a:gd name="connsiteX152" fmla="*/ 601475 w 767257"/>
                  <a:gd name="connsiteY152" fmla="*/ 245335 h 857250"/>
                  <a:gd name="connsiteX153" fmla="*/ 606209 w 767257"/>
                  <a:gd name="connsiteY153" fmla="*/ 213598 h 857250"/>
                  <a:gd name="connsiteX154" fmla="*/ 592950 w 767257"/>
                  <a:gd name="connsiteY154" fmla="*/ 179499 h 857250"/>
                  <a:gd name="connsiteX155" fmla="*/ 576853 w 767257"/>
                  <a:gd name="connsiteY155" fmla="*/ 133560 h 857250"/>
                  <a:gd name="connsiteX156" fmla="*/ 603847 w 767257"/>
                  <a:gd name="connsiteY156" fmla="*/ 82410 h 857250"/>
                  <a:gd name="connsiteX157" fmla="*/ 435245 w 767257"/>
                  <a:gd name="connsiteY157" fmla="*/ 24155 h 857250"/>
                  <a:gd name="connsiteX158" fmla="*/ 439503 w 767257"/>
                  <a:gd name="connsiteY158" fmla="*/ 55407 h 857250"/>
                  <a:gd name="connsiteX159" fmla="*/ 416290 w 767257"/>
                  <a:gd name="connsiteY159" fmla="*/ 123130 h 857250"/>
                  <a:gd name="connsiteX160" fmla="*/ 381238 w 767257"/>
                  <a:gd name="connsiteY160" fmla="*/ 136865 h 857250"/>
                  <a:gd name="connsiteX161" fmla="*/ 373666 w 767257"/>
                  <a:gd name="connsiteY161" fmla="*/ 134017 h 857250"/>
                  <a:gd name="connsiteX162" fmla="*/ 353301 w 767257"/>
                  <a:gd name="connsiteY162" fmla="*/ 118862 h 857250"/>
                  <a:gd name="connsiteX163" fmla="*/ 309258 w 767257"/>
                  <a:gd name="connsiteY163" fmla="*/ 105127 h 857250"/>
                  <a:gd name="connsiteX164" fmla="*/ 281797 w 767257"/>
                  <a:gd name="connsiteY164" fmla="*/ 117929 h 857250"/>
                  <a:gd name="connsiteX165" fmla="*/ 316363 w 767257"/>
                  <a:gd name="connsiteY165" fmla="*/ 230648 h 857250"/>
                  <a:gd name="connsiteX166" fmla="*/ 349987 w 767257"/>
                  <a:gd name="connsiteY166" fmla="*/ 242964 h 857250"/>
                  <a:gd name="connsiteX167" fmla="*/ 364665 w 767257"/>
                  <a:gd name="connsiteY167" fmla="*/ 275644 h 857250"/>
                  <a:gd name="connsiteX168" fmla="*/ 349987 w 767257"/>
                  <a:gd name="connsiteY168" fmla="*/ 307858 h 857250"/>
                  <a:gd name="connsiteX169" fmla="*/ 316363 w 767257"/>
                  <a:gd name="connsiteY169" fmla="*/ 321583 h 857250"/>
                  <a:gd name="connsiteX170" fmla="*/ 282264 w 767257"/>
                  <a:gd name="connsiteY170" fmla="*/ 307381 h 857250"/>
                  <a:gd name="connsiteX171" fmla="*/ 267586 w 767257"/>
                  <a:gd name="connsiteY171" fmla="*/ 275644 h 857250"/>
                  <a:gd name="connsiteX172" fmla="*/ 282264 w 767257"/>
                  <a:gd name="connsiteY172" fmla="*/ 242964 h 857250"/>
                  <a:gd name="connsiteX173" fmla="*/ 316363 w 767257"/>
                  <a:gd name="connsiteY173" fmla="*/ 230648 h 857250"/>
                  <a:gd name="connsiteX174" fmla="*/ 291275 w 767257"/>
                  <a:gd name="connsiteY174" fmla="*/ 275634 h 857250"/>
                  <a:gd name="connsiteX175" fmla="*/ 298371 w 767257"/>
                  <a:gd name="connsiteY175" fmla="*/ 290322 h 857250"/>
                  <a:gd name="connsiteX176" fmla="*/ 316373 w 767257"/>
                  <a:gd name="connsiteY176" fmla="*/ 297904 h 857250"/>
                  <a:gd name="connsiteX177" fmla="*/ 333899 w 767257"/>
                  <a:gd name="connsiteY177" fmla="*/ 290798 h 857250"/>
                  <a:gd name="connsiteX178" fmla="*/ 341005 w 767257"/>
                  <a:gd name="connsiteY178" fmla="*/ 275634 h 857250"/>
                  <a:gd name="connsiteX179" fmla="*/ 333899 w 767257"/>
                  <a:gd name="connsiteY179" fmla="*/ 260004 h 857250"/>
                  <a:gd name="connsiteX180" fmla="*/ 316373 w 767257"/>
                  <a:gd name="connsiteY180" fmla="*/ 254318 h 857250"/>
                  <a:gd name="connsiteX181" fmla="*/ 298371 w 767257"/>
                  <a:gd name="connsiteY181" fmla="*/ 260471 h 857250"/>
                  <a:gd name="connsiteX182" fmla="*/ 291275 w 767257"/>
                  <a:gd name="connsiteY182" fmla="*/ 275634 h 857250"/>
                  <a:gd name="connsiteX183" fmla="*/ 23679 w 767257"/>
                  <a:gd name="connsiteY183" fmla="*/ 344310 h 857250"/>
                  <a:gd name="connsiteX184" fmla="*/ 23679 w 767257"/>
                  <a:gd name="connsiteY184" fmla="*/ 350472 h 857250"/>
                  <a:gd name="connsiteX185" fmla="*/ 83363 w 767257"/>
                  <a:gd name="connsiteY185" fmla="*/ 559337 h 857250"/>
                  <a:gd name="connsiteX186" fmla="*/ 84773 w 767257"/>
                  <a:gd name="connsiteY186" fmla="*/ 568338 h 857250"/>
                  <a:gd name="connsiteX187" fmla="*/ 80039 w 767257"/>
                  <a:gd name="connsiteY187" fmla="*/ 575434 h 857250"/>
                  <a:gd name="connsiteX188" fmla="*/ 73409 w 767257"/>
                  <a:gd name="connsiteY188" fmla="*/ 577806 h 857250"/>
                  <a:gd name="connsiteX189" fmla="*/ 63465 w 767257"/>
                  <a:gd name="connsiteY189" fmla="*/ 572119 h 857250"/>
                  <a:gd name="connsiteX190" fmla="*/ 0 w 767257"/>
                  <a:gd name="connsiteY190" fmla="*/ 350463 h 857250"/>
                  <a:gd name="connsiteX191" fmla="*/ 0 w 767257"/>
                  <a:gd name="connsiteY191" fmla="*/ 344300 h 857250"/>
                  <a:gd name="connsiteX192" fmla="*/ 3791 w 767257"/>
                  <a:gd name="connsiteY192" fmla="*/ 335775 h 857250"/>
                  <a:gd name="connsiteX193" fmla="*/ 11840 w 767257"/>
                  <a:gd name="connsiteY193" fmla="*/ 332451 h 857250"/>
                  <a:gd name="connsiteX194" fmla="*/ 20374 w 767257"/>
                  <a:gd name="connsiteY194" fmla="*/ 335775 h 857250"/>
                  <a:gd name="connsiteX195" fmla="*/ 23679 w 767257"/>
                  <a:gd name="connsiteY195" fmla="*/ 344310 h 857250"/>
                  <a:gd name="connsiteX196" fmla="*/ 120291 w 767257"/>
                  <a:gd name="connsiteY196" fmla="*/ 608124 h 857250"/>
                  <a:gd name="connsiteX197" fmla="*/ 138293 w 767257"/>
                  <a:gd name="connsiteY197" fmla="*/ 627069 h 857250"/>
                  <a:gd name="connsiteX198" fmla="*/ 414404 w 767257"/>
                  <a:gd name="connsiteY198" fmla="*/ 741207 h 857250"/>
                  <a:gd name="connsiteX199" fmla="*/ 430035 w 767257"/>
                  <a:gd name="connsiteY199" fmla="*/ 741207 h 857250"/>
                  <a:gd name="connsiteX200" fmla="*/ 541801 w 767257"/>
                  <a:gd name="connsiteY200" fmla="*/ 721319 h 857250"/>
                  <a:gd name="connsiteX201" fmla="*/ 550802 w 767257"/>
                  <a:gd name="connsiteY201" fmla="*/ 722271 h 857250"/>
                  <a:gd name="connsiteX202" fmla="*/ 556955 w 767257"/>
                  <a:gd name="connsiteY202" fmla="*/ 728891 h 857250"/>
                  <a:gd name="connsiteX203" fmla="*/ 556012 w 767257"/>
                  <a:gd name="connsiteY203" fmla="*/ 737892 h 857250"/>
                  <a:gd name="connsiteX204" fmla="*/ 549383 w 767257"/>
                  <a:gd name="connsiteY204" fmla="*/ 744045 h 857250"/>
                  <a:gd name="connsiteX205" fmla="*/ 441874 w 767257"/>
                  <a:gd name="connsiteY205" fmla="*/ 764410 h 857250"/>
                  <a:gd name="connsiteX206" fmla="*/ 441874 w 767257"/>
                  <a:gd name="connsiteY206" fmla="*/ 833561 h 857250"/>
                  <a:gd name="connsiteX207" fmla="*/ 481660 w 767257"/>
                  <a:gd name="connsiteY207" fmla="*/ 833561 h 857250"/>
                  <a:gd name="connsiteX208" fmla="*/ 489709 w 767257"/>
                  <a:gd name="connsiteY208" fmla="*/ 836876 h 857250"/>
                  <a:gd name="connsiteX209" fmla="*/ 493500 w 767257"/>
                  <a:gd name="connsiteY209" fmla="*/ 845410 h 857250"/>
                  <a:gd name="connsiteX210" fmla="*/ 489709 w 767257"/>
                  <a:gd name="connsiteY210" fmla="*/ 853459 h 857250"/>
                  <a:gd name="connsiteX211" fmla="*/ 481660 w 767257"/>
                  <a:gd name="connsiteY211" fmla="*/ 857250 h 857250"/>
                  <a:gd name="connsiteX212" fmla="*/ 374152 w 767257"/>
                  <a:gd name="connsiteY212" fmla="*/ 857250 h 857250"/>
                  <a:gd name="connsiteX213" fmla="*/ 365617 w 767257"/>
                  <a:gd name="connsiteY213" fmla="*/ 853459 h 857250"/>
                  <a:gd name="connsiteX214" fmla="*/ 362302 w 767257"/>
                  <a:gd name="connsiteY214" fmla="*/ 845410 h 857250"/>
                  <a:gd name="connsiteX215" fmla="*/ 365617 w 767257"/>
                  <a:gd name="connsiteY215" fmla="*/ 836876 h 857250"/>
                  <a:gd name="connsiteX216" fmla="*/ 374152 w 767257"/>
                  <a:gd name="connsiteY216" fmla="*/ 833561 h 857250"/>
                  <a:gd name="connsiteX217" fmla="*/ 418195 w 767257"/>
                  <a:gd name="connsiteY217" fmla="*/ 833561 h 857250"/>
                  <a:gd name="connsiteX218" fmla="*/ 418195 w 767257"/>
                  <a:gd name="connsiteY218" fmla="*/ 764886 h 857250"/>
                  <a:gd name="connsiteX219" fmla="*/ 414414 w 767257"/>
                  <a:gd name="connsiteY219" fmla="*/ 764886 h 857250"/>
                  <a:gd name="connsiteX220" fmla="*/ 121720 w 767257"/>
                  <a:gd name="connsiteY220" fmla="*/ 643642 h 857250"/>
                  <a:gd name="connsiteX221" fmla="*/ 102775 w 767257"/>
                  <a:gd name="connsiteY221" fmla="*/ 623745 h 857250"/>
                  <a:gd name="connsiteX222" fmla="*/ 99936 w 767257"/>
                  <a:gd name="connsiteY222" fmla="*/ 615220 h 857250"/>
                  <a:gd name="connsiteX223" fmla="*/ 103718 w 767257"/>
                  <a:gd name="connsiteY223" fmla="*/ 607162 h 857250"/>
                  <a:gd name="connsiteX224" fmla="*/ 112243 w 767257"/>
                  <a:gd name="connsiteY224" fmla="*/ 604323 h 857250"/>
                  <a:gd name="connsiteX225" fmla="*/ 120291 w 767257"/>
                  <a:gd name="connsiteY225" fmla="*/ 608124 h 857250"/>
                  <a:gd name="connsiteX226" fmla="*/ 385991 w 767257"/>
                  <a:gd name="connsiteY226" fmla="*/ 213131 h 857250"/>
                  <a:gd name="connsiteX227" fmla="*/ 420091 w 767257"/>
                  <a:gd name="connsiteY227" fmla="*/ 262861 h 857250"/>
                  <a:gd name="connsiteX228" fmla="*/ 463182 w 767257"/>
                  <a:gd name="connsiteY228" fmla="*/ 334851 h 857250"/>
                  <a:gd name="connsiteX229" fmla="*/ 441398 w 767257"/>
                  <a:gd name="connsiteY229" fmla="*/ 377485 h 857250"/>
                  <a:gd name="connsiteX230" fmla="*/ 425301 w 767257"/>
                  <a:gd name="connsiteY230" fmla="*/ 405898 h 857250"/>
                  <a:gd name="connsiteX231" fmla="*/ 452295 w 767257"/>
                  <a:gd name="connsiteY231" fmla="*/ 419624 h 857250"/>
                  <a:gd name="connsiteX232" fmla="*/ 530914 w 767257"/>
                  <a:gd name="connsiteY232" fmla="*/ 420100 h 857250"/>
                  <a:gd name="connsiteX233" fmla="*/ 560280 w 767257"/>
                  <a:gd name="connsiteY233" fmla="*/ 419624 h 857250"/>
                  <a:gd name="connsiteX234" fmla="*/ 613791 w 767257"/>
                  <a:gd name="connsiteY234" fmla="*/ 422472 h 857250"/>
                  <a:gd name="connsiteX235" fmla="*/ 660683 w 767257"/>
                  <a:gd name="connsiteY235" fmla="*/ 464153 h 857250"/>
                  <a:gd name="connsiteX236" fmla="*/ 595798 w 767257"/>
                  <a:gd name="connsiteY236" fmla="*/ 541820 h 857250"/>
                  <a:gd name="connsiteX237" fmla="*/ 543697 w 767257"/>
                  <a:gd name="connsiteY237" fmla="*/ 599132 h 857250"/>
                  <a:gd name="connsiteX238" fmla="*/ 564537 w 767257"/>
                  <a:gd name="connsiteY238" fmla="*/ 634651 h 857250"/>
                  <a:gd name="connsiteX239" fmla="*/ 570224 w 767257"/>
                  <a:gd name="connsiteY239" fmla="*/ 641756 h 857250"/>
                  <a:gd name="connsiteX240" fmla="*/ 647891 w 767257"/>
                  <a:gd name="connsiteY240" fmla="*/ 583502 h 857250"/>
                  <a:gd name="connsiteX241" fmla="*/ 735511 w 767257"/>
                  <a:gd name="connsiteY241" fmla="*/ 428149 h 857250"/>
                  <a:gd name="connsiteX242" fmla="*/ 709927 w 767257"/>
                  <a:gd name="connsiteY242" fmla="*/ 414414 h 857250"/>
                  <a:gd name="connsiteX243" fmla="*/ 696668 w 767257"/>
                  <a:gd name="connsiteY243" fmla="*/ 382686 h 857250"/>
                  <a:gd name="connsiteX244" fmla="*/ 687191 w 767257"/>
                  <a:gd name="connsiteY244" fmla="*/ 362322 h 857250"/>
                  <a:gd name="connsiteX245" fmla="*/ 642671 w 767257"/>
                  <a:gd name="connsiteY245" fmla="*/ 352844 h 857250"/>
                  <a:gd name="connsiteX246" fmla="*/ 617572 w 767257"/>
                  <a:gd name="connsiteY246" fmla="*/ 358054 h 857250"/>
                  <a:gd name="connsiteX247" fmla="*/ 579215 w 767257"/>
                  <a:gd name="connsiteY247" fmla="*/ 364684 h 857250"/>
                  <a:gd name="connsiteX248" fmla="*/ 535638 w 767257"/>
                  <a:gd name="connsiteY248" fmla="*/ 329165 h 857250"/>
                  <a:gd name="connsiteX249" fmla="*/ 518589 w 767257"/>
                  <a:gd name="connsiteY249" fmla="*/ 267119 h 857250"/>
                  <a:gd name="connsiteX250" fmla="*/ 436655 w 767257"/>
                  <a:gd name="connsiteY250" fmla="*/ 187081 h 857250"/>
                  <a:gd name="connsiteX251" fmla="*/ 392135 w 767257"/>
                  <a:gd name="connsiteY251" fmla="*/ 197501 h 857250"/>
                  <a:gd name="connsiteX252" fmla="*/ 385991 w 767257"/>
                  <a:gd name="connsiteY252" fmla="*/ 213131 h 857250"/>
                  <a:gd name="connsiteX253" fmla="*/ 622783 w 767257"/>
                  <a:gd name="connsiteY253" fmla="*/ 97088 h 857250"/>
                  <a:gd name="connsiteX254" fmla="*/ 600532 w 767257"/>
                  <a:gd name="connsiteY254" fmla="*/ 133550 h 857250"/>
                  <a:gd name="connsiteX255" fmla="*/ 614258 w 767257"/>
                  <a:gd name="connsiteY255" fmla="*/ 169069 h 857250"/>
                  <a:gd name="connsiteX256" fmla="*/ 629888 w 767257"/>
                  <a:gd name="connsiteY256" fmla="*/ 214065 h 857250"/>
                  <a:gd name="connsiteX257" fmla="*/ 629888 w 767257"/>
                  <a:gd name="connsiteY257" fmla="*/ 215960 h 857250"/>
                  <a:gd name="connsiteX258" fmla="*/ 625154 w 767257"/>
                  <a:gd name="connsiteY258" fmla="*/ 247698 h 857250"/>
                  <a:gd name="connsiteX259" fmla="*/ 630841 w 767257"/>
                  <a:gd name="connsiteY259" fmla="*/ 254318 h 857250"/>
                  <a:gd name="connsiteX260" fmla="*/ 652634 w 767257"/>
                  <a:gd name="connsiteY260" fmla="*/ 258108 h 857250"/>
                  <a:gd name="connsiteX261" fmla="*/ 657368 w 767257"/>
                  <a:gd name="connsiteY261" fmla="*/ 256689 h 857250"/>
                  <a:gd name="connsiteX262" fmla="*/ 659254 w 767257"/>
                  <a:gd name="connsiteY262" fmla="*/ 248155 h 857250"/>
                  <a:gd name="connsiteX263" fmla="*/ 654520 w 767257"/>
                  <a:gd name="connsiteY263" fmla="*/ 227314 h 857250"/>
                  <a:gd name="connsiteX264" fmla="*/ 647891 w 767257"/>
                  <a:gd name="connsiteY264" fmla="*/ 201273 h 857250"/>
                  <a:gd name="connsiteX265" fmla="*/ 689096 w 767257"/>
                  <a:gd name="connsiteY265" fmla="*/ 169059 h 857250"/>
                  <a:gd name="connsiteX266" fmla="*/ 647891 w 767257"/>
                  <a:gd name="connsiteY266" fmla="*/ 119805 h 857250"/>
                  <a:gd name="connsiteX267" fmla="*/ 622783 w 767257"/>
                  <a:gd name="connsiteY267" fmla="*/ 97088 h 857250"/>
                  <a:gd name="connsiteX268" fmla="*/ 470297 w 767257"/>
                  <a:gd name="connsiteY268" fmla="*/ 490195 h 857250"/>
                  <a:gd name="connsiteX269" fmla="*/ 452771 w 767257"/>
                  <a:gd name="connsiteY269" fmla="*/ 496824 h 857250"/>
                  <a:gd name="connsiteX270" fmla="*/ 446141 w 767257"/>
                  <a:gd name="connsiteY270" fmla="*/ 512455 h 857250"/>
                  <a:gd name="connsiteX271" fmla="*/ 452771 w 767257"/>
                  <a:gd name="connsiteY271" fmla="*/ 526656 h 857250"/>
                  <a:gd name="connsiteX272" fmla="*/ 470297 w 767257"/>
                  <a:gd name="connsiteY272" fmla="*/ 533762 h 857250"/>
                  <a:gd name="connsiteX273" fmla="*/ 488299 w 767257"/>
                  <a:gd name="connsiteY273" fmla="*/ 527142 h 857250"/>
                  <a:gd name="connsiteX274" fmla="*/ 494919 w 767257"/>
                  <a:gd name="connsiteY274" fmla="*/ 512455 h 857250"/>
                  <a:gd name="connsiteX275" fmla="*/ 488299 w 767257"/>
                  <a:gd name="connsiteY275" fmla="*/ 496357 h 857250"/>
                  <a:gd name="connsiteX276" fmla="*/ 470297 w 767257"/>
                  <a:gd name="connsiteY276" fmla="*/ 490195 h 857250"/>
                  <a:gd name="connsiteX277" fmla="*/ 504396 w 767257"/>
                  <a:gd name="connsiteY277" fmla="*/ 479298 h 857250"/>
                  <a:gd name="connsiteX278" fmla="*/ 518598 w 767257"/>
                  <a:gd name="connsiteY278" fmla="*/ 512445 h 857250"/>
                  <a:gd name="connsiteX279" fmla="*/ 504396 w 767257"/>
                  <a:gd name="connsiteY279" fmla="*/ 544182 h 857250"/>
                  <a:gd name="connsiteX280" fmla="*/ 470297 w 767257"/>
                  <a:gd name="connsiteY280" fmla="*/ 557441 h 857250"/>
                  <a:gd name="connsiteX281" fmla="*/ 436674 w 767257"/>
                  <a:gd name="connsiteY281" fmla="*/ 543716 h 857250"/>
                  <a:gd name="connsiteX282" fmla="*/ 422462 w 767257"/>
                  <a:gd name="connsiteY282" fmla="*/ 512455 h 857250"/>
                  <a:gd name="connsiteX283" fmla="*/ 436674 w 767257"/>
                  <a:gd name="connsiteY283" fmla="*/ 479308 h 857250"/>
                  <a:gd name="connsiteX284" fmla="*/ 470297 w 767257"/>
                  <a:gd name="connsiteY284" fmla="*/ 466515 h 857250"/>
                  <a:gd name="connsiteX285" fmla="*/ 504396 w 767257"/>
                  <a:gd name="connsiteY285" fmla="*/ 479298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67257" h="857250">
                    <a:moveTo>
                      <a:pt x="130235" y="199863"/>
                    </a:moveTo>
                    <a:cubicBezTo>
                      <a:pt x="149181" y="199863"/>
                      <a:pt x="162763" y="204759"/>
                      <a:pt x="170964" y="214541"/>
                    </a:cubicBezTo>
                    <a:cubicBezTo>
                      <a:pt x="179175" y="224333"/>
                      <a:pt x="183280" y="238858"/>
                      <a:pt x="183280" y="258118"/>
                    </a:cubicBezTo>
                    <a:cubicBezTo>
                      <a:pt x="183280" y="280854"/>
                      <a:pt x="178384" y="297590"/>
                      <a:pt x="168602" y="308324"/>
                    </a:cubicBezTo>
                    <a:lnTo>
                      <a:pt x="155810" y="323002"/>
                    </a:lnTo>
                    <a:cubicBezTo>
                      <a:pt x="180442" y="329003"/>
                      <a:pt x="192748" y="343529"/>
                      <a:pt x="192748" y="366579"/>
                    </a:cubicBezTo>
                    <a:cubicBezTo>
                      <a:pt x="192748" y="375104"/>
                      <a:pt x="187538" y="387572"/>
                      <a:pt x="177117" y="403993"/>
                    </a:cubicBezTo>
                    <a:cubicBezTo>
                      <a:pt x="172383" y="411261"/>
                      <a:pt x="168907" y="417414"/>
                      <a:pt x="166697" y="422462"/>
                    </a:cubicBezTo>
                    <a:cubicBezTo>
                      <a:pt x="165430" y="425929"/>
                      <a:pt x="164640" y="427673"/>
                      <a:pt x="164325" y="427673"/>
                    </a:cubicBezTo>
                    <a:cubicBezTo>
                      <a:pt x="164640" y="427987"/>
                      <a:pt x="166068" y="429558"/>
                      <a:pt x="168592" y="432406"/>
                    </a:cubicBezTo>
                    <a:cubicBezTo>
                      <a:pt x="173641" y="434616"/>
                      <a:pt x="179489" y="435731"/>
                      <a:pt x="186118" y="435731"/>
                    </a:cubicBezTo>
                    <a:cubicBezTo>
                      <a:pt x="203473" y="435731"/>
                      <a:pt x="213274" y="430206"/>
                      <a:pt x="215475" y="419157"/>
                    </a:cubicBezTo>
                    <a:cubicBezTo>
                      <a:pt x="217370" y="408727"/>
                      <a:pt x="219104" y="401479"/>
                      <a:pt x="220685" y="397364"/>
                    </a:cubicBezTo>
                    <a:cubicBezTo>
                      <a:pt x="226047" y="387896"/>
                      <a:pt x="235372" y="383162"/>
                      <a:pt x="248631" y="383162"/>
                    </a:cubicBezTo>
                    <a:cubicBezTo>
                      <a:pt x="260318" y="383162"/>
                      <a:pt x="271996" y="387896"/>
                      <a:pt x="283683" y="397364"/>
                    </a:cubicBezTo>
                    <a:cubicBezTo>
                      <a:pt x="298199" y="408423"/>
                      <a:pt x="305467" y="421043"/>
                      <a:pt x="305467" y="435264"/>
                    </a:cubicBezTo>
                    <a:cubicBezTo>
                      <a:pt x="305467" y="445999"/>
                      <a:pt x="293627" y="462096"/>
                      <a:pt x="269948" y="483565"/>
                    </a:cubicBezTo>
                    <a:cubicBezTo>
                      <a:pt x="251641" y="500301"/>
                      <a:pt x="242478" y="513093"/>
                      <a:pt x="242478" y="521922"/>
                    </a:cubicBezTo>
                    <a:cubicBezTo>
                      <a:pt x="242478" y="532038"/>
                      <a:pt x="243897" y="538029"/>
                      <a:pt x="246745" y="539934"/>
                    </a:cubicBezTo>
                    <a:cubicBezTo>
                      <a:pt x="248945" y="542134"/>
                      <a:pt x="254003" y="543249"/>
                      <a:pt x="261899" y="543249"/>
                    </a:cubicBezTo>
                    <a:cubicBezTo>
                      <a:pt x="266633" y="543249"/>
                      <a:pt x="275787" y="541668"/>
                      <a:pt x="289370" y="538505"/>
                    </a:cubicBezTo>
                    <a:cubicBezTo>
                      <a:pt x="303886" y="534724"/>
                      <a:pt x="313687" y="532829"/>
                      <a:pt x="318735" y="532829"/>
                    </a:cubicBezTo>
                    <a:cubicBezTo>
                      <a:pt x="327260" y="532829"/>
                      <a:pt x="334994" y="534714"/>
                      <a:pt x="341948" y="538505"/>
                    </a:cubicBezTo>
                    <a:cubicBezTo>
                      <a:pt x="350149" y="543563"/>
                      <a:pt x="354263" y="549878"/>
                      <a:pt x="354263" y="557451"/>
                    </a:cubicBezTo>
                    <a:cubicBezTo>
                      <a:pt x="354263" y="559346"/>
                      <a:pt x="350625" y="568357"/>
                      <a:pt x="343357" y="584445"/>
                    </a:cubicBezTo>
                    <a:cubicBezTo>
                      <a:pt x="337995" y="597075"/>
                      <a:pt x="334994" y="605133"/>
                      <a:pt x="334366" y="608609"/>
                    </a:cubicBezTo>
                    <a:cubicBezTo>
                      <a:pt x="334680" y="612077"/>
                      <a:pt x="340681" y="615077"/>
                      <a:pt x="352368" y="617601"/>
                    </a:cubicBezTo>
                    <a:cubicBezTo>
                      <a:pt x="376361" y="622649"/>
                      <a:pt x="388353" y="636232"/>
                      <a:pt x="388353" y="658330"/>
                    </a:cubicBezTo>
                    <a:cubicBezTo>
                      <a:pt x="388353" y="663693"/>
                      <a:pt x="385515" y="670170"/>
                      <a:pt x="379828" y="677742"/>
                    </a:cubicBezTo>
                    <a:cubicBezTo>
                      <a:pt x="395611" y="679009"/>
                      <a:pt x="407613" y="679637"/>
                      <a:pt x="415823" y="679637"/>
                    </a:cubicBezTo>
                    <a:cubicBezTo>
                      <a:pt x="464125" y="679637"/>
                      <a:pt x="508330" y="670636"/>
                      <a:pt x="548430" y="652643"/>
                    </a:cubicBezTo>
                    <a:lnTo>
                      <a:pt x="546068" y="649319"/>
                    </a:lnTo>
                    <a:cubicBezTo>
                      <a:pt x="528695" y="626897"/>
                      <a:pt x="520017" y="610172"/>
                      <a:pt x="520017" y="599113"/>
                    </a:cubicBezTo>
                    <a:cubicBezTo>
                      <a:pt x="520017" y="570062"/>
                      <a:pt x="541649" y="543858"/>
                      <a:pt x="584902" y="520494"/>
                    </a:cubicBezTo>
                    <a:cubicBezTo>
                      <a:pt x="619630" y="501863"/>
                      <a:pt x="637003" y="483070"/>
                      <a:pt x="637003" y="464134"/>
                    </a:cubicBezTo>
                    <a:cubicBezTo>
                      <a:pt x="637003" y="455285"/>
                      <a:pt x="628012" y="449132"/>
                      <a:pt x="610010" y="445665"/>
                    </a:cubicBezTo>
                    <a:cubicBezTo>
                      <a:pt x="597065" y="443455"/>
                      <a:pt x="570862" y="442665"/>
                      <a:pt x="531390" y="443294"/>
                    </a:cubicBezTo>
                    <a:cubicBezTo>
                      <a:pt x="490023" y="444875"/>
                      <a:pt x="462715" y="444713"/>
                      <a:pt x="449456" y="442827"/>
                    </a:cubicBezTo>
                    <a:cubicBezTo>
                      <a:pt x="417557" y="439036"/>
                      <a:pt x="401622" y="426720"/>
                      <a:pt x="401622" y="405879"/>
                    </a:cubicBezTo>
                    <a:cubicBezTo>
                      <a:pt x="401622" y="391030"/>
                      <a:pt x="409204" y="376037"/>
                      <a:pt x="424358" y="360874"/>
                    </a:cubicBezTo>
                    <a:cubicBezTo>
                      <a:pt x="434464" y="350139"/>
                      <a:pt x="439512" y="341462"/>
                      <a:pt x="439512" y="334832"/>
                    </a:cubicBezTo>
                    <a:cubicBezTo>
                      <a:pt x="439512" y="318097"/>
                      <a:pt x="428149" y="300257"/>
                      <a:pt x="405413" y="281311"/>
                    </a:cubicBezTo>
                    <a:cubicBezTo>
                      <a:pt x="376685" y="258270"/>
                      <a:pt x="362321" y="235534"/>
                      <a:pt x="362321" y="213122"/>
                    </a:cubicBezTo>
                    <a:cubicBezTo>
                      <a:pt x="362321" y="179965"/>
                      <a:pt x="387106" y="163382"/>
                      <a:pt x="436683" y="163382"/>
                    </a:cubicBezTo>
                    <a:cubicBezTo>
                      <a:pt x="489090" y="163382"/>
                      <a:pt x="524142" y="195901"/>
                      <a:pt x="541820" y="260947"/>
                    </a:cubicBezTo>
                    <a:lnTo>
                      <a:pt x="557917" y="320621"/>
                    </a:lnTo>
                    <a:cubicBezTo>
                      <a:pt x="563280" y="334204"/>
                      <a:pt x="570395" y="340995"/>
                      <a:pt x="579234" y="340995"/>
                    </a:cubicBezTo>
                    <a:cubicBezTo>
                      <a:pt x="588388" y="340995"/>
                      <a:pt x="598646" y="339252"/>
                      <a:pt x="610010" y="335785"/>
                    </a:cubicBezTo>
                    <a:cubicBezTo>
                      <a:pt x="622325" y="331365"/>
                      <a:pt x="633222" y="329155"/>
                      <a:pt x="642690" y="329155"/>
                    </a:cubicBezTo>
                    <a:cubicBezTo>
                      <a:pt x="670160" y="329155"/>
                      <a:pt x="689896" y="334051"/>
                      <a:pt x="701888" y="343843"/>
                    </a:cubicBezTo>
                    <a:cubicBezTo>
                      <a:pt x="710736" y="350472"/>
                      <a:pt x="716737" y="361674"/>
                      <a:pt x="719890" y="377466"/>
                    </a:cubicBezTo>
                    <a:cubicBezTo>
                      <a:pt x="722424" y="388830"/>
                      <a:pt x="724948" y="395783"/>
                      <a:pt x="727472" y="398307"/>
                    </a:cubicBezTo>
                    <a:cubicBezTo>
                      <a:pt x="730006" y="401469"/>
                      <a:pt x="734101" y="403670"/>
                      <a:pt x="739788" y="404936"/>
                    </a:cubicBezTo>
                    <a:cubicBezTo>
                      <a:pt x="742312" y="389782"/>
                      <a:pt x="743569" y="371942"/>
                      <a:pt x="743569" y="351415"/>
                    </a:cubicBezTo>
                    <a:cubicBezTo>
                      <a:pt x="743569" y="339738"/>
                      <a:pt x="743093" y="328365"/>
                      <a:pt x="742150" y="317316"/>
                    </a:cubicBezTo>
                    <a:cubicBezTo>
                      <a:pt x="741836" y="313849"/>
                      <a:pt x="742779" y="311001"/>
                      <a:pt x="744998" y="308791"/>
                    </a:cubicBezTo>
                    <a:cubicBezTo>
                      <a:pt x="747198" y="306257"/>
                      <a:pt x="749894" y="304838"/>
                      <a:pt x="753047" y="304533"/>
                    </a:cubicBezTo>
                    <a:cubicBezTo>
                      <a:pt x="756209" y="304219"/>
                      <a:pt x="759047" y="305000"/>
                      <a:pt x="761581" y="306896"/>
                    </a:cubicBezTo>
                    <a:cubicBezTo>
                      <a:pt x="764115" y="308791"/>
                      <a:pt x="765524" y="311468"/>
                      <a:pt x="765839" y="314954"/>
                    </a:cubicBezTo>
                    <a:cubicBezTo>
                      <a:pt x="766791" y="326955"/>
                      <a:pt x="767258" y="339100"/>
                      <a:pt x="767258" y="351415"/>
                    </a:cubicBezTo>
                    <a:cubicBezTo>
                      <a:pt x="767258" y="375733"/>
                      <a:pt x="765362" y="398783"/>
                      <a:pt x="761571" y="420567"/>
                    </a:cubicBezTo>
                    <a:cubicBezTo>
                      <a:pt x="747979" y="489404"/>
                      <a:pt x="715613" y="549231"/>
                      <a:pt x="664464" y="600075"/>
                    </a:cubicBezTo>
                    <a:cubicBezTo>
                      <a:pt x="636051" y="628488"/>
                      <a:pt x="605428" y="650910"/>
                      <a:pt x="572586" y="667331"/>
                    </a:cubicBezTo>
                    <a:cubicBezTo>
                      <a:pt x="525218" y="691334"/>
                      <a:pt x="472964" y="703326"/>
                      <a:pt x="415823" y="703326"/>
                    </a:cubicBezTo>
                    <a:cubicBezTo>
                      <a:pt x="395297" y="703326"/>
                      <a:pt x="374933" y="701583"/>
                      <a:pt x="354721" y="698116"/>
                    </a:cubicBezTo>
                    <a:cubicBezTo>
                      <a:pt x="284007" y="686753"/>
                      <a:pt x="221647" y="654063"/>
                      <a:pt x="167659" y="600075"/>
                    </a:cubicBezTo>
                    <a:cubicBezTo>
                      <a:pt x="99146" y="531562"/>
                      <a:pt x="64884" y="448675"/>
                      <a:pt x="64884" y="351425"/>
                    </a:cubicBezTo>
                    <a:cubicBezTo>
                      <a:pt x="64884" y="301219"/>
                      <a:pt x="74200" y="254337"/>
                      <a:pt x="92831" y="210760"/>
                    </a:cubicBezTo>
                    <a:cubicBezTo>
                      <a:pt x="104518" y="184547"/>
                      <a:pt x="119196" y="160239"/>
                      <a:pt x="136874" y="137827"/>
                    </a:cubicBezTo>
                    <a:cubicBezTo>
                      <a:pt x="138770" y="135293"/>
                      <a:pt x="141303" y="133721"/>
                      <a:pt x="144456" y="133083"/>
                    </a:cubicBezTo>
                    <a:cubicBezTo>
                      <a:pt x="147923" y="132779"/>
                      <a:pt x="150933" y="133560"/>
                      <a:pt x="153448" y="135455"/>
                    </a:cubicBezTo>
                    <a:cubicBezTo>
                      <a:pt x="155981" y="137665"/>
                      <a:pt x="157553" y="140351"/>
                      <a:pt x="158182" y="143513"/>
                    </a:cubicBezTo>
                    <a:cubicBezTo>
                      <a:pt x="158496" y="146666"/>
                      <a:pt x="157553" y="149514"/>
                      <a:pt x="155343" y="152038"/>
                    </a:cubicBezTo>
                    <a:cubicBezTo>
                      <a:pt x="143656" y="167821"/>
                      <a:pt x="133245" y="183937"/>
                      <a:pt x="124082" y="200349"/>
                    </a:cubicBezTo>
                    <a:lnTo>
                      <a:pt x="130235" y="199863"/>
                    </a:lnTo>
                    <a:close/>
                    <a:moveTo>
                      <a:pt x="112243" y="225914"/>
                    </a:moveTo>
                    <a:cubicBezTo>
                      <a:pt x="96460" y="263490"/>
                      <a:pt x="88573" y="305324"/>
                      <a:pt x="88573" y="351425"/>
                    </a:cubicBezTo>
                    <a:cubicBezTo>
                      <a:pt x="88573" y="442055"/>
                      <a:pt x="120463" y="519408"/>
                      <a:pt x="184242" y="583502"/>
                    </a:cubicBezTo>
                    <a:cubicBezTo>
                      <a:pt x="232543" y="631803"/>
                      <a:pt x="288588" y="661959"/>
                      <a:pt x="352368" y="673960"/>
                    </a:cubicBezTo>
                    <a:cubicBezTo>
                      <a:pt x="359626" y="666064"/>
                      <a:pt x="363731" y="660540"/>
                      <a:pt x="364674" y="657387"/>
                    </a:cubicBezTo>
                    <a:cubicBezTo>
                      <a:pt x="364674" y="648538"/>
                      <a:pt x="358997" y="643014"/>
                      <a:pt x="347634" y="640813"/>
                    </a:cubicBezTo>
                    <a:cubicBezTo>
                      <a:pt x="323317" y="635765"/>
                      <a:pt x="311163" y="625021"/>
                      <a:pt x="311163" y="608609"/>
                    </a:cubicBezTo>
                    <a:cubicBezTo>
                      <a:pt x="311163" y="602285"/>
                      <a:pt x="314792" y="590931"/>
                      <a:pt x="322059" y="574500"/>
                    </a:cubicBezTo>
                    <a:lnTo>
                      <a:pt x="329165" y="558403"/>
                    </a:lnTo>
                    <a:cubicBezTo>
                      <a:pt x="326965" y="557136"/>
                      <a:pt x="323479" y="556517"/>
                      <a:pt x="318745" y="556517"/>
                    </a:cubicBezTo>
                    <a:cubicBezTo>
                      <a:pt x="315897" y="556517"/>
                      <a:pt x="308010" y="558251"/>
                      <a:pt x="295065" y="561727"/>
                    </a:cubicBezTo>
                    <a:cubicBezTo>
                      <a:pt x="279597" y="565194"/>
                      <a:pt x="268548" y="566928"/>
                      <a:pt x="261918" y="566928"/>
                    </a:cubicBezTo>
                    <a:cubicBezTo>
                      <a:pt x="247393" y="566928"/>
                      <a:pt x="236811" y="563775"/>
                      <a:pt x="230191" y="557460"/>
                    </a:cubicBezTo>
                    <a:cubicBezTo>
                      <a:pt x="222609" y="549888"/>
                      <a:pt x="218827" y="538048"/>
                      <a:pt x="218827" y="521941"/>
                    </a:cubicBezTo>
                    <a:cubicBezTo>
                      <a:pt x="218827" y="506159"/>
                      <a:pt x="230657" y="487528"/>
                      <a:pt x="254346" y="466058"/>
                    </a:cubicBezTo>
                    <a:cubicBezTo>
                      <a:pt x="271082" y="450590"/>
                      <a:pt x="280245" y="440017"/>
                      <a:pt x="281816" y="434330"/>
                    </a:cubicBezTo>
                    <a:cubicBezTo>
                      <a:pt x="281816" y="428644"/>
                      <a:pt x="277559" y="422491"/>
                      <a:pt x="269034" y="415862"/>
                    </a:cubicBezTo>
                    <a:cubicBezTo>
                      <a:pt x="261766" y="409861"/>
                      <a:pt x="254975" y="406870"/>
                      <a:pt x="248660" y="406870"/>
                    </a:cubicBezTo>
                    <a:cubicBezTo>
                      <a:pt x="244878" y="406870"/>
                      <a:pt x="242659" y="407346"/>
                      <a:pt x="242040" y="408280"/>
                    </a:cubicBezTo>
                    <a:lnTo>
                      <a:pt x="238716" y="423443"/>
                    </a:lnTo>
                    <a:cubicBezTo>
                      <a:pt x="234296" y="447437"/>
                      <a:pt x="216770" y="459438"/>
                      <a:pt x="186147" y="459438"/>
                    </a:cubicBezTo>
                    <a:cubicBezTo>
                      <a:pt x="176032" y="459438"/>
                      <a:pt x="166564" y="457381"/>
                      <a:pt x="157734" y="453276"/>
                    </a:cubicBezTo>
                    <a:cubicBezTo>
                      <a:pt x="146675" y="447275"/>
                      <a:pt x="141161" y="438598"/>
                      <a:pt x="141161" y="427234"/>
                    </a:cubicBezTo>
                    <a:cubicBezTo>
                      <a:pt x="141161" y="419652"/>
                      <a:pt x="146523" y="407660"/>
                      <a:pt x="157248" y="391239"/>
                    </a:cubicBezTo>
                    <a:cubicBezTo>
                      <a:pt x="165144" y="378609"/>
                      <a:pt x="169088" y="370399"/>
                      <a:pt x="169088" y="366617"/>
                    </a:cubicBezTo>
                    <a:cubicBezTo>
                      <a:pt x="169088" y="360921"/>
                      <a:pt x="167678" y="356511"/>
                      <a:pt x="164830" y="353349"/>
                    </a:cubicBezTo>
                    <a:cubicBezTo>
                      <a:pt x="159468" y="347663"/>
                      <a:pt x="149200" y="344510"/>
                      <a:pt x="134055" y="343881"/>
                    </a:cubicBezTo>
                    <a:cubicBezTo>
                      <a:pt x="129321" y="343881"/>
                      <a:pt x="125997" y="341986"/>
                      <a:pt x="124101" y="338195"/>
                    </a:cubicBezTo>
                    <a:cubicBezTo>
                      <a:pt x="121901" y="334404"/>
                      <a:pt x="121739" y="330613"/>
                      <a:pt x="123634" y="326831"/>
                    </a:cubicBezTo>
                    <a:cubicBezTo>
                      <a:pt x="128683" y="317983"/>
                      <a:pt x="137836" y="306457"/>
                      <a:pt x="151105" y="292246"/>
                    </a:cubicBezTo>
                    <a:cubicBezTo>
                      <a:pt x="156791" y="286569"/>
                      <a:pt x="159629" y="275206"/>
                      <a:pt x="159629" y="258156"/>
                    </a:cubicBezTo>
                    <a:cubicBezTo>
                      <a:pt x="159629" y="244573"/>
                      <a:pt x="157572" y="235258"/>
                      <a:pt x="153476" y="230210"/>
                    </a:cubicBezTo>
                    <a:cubicBezTo>
                      <a:pt x="149695" y="225781"/>
                      <a:pt x="141951" y="223571"/>
                      <a:pt x="130264" y="223571"/>
                    </a:cubicBezTo>
                    <a:cubicBezTo>
                      <a:pt x="126768" y="223542"/>
                      <a:pt x="120767" y="224342"/>
                      <a:pt x="112243" y="225914"/>
                    </a:cubicBezTo>
                    <a:close/>
                    <a:moveTo>
                      <a:pt x="309267" y="81458"/>
                    </a:moveTo>
                    <a:cubicBezTo>
                      <a:pt x="331051" y="81458"/>
                      <a:pt x="350310" y="87459"/>
                      <a:pt x="367036" y="99470"/>
                    </a:cubicBezTo>
                    <a:lnTo>
                      <a:pt x="385039" y="112728"/>
                    </a:lnTo>
                    <a:cubicBezTo>
                      <a:pt x="390087" y="112414"/>
                      <a:pt x="395297" y="110052"/>
                      <a:pt x="400669" y="105623"/>
                    </a:cubicBezTo>
                    <a:cubicBezTo>
                      <a:pt x="410775" y="96784"/>
                      <a:pt x="415833" y="80048"/>
                      <a:pt x="415833" y="55416"/>
                    </a:cubicBezTo>
                    <a:cubicBezTo>
                      <a:pt x="415833" y="50683"/>
                      <a:pt x="414414" y="41205"/>
                      <a:pt x="411566" y="27003"/>
                    </a:cubicBezTo>
                    <a:lnTo>
                      <a:pt x="411099" y="24165"/>
                    </a:lnTo>
                    <a:cubicBezTo>
                      <a:pt x="340052" y="25108"/>
                      <a:pt x="277216" y="45949"/>
                      <a:pt x="222599" y="86678"/>
                    </a:cubicBezTo>
                    <a:cubicBezTo>
                      <a:pt x="225752" y="92040"/>
                      <a:pt x="228914" y="96460"/>
                      <a:pt x="232067" y="99936"/>
                    </a:cubicBezTo>
                    <a:cubicBezTo>
                      <a:pt x="239649" y="109414"/>
                      <a:pt x="245174" y="114310"/>
                      <a:pt x="248641" y="114624"/>
                    </a:cubicBezTo>
                    <a:lnTo>
                      <a:pt x="252432" y="112728"/>
                    </a:lnTo>
                    <a:cubicBezTo>
                      <a:pt x="255899" y="110519"/>
                      <a:pt x="259842" y="106890"/>
                      <a:pt x="264271" y="101832"/>
                    </a:cubicBezTo>
                    <a:cubicBezTo>
                      <a:pt x="276901" y="88249"/>
                      <a:pt x="291903" y="81458"/>
                      <a:pt x="309267" y="81458"/>
                    </a:cubicBezTo>
                    <a:close/>
                    <a:moveTo>
                      <a:pt x="281797" y="117929"/>
                    </a:moveTo>
                    <a:cubicBezTo>
                      <a:pt x="269177" y="131512"/>
                      <a:pt x="258118" y="138293"/>
                      <a:pt x="248650" y="138293"/>
                    </a:cubicBezTo>
                    <a:cubicBezTo>
                      <a:pt x="237915" y="138293"/>
                      <a:pt x="226228" y="130559"/>
                      <a:pt x="213608" y="115091"/>
                    </a:cubicBezTo>
                    <a:cubicBezTo>
                      <a:pt x="210131" y="111300"/>
                      <a:pt x="206978" y="106718"/>
                      <a:pt x="204130" y="101356"/>
                    </a:cubicBezTo>
                    <a:lnTo>
                      <a:pt x="198444" y="106566"/>
                    </a:lnTo>
                    <a:cubicBezTo>
                      <a:pt x="192443" y="111300"/>
                      <a:pt x="186757" y="110985"/>
                      <a:pt x="181394" y="105613"/>
                    </a:cubicBezTo>
                    <a:cubicBezTo>
                      <a:pt x="179194" y="103413"/>
                      <a:pt x="178241" y="100565"/>
                      <a:pt x="178556" y="97088"/>
                    </a:cubicBezTo>
                    <a:cubicBezTo>
                      <a:pt x="178860" y="93926"/>
                      <a:pt x="180137" y="91250"/>
                      <a:pt x="182337" y="89030"/>
                    </a:cubicBezTo>
                    <a:lnTo>
                      <a:pt x="200806" y="73400"/>
                    </a:lnTo>
                    <a:cubicBezTo>
                      <a:pt x="262700" y="24460"/>
                      <a:pt x="334366" y="0"/>
                      <a:pt x="415833" y="0"/>
                    </a:cubicBezTo>
                    <a:lnTo>
                      <a:pt x="420567" y="0"/>
                    </a:lnTo>
                    <a:lnTo>
                      <a:pt x="421043" y="476"/>
                    </a:lnTo>
                    <a:cubicBezTo>
                      <a:pt x="499653" y="1105"/>
                      <a:pt x="569281" y="25098"/>
                      <a:pt x="629898" y="72466"/>
                    </a:cubicBezTo>
                    <a:cubicBezTo>
                      <a:pt x="644423" y="84153"/>
                      <a:pt x="655949" y="94412"/>
                      <a:pt x="664474" y="103251"/>
                    </a:cubicBezTo>
                    <a:cubicBezTo>
                      <a:pt x="685314" y="123768"/>
                      <a:pt x="703945" y="147295"/>
                      <a:pt x="720357" y="173812"/>
                    </a:cubicBezTo>
                    <a:lnTo>
                      <a:pt x="720357" y="174288"/>
                    </a:lnTo>
                    <a:cubicBezTo>
                      <a:pt x="737092" y="202073"/>
                      <a:pt x="749246" y="231600"/>
                      <a:pt x="756828" y="262861"/>
                    </a:cubicBezTo>
                    <a:cubicBezTo>
                      <a:pt x="757771" y="266014"/>
                      <a:pt x="757304" y="269015"/>
                      <a:pt x="755409" y="271853"/>
                    </a:cubicBezTo>
                    <a:cubicBezTo>
                      <a:pt x="753828" y="274701"/>
                      <a:pt x="751465" y="276425"/>
                      <a:pt x="748303" y="277073"/>
                    </a:cubicBezTo>
                    <a:cubicBezTo>
                      <a:pt x="745150" y="278016"/>
                      <a:pt x="742150" y="277539"/>
                      <a:pt x="739311" y="275644"/>
                    </a:cubicBezTo>
                    <a:cubicBezTo>
                      <a:pt x="736463" y="274072"/>
                      <a:pt x="734739" y="271701"/>
                      <a:pt x="734101" y="268548"/>
                    </a:cubicBezTo>
                    <a:cubicBezTo>
                      <a:pt x="727472" y="241716"/>
                      <a:pt x="717214" y="216294"/>
                      <a:pt x="703317" y="192291"/>
                    </a:cubicBezTo>
                    <a:cubicBezTo>
                      <a:pt x="693849" y="192291"/>
                      <a:pt x="686105" y="193081"/>
                      <a:pt x="680114" y="194662"/>
                    </a:cubicBezTo>
                    <a:cubicBezTo>
                      <a:pt x="674418" y="196558"/>
                      <a:pt x="671579" y="198768"/>
                      <a:pt x="671579" y="201292"/>
                    </a:cubicBezTo>
                    <a:cubicBezTo>
                      <a:pt x="671579" y="204130"/>
                      <a:pt x="673322" y="210283"/>
                      <a:pt x="676789" y="219751"/>
                    </a:cubicBezTo>
                    <a:cubicBezTo>
                      <a:pt x="680895" y="232696"/>
                      <a:pt x="682943" y="242173"/>
                      <a:pt x="682943" y="248164"/>
                    </a:cubicBezTo>
                    <a:cubicBezTo>
                      <a:pt x="682943" y="258594"/>
                      <a:pt x="680256" y="266795"/>
                      <a:pt x="674884" y="272796"/>
                    </a:cubicBezTo>
                    <a:cubicBezTo>
                      <a:pt x="669512" y="278797"/>
                      <a:pt x="662102" y="281797"/>
                      <a:pt x="652634" y="281797"/>
                    </a:cubicBezTo>
                    <a:cubicBezTo>
                      <a:pt x="640947" y="281797"/>
                      <a:pt x="630526" y="279740"/>
                      <a:pt x="621373" y="275634"/>
                    </a:cubicBezTo>
                    <a:cubicBezTo>
                      <a:pt x="608105" y="269634"/>
                      <a:pt x="601475" y="260166"/>
                      <a:pt x="601475" y="247221"/>
                    </a:cubicBezTo>
                    <a:lnTo>
                      <a:pt x="601475" y="245335"/>
                    </a:lnTo>
                    <a:lnTo>
                      <a:pt x="606209" y="213598"/>
                    </a:lnTo>
                    <a:cubicBezTo>
                      <a:pt x="606209" y="209179"/>
                      <a:pt x="601799" y="197815"/>
                      <a:pt x="592950" y="179499"/>
                    </a:cubicBezTo>
                    <a:cubicBezTo>
                      <a:pt x="582216" y="158029"/>
                      <a:pt x="576853" y="142723"/>
                      <a:pt x="576853" y="133560"/>
                    </a:cubicBezTo>
                    <a:cubicBezTo>
                      <a:pt x="576853" y="116205"/>
                      <a:pt x="585845" y="99146"/>
                      <a:pt x="603847" y="82410"/>
                    </a:cubicBezTo>
                    <a:cubicBezTo>
                      <a:pt x="554593" y="47034"/>
                      <a:pt x="498396" y="27623"/>
                      <a:pt x="435245" y="24155"/>
                    </a:cubicBezTo>
                    <a:cubicBezTo>
                      <a:pt x="438083" y="39310"/>
                      <a:pt x="439503" y="49730"/>
                      <a:pt x="439503" y="55407"/>
                    </a:cubicBezTo>
                    <a:cubicBezTo>
                      <a:pt x="439503" y="86982"/>
                      <a:pt x="431768" y="109566"/>
                      <a:pt x="416290" y="123130"/>
                    </a:cubicBezTo>
                    <a:cubicBezTo>
                      <a:pt x="406184" y="132283"/>
                      <a:pt x="394516" y="136865"/>
                      <a:pt x="381238" y="136865"/>
                    </a:cubicBezTo>
                    <a:cubicBezTo>
                      <a:pt x="378085" y="136865"/>
                      <a:pt x="375561" y="135912"/>
                      <a:pt x="373666" y="134017"/>
                    </a:cubicBezTo>
                    <a:lnTo>
                      <a:pt x="353301" y="118862"/>
                    </a:lnTo>
                    <a:cubicBezTo>
                      <a:pt x="340357" y="109699"/>
                      <a:pt x="325669" y="105127"/>
                      <a:pt x="309258" y="105127"/>
                    </a:cubicBezTo>
                    <a:cubicBezTo>
                      <a:pt x="298533" y="105137"/>
                      <a:pt x="289370" y="109404"/>
                      <a:pt x="281797" y="117929"/>
                    </a:cubicBezTo>
                    <a:close/>
                    <a:moveTo>
                      <a:pt x="316363" y="230648"/>
                    </a:moveTo>
                    <a:cubicBezTo>
                      <a:pt x="330260" y="230648"/>
                      <a:pt x="341471" y="234763"/>
                      <a:pt x="349987" y="242964"/>
                    </a:cubicBezTo>
                    <a:cubicBezTo>
                      <a:pt x="359769" y="252441"/>
                      <a:pt x="364665" y="263338"/>
                      <a:pt x="364665" y="275644"/>
                    </a:cubicBezTo>
                    <a:cubicBezTo>
                      <a:pt x="364665" y="288274"/>
                      <a:pt x="359769" y="299009"/>
                      <a:pt x="349987" y="307858"/>
                    </a:cubicBezTo>
                    <a:cubicBezTo>
                      <a:pt x="341462" y="317011"/>
                      <a:pt x="330260" y="321583"/>
                      <a:pt x="316363" y="321583"/>
                    </a:cubicBezTo>
                    <a:cubicBezTo>
                      <a:pt x="302790" y="321583"/>
                      <a:pt x="291427" y="316849"/>
                      <a:pt x="282264" y="307381"/>
                    </a:cubicBezTo>
                    <a:cubicBezTo>
                      <a:pt x="272482" y="299171"/>
                      <a:pt x="267586" y="288588"/>
                      <a:pt x="267586" y="275644"/>
                    </a:cubicBezTo>
                    <a:cubicBezTo>
                      <a:pt x="267586" y="263652"/>
                      <a:pt x="272482" y="252765"/>
                      <a:pt x="282264" y="242964"/>
                    </a:cubicBezTo>
                    <a:cubicBezTo>
                      <a:pt x="291427" y="234753"/>
                      <a:pt x="302800" y="230648"/>
                      <a:pt x="316363" y="230648"/>
                    </a:cubicBezTo>
                    <a:close/>
                    <a:moveTo>
                      <a:pt x="291275" y="275634"/>
                    </a:moveTo>
                    <a:cubicBezTo>
                      <a:pt x="291275" y="281321"/>
                      <a:pt x="293637" y="286217"/>
                      <a:pt x="298371" y="290322"/>
                    </a:cubicBezTo>
                    <a:cubicBezTo>
                      <a:pt x="303428" y="295370"/>
                      <a:pt x="309429" y="297904"/>
                      <a:pt x="316373" y="297904"/>
                    </a:cubicBezTo>
                    <a:cubicBezTo>
                      <a:pt x="323317" y="297904"/>
                      <a:pt x="329165" y="295532"/>
                      <a:pt x="333899" y="290798"/>
                    </a:cubicBezTo>
                    <a:cubicBezTo>
                      <a:pt x="338633" y="286064"/>
                      <a:pt x="341005" y="281016"/>
                      <a:pt x="341005" y="275634"/>
                    </a:cubicBezTo>
                    <a:cubicBezTo>
                      <a:pt x="341005" y="269958"/>
                      <a:pt x="338633" y="264738"/>
                      <a:pt x="333899" y="260004"/>
                    </a:cubicBezTo>
                    <a:cubicBezTo>
                      <a:pt x="329794" y="256223"/>
                      <a:pt x="323955" y="254318"/>
                      <a:pt x="316373" y="254318"/>
                    </a:cubicBezTo>
                    <a:cubicBezTo>
                      <a:pt x="308791" y="254318"/>
                      <a:pt x="302800" y="256375"/>
                      <a:pt x="298371" y="260471"/>
                    </a:cubicBezTo>
                    <a:cubicBezTo>
                      <a:pt x="293637" y="265233"/>
                      <a:pt x="291275" y="270281"/>
                      <a:pt x="291275" y="275634"/>
                    </a:cubicBezTo>
                    <a:close/>
                    <a:moveTo>
                      <a:pt x="23679" y="344310"/>
                    </a:moveTo>
                    <a:lnTo>
                      <a:pt x="23679" y="350472"/>
                    </a:lnTo>
                    <a:cubicBezTo>
                      <a:pt x="23679" y="427825"/>
                      <a:pt x="43577" y="497453"/>
                      <a:pt x="83363" y="559337"/>
                    </a:cubicBezTo>
                    <a:cubicBezTo>
                      <a:pt x="84934" y="562175"/>
                      <a:pt x="85420" y="565175"/>
                      <a:pt x="84773" y="568338"/>
                    </a:cubicBezTo>
                    <a:cubicBezTo>
                      <a:pt x="84144" y="571491"/>
                      <a:pt x="82572" y="573853"/>
                      <a:pt x="80039" y="575434"/>
                    </a:cubicBezTo>
                    <a:cubicBezTo>
                      <a:pt x="77514" y="577015"/>
                      <a:pt x="75305" y="577806"/>
                      <a:pt x="73409" y="577806"/>
                    </a:cubicBezTo>
                    <a:cubicBezTo>
                      <a:pt x="69628" y="577806"/>
                      <a:pt x="66313" y="575910"/>
                      <a:pt x="63465" y="572119"/>
                    </a:cubicBezTo>
                    <a:cubicBezTo>
                      <a:pt x="21165" y="507073"/>
                      <a:pt x="0" y="433187"/>
                      <a:pt x="0" y="350463"/>
                    </a:cubicBezTo>
                    <a:lnTo>
                      <a:pt x="0" y="344300"/>
                    </a:lnTo>
                    <a:cubicBezTo>
                      <a:pt x="0" y="341147"/>
                      <a:pt x="1267" y="338299"/>
                      <a:pt x="3791" y="335775"/>
                    </a:cubicBezTo>
                    <a:cubicBezTo>
                      <a:pt x="5991" y="333566"/>
                      <a:pt x="8687" y="332451"/>
                      <a:pt x="11840" y="332451"/>
                    </a:cubicBezTo>
                    <a:cubicBezTo>
                      <a:pt x="15316" y="332451"/>
                      <a:pt x="18155" y="333556"/>
                      <a:pt x="20374" y="335775"/>
                    </a:cubicBezTo>
                    <a:cubicBezTo>
                      <a:pt x="22574" y="338319"/>
                      <a:pt x="23679" y="341157"/>
                      <a:pt x="23679" y="344310"/>
                    </a:cubicBezTo>
                    <a:close/>
                    <a:moveTo>
                      <a:pt x="120291" y="608124"/>
                    </a:moveTo>
                    <a:lnTo>
                      <a:pt x="138293" y="627069"/>
                    </a:lnTo>
                    <a:cubicBezTo>
                      <a:pt x="215017" y="703164"/>
                      <a:pt x="307057" y="741207"/>
                      <a:pt x="414404" y="741207"/>
                    </a:cubicBezTo>
                    <a:lnTo>
                      <a:pt x="430035" y="741207"/>
                    </a:lnTo>
                    <a:cubicBezTo>
                      <a:pt x="469506" y="739950"/>
                      <a:pt x="506759" y="733320"/>
                      <a:pt x="541801" y="721319"/>
                    </a:cubicBezTo>
                    <a:cubicBezTo>
                      <a:pt x="544963" y="720366"/>
                      <a:pt x="547954" y="720690"/>
                      <a:pt x="550802" y="722271"/>
                    </a:cubicBezTo>
                    <a:cubicBezTo>
                      <a:pt x="553641" y="723529"/>
                      <a:pt x="555698" y="725738"/>
                      <a:pt x="556955" y="728891"/>
                    </a:cubicBezTo>
                    <a:cubicBezTo>
                      <a:pt x="557908" y="732053"/>
                      <a:pt x="557584" y="735044"/>
                      <a:pt x="556012" y="737892"/>
                    </a:cubicBezTo>
                    <a:cubicBezTo>
                      <a:pt x="554746" y="740731"/>
                      <a:pt x="552536" y="742788"/>
                      <a:pt x="549383" y="744045"/>
                    </a:cubicBezTo>
                    <a:cubicBezTo>
                      <a:pt x="516226" y="755094"/>
                      <a:pt x="480393" y="761886"/>
                      <a:pt x="441874" y="764410"/>
                    </a:cubicBezTo>
                    <a:lnTo>
                      <a:pt x="441874" y="833561"/>
                    </a:lnTo>
                    <a:lnTo>
                      <a:pt x="481660" y="833561"/>
                    </a:lnTo>
                    <a:cubicBezTo>
                      <a:pt x="484813" y="833561"/>
                      <a:pt x="487499" y="834666"/>
                      <a:pt x="489709" y="836876"/>
                    </a:cubicBezTo>
                    <a:cubicBezTo>
                      <a:pt x="492242" y="839410"/>
                      <a:pt x="493500" y="842248"/>
                      <a:pt x="493500" y="845410"/>
                    </a:cubicBezTo>
                    <a:cubicBezTo>
                      <a:pt x="493500" y="848573"/>
                      <a:pt x="492233" y="851249"/>
                      <a:pt x="489709" y="853459"/>
                    </a:cubicBezTo>
                    <a:cubicBezTo>
                      <a:pt x="487499" y="855983"/>
                      <a:pt x="484813" y="857250"/>
                      <a:pt x="481660" y="857250"/>
                    </a:cubicBezTo>
                    <a:lnTo>
                      <a:pt x="374152" y="857250"/>
                    </a:lnTo>
                    <a:cubicBezTo>
                      <a:pt x="370999" y="857250"/>
                      <a:pt x="368151" y="855983"/>
                      <a:pt x="365617" y="853459"/>
                    </a:cubicBezTo>
                    <a:cubicBezTo>
                      <a:pt x="363417" y="851259"/>
                      <a:pt x="362302" y="848563"/>
                      <a:pt x="362302" y="845410"/>
                    </a:cubicBezTo>
                    <a:cubicBezTo>
                      <a:pt x="362302" y="842258"/>
                      <a:pt x="363407" y="839410"/>
                      <a:pt x="365617" y="836876"/>
                    </a:cubicBezTo>
                    <a:cubicBezTo>
                      <a:pt x="368151" y="834676"/>
                      <a:pt x="370989" y="833561"/>
                      <a:pt x="374152" y="833561"/>
                    </a:cubicBezTo>
                    <a:lnTo>
                      <a:pt x="418195" y="833561"/>
                    </a:lnTo>
                    <a:lnTo>
                      <a:pt x="418195" y="764886"/>
                    </a:lnTo>
                    <a:lnTo>
                      <a:pt x="414414" y="764886"/>
                    </a:lnTo>
                    <a:cubicBezTo>
                      <a:pt x="300114" y="764886"/>
                      <a:pt x="202549" y="724472"/>
                      <a:pt x="121720" y="643642"/>
                    </a:cubicBezTo>
                    <a:cubicBezTo>
                      <a:pt x="119510" y="641433"/>
                      <a:pt x="113186" y="634803"/>
                      <a:pt x="102775" y="623745"/>
                    </a:cubicBezTo>
                    <a:cubicBezTo>
                      <a:pt x="100574" y="621221"/>
                      <a:pt x="99622" y="618382"/>
                      <a:pt x="99936" y="615220"/>
                    </a:cubicBezTo>
                    <a:cubicBezTo>
                      <a:pt x="99936" y="612067"/>
                      <a:pt x="101203" y="609381"/>
                      <a:pt x="103718" y="607162"/>
                    </a:cubicBezTo>
                    <a:cubicBezTo>
                      <a:pt x="106251" y="604961"/>
                      <a:pt x="109080" y="604009"/>
                      <a:pt x="112243" y="604323"/>
                    </a:cubicBezTo>
                    <a:cubicBezTo>
                      <a:pt x="115405" y="604333"/>
                      <a:pt x="118081" y="605600"/>
                      <a:pt x="120291" y="608124"/>
                    </a:cubicBezTo>
                    <a:close/>
                    <a:moveTo>
                      <a:pt x="385991" y="213131"/>
                    </a:moveTo>
                    <a:cubicBezTo>
                      <a:pt x="385991" y="227971"/>
                      <a:pt x="397354" y="244545"/>
                      <a:pt x="420091" y="262861"/>
                    </a:cubicBezTo>
                    <a:cubicBezTo>
                      <a:pt x="448818" y="286864"/>
                      <a:pt x="463182" y="310848"/>
                      <a:pt x="463182" y="334851"/>
                    </a:cubicBezTo>
                    <a:cubicBezTo>
                      <a:pt x="463182" y="347167"/>
                      <a:pt x="455914" y="361379"/>
                      <a:pt x="441398" y="377485"/>
                    </a:cubicBezTo>
                    <a:cubicBezTo>
                      <a:pt x="430663" y="388220"/>
                      <a:pt x="425301" y="397688"/>
                      <a:pt x="425301" y="405898"/>
                    </a:cubicBezTo>
                    <a:cubicBezTo>
                      <a:pt x="425301" y="412528"/>
                      <a:pt x="434292" y="417109"/>
                      <a:pt x="452295" y="419624"/>
                    </a:cubicBezTo>
                    <a:cubicBezTo>
                      <a:pt x="463982" y="420891"/>
                      <a:pt x="490185" y="421043"/>
                      <a:pt x="530914" y="420100"/>
                    </a:cubicBezTo>
                    <a:lnTo>
                      <a:pt x="560280" y="419624"/>
                    </a:lnTo>
                    <a:cubicBezTo>
                      <a:pt x="584283" y="419624"/>
                      <a:pt x="602113" y="420576"/>
                      <a:pt x="613791" y="422472"/>
                    </a:cubicBezTo>
                    <a:cubicBezTo>
                      <a:pt x="645052" y="428473"/>
                      <a:pt x="660683" y="442360"/>
                      <a:pt x="660683" y="464153"/>
                    </a:cubicBezTo>
                    <a:cubicBezTo>
                      <a:pt x="660683" y="492566"/>
                      <a:pt x="639051" y="518455"/>
                      <a:pt x="595798" y="541820"/>
                    </a:cubicBezTo>
                    <a:cubicBezTo>
                      <a:pt x="561070" y="560451"/>
                      <a:pt x="543697" y="579549"/>
                      <a:pt x="543697" y="599132"/>
                    </a:cubicBezTo>
                    <a:cubicBezTo>
                      <a:pt x="543697" y="604818"/>
                      <a:pt x="550640" y="616658"/>
                      <a:pt x="564537" y="634651"/>
                    </a:cubicBezTo>
                    <a:lnTo>
                      <a:pt x="570224" y="641756"/>
                    </a:lnTo>
                    <a:cubicBezTo>
                      <a:pt x="596427" y="627859"/>
                      <a:pt x="622325" y="608438"/>
                      <a:pt x="647891" y="583502"/>
                    </a:cubicBezTo>
                    <a:cubicBezTo>
                      <a:pt x="693039" y="538344"/>
                      <a:pt x="722252" y="486566"/>
                      <a:pt x="735511" y="428149"/>
                    </a:cubicBezTo>
                    <a:cubicBezTo>
                      <a:pt x="724776" y="425939"/>
                      <a:pt x="716251" y="421357"/>
                      <a:pt x="709927" y="414414"/>
                    </a:cubicBezTo>
                    <a:cubicBezTo>
                      <a:pt x="704564" y="409051"/>
                      <a:pt x="700145" y="398469"/>
                      <a:pt x="696668" y="382686"/>
                    </a:cubicBezTo>
                    <a:cubicBezTo>
                      <a:pt x="694458" y="372570"/>
                      <a:pt x="691296" y="365798"/>
                      <a:pt x="687191" y="362322"/>
                    </a:cubicBezTo>
                    <a:cubicBezTo>
                      <a:pt x="678666" y="355997"/>
                      <a:pt x="663826" y="352844"/>
                      <a:pt x="642671" y="352844"/>
                    </a:cubicBezTo>
                    <a:cubicBezTo>
                      <a:pt x="636670" y="352844"/>
                      <a:pt x="628307" y="354587"/>
                      <a:pt x="617572" y="358054"/>
                    </a:cubicBezTo>
                    <a:cubicBezTo>
                      <a:pt x="603361" y="362483"/>
                      <a:pt x="590569" y="364684"/>
                      <a:pt x="579215" y="364684"/>
                    </a:cubicBezTo>
                    <a:cubicBezTo>
                      <a:pt x="559318" y="364684"/>
                      <a:pt x="544801" y="352844"/>
                      <a:pt x="535638" y="329165"/>
                    </a:cubicBezTo>
                    <a:lnTo>
                      <a:pt x="518589" y="267119"/>
                    </a:lnTo>
                    <a:cubicBezTo>
                      <a:pt x="504701" y="213751"/>
                      <a:pt x="477393" y="187081"/>
                      <a:pt x="436655" y="187081"/>
                    </a:cubicBezTo>
                    <a:cubicBezTo>
                      <a:pt x="414871" y="187081"/>
                      <a:pt x="400021" y="190557"/>
                      <a:pt x="392135" y="197501"/>
                    </a:cubicBezTo>
                    <a:cubicBezTo>
                      <a:pt x="388039" y="200968"/>
                      <a:pt x="385991" y="206178"/>
                      <a:pt x="385991" y="213131"/>
                    </a:cubicBezTo>
                    <a:close/>
                    <a:moveTo>
                      <a:pt x="622783" y="97088"/>
                    </a:moveTo>
                    <a:cubicBezTo>
                      <a:pt x="607943" y="109709"/>
                      <a:pt x="600532" y="121882"/>
                      <a:pt x="600532" y="133550"/>
                    </a:cubicBezTo>
                    <a:cubicBezTo>
                      <a:pt x="600532" y="138913"/>
                      <a:pt x="605104" y="150762"/>
                      <a:pt x="614258" y="169069"/>
                    </a:cubicBezTo>
                    <a:cubicBezTo>
                      <a:pt x="624678" y="190852"/>
                      <a:pt x="629888" y="205854"/>
                      <a:pt x="629888" y="214065"/>
                    </a:cubicBezTo>
                    <a:lnTo>
                      <a:pt x="629888" y="215960"/>
                    </a:lnTo>
                    <a:lnTo>
                      <a:pt x="625154" y="247698"/>
                    </a:lnTo>
                    <a:cubicBezTo>
                      <a:pt x="625154" y="250536"/>
                      <a:pt x="627050" y="252746"/>
                      <a:pt x="630841" y="254318"/>
                    </a:cubicBezTo>
                    <a:cubicBezTo>
                      <a:pt x="636842" y="256851"/>
                      <a:pt x="644109" y="258108"/>
                      <a:pt x="652634" y="258108"/>
                    </a:cubicBezTo>
                    <a:cubicBezTo>
                      <a:pt x="655158" y="258108"/>
                      <a:pt x="656739" y="257632"/>
                      <a:pt x="657368" y="256689"/>
                    </a:cubicBezTo>
                    <a:cubicBezTo>
                      <a:pt x="658625" y="255422"/>
                      <a:pt x="659254" y="252584"/>
                      <a:pt x="659254" y="248155"/>
                    </a:cubicBezTo>
                    <a:cubicBezTo>
                      <a:pt x="659254" y="244050"/>
                      <a:pt x="657682" y="237106"/>
                      <a:pt x="654520" y="227314"/>
                    </a:cubicBezTo>
                    <a:cubicBezTo>
                      <a:pt x="650100" y="215627"/>
                      <a:pt x="647891" y="206940"/>
                      <a:pt x="647891" y="201273"/>
                    </a:cubicBezTo>
                    <a:cubicBezTo>
                      <a:pt x="647891" y="183271"/>
                      <a:pt x="661626" y="172526"/>
                      <a:pt x="689096" y="169059"/>
                    </a:cubicBezTo>
                    <a:cubicBezTo>
                      <a:pt x="676780" y="151381"/>
                      <a:pt x="663045" y="134960"/>
                      <a:pt x="647891" y="119805"/>
                    </a:cubicBezTo>
                    <a:cubicBezTo>
                      <a:pt x="640623" y="112557"/>
                      <a:pt x="632260" y="104975"/>
                      <a:pt x="622783" y="97088"/>
                    </a:cubicBezTo>
                    <a:close/>
                    <a:moveTo>
                      <a:pt x="470297" y="490195"/>
                    </a:moveTo>
                    <a:cubicBezTo>
                      <a:pt x="463667" y="490195"/>
                      <a:pt x="457819" y="492395"/>
                      <a:pt x="452771" y="496824"/>
                    </a:cubicBezTo>
                    <a:cubicBezTo>
                      <a:pt x="448351" y="501244"/>
                      <a:pt x="446141" y="506454"/>
                      <a:pt x="446141" y="512455"/>
                    </a:cubicBezTo>
                    <a:cubicBezTo>
                      <a:pt x="446141" y="517817"/>
                      <a:pt x="448351" y="522561"/>
                      <a:pt x="452771" y="526656"/>
                    </a:cubicBezTo>
                    <a:cubicBezTo>
                      <a:pt x="457505" y="531400"/>
                      <a:pt x="463344" y="533762"/>
                      <a:pt x="470297" y="533762"/>
                    </a:cubicBezTo>
                    <a:cubicBezTo>
                      <a:pt x="477869" y="533762"/>
                      <a:pt x="483870" y="531562"/>
                      <a:pt x="488299" y="527142"/>
                    </a:cubicBezTo>
                    <a:cubicBezTo>
                      <a:pt x="492719" y="522713"/>
                      <a:pt x="494919" y="517817"/>
                      <a:pt x="494919" y="512455"/>
                    </a:cubicBezTo>
                    <a:cubicBezTo>
                      <a:pt x="494919" y="506139"/>
                      <a:pt x="492719" y="500767"/>
                      <a:pt x="488299" y="496357"/>
                    </a:cubicBezTo>
                    <a:cubicBezTo>
                      <a:pt x="483556" y="492252"/>
                      <a:pt x="477555" y="490195"/>
                      <a:pt x="470297" y="490195"/>
                    </a:cubicBezTo>
                    <a:close/>
                    <a:moveTo>
                      <a:pt x="504396" y="479298"/>
                    </a:moveTo>
                    <a:cubicBezTo>
                      <a:pt x="513864" y="488452"/>
                      <a:pt x="518598" y="499501"/>
                      <a:pt x="518598" y="512445"/>
                    </a:cubicBezTo>
                    <a:cubicBezTo>
                      <a:pt x="518598" y="525075"/>
                      <a:pt x="513864" y="535657"/>
                      <a:pt x="504396" y="544182"/>
                    </a:cubicBezTo>
                    <a:cubicBezTo>
                      <a:pt x="496186" y="553022"/>
                      <a:pt x="484813" y="557441"/>
                      <a:pt x="470297" y="557441"/>
                    </a:cubicBezTo>
                    <a:cubicBezTo>
                      <a:pt x="456714" y="557441"/>
                      <a:pt x="445503" y="552869"/>
                      <a:pt x="436674" y="543716"/>
                    </a:cubicBezTo>
                    <a:cubicBezTo>
                      <a:pt x="427196" y="535819"/>
                      <a:pt x="422462" y="525399"/>
                      <a:pt x="422462" y="512455"/>
                    </a:cubicBezTo>
                    <a:cubicBezTo>
                      <a:pt x="422462" y="499824"/>
                      <a:pt x="427196" y="488775"/>
                      <a:pt x="436674" y="479308"/>
                    </a:cubicBezTo>
                    <a:cubicBezTo>
                      <a:pt x="446141" y="470773"/>
                      <a:pt x="457352" y="466515"/>
                      <a:pt x="470297" y="466515"/>
                    </a:cubicBezTo>
                    <a:cubicBezTo>
                      <a:pt x="484184" y="466515"/>
                      <a:pt x="495548" y="470773"/>
                      <a:pt x="504396" y="479298"/>
                    </a:cubicBezTo>
                    <a:close/>
                  </a:path>
                </a:pathLst>
              </a:custGeom>
              <a:solidFill>
                <a:schemeClr val="tx2"/>
              </a:solid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4" name="Freeform 584">
                <a:extLst>
                  <a:ext uri="{FF2B5EF4-FFF2-40B4-BE49-F238E27FC236}">
                    <a16:creationId xmlns:a16="http://schemas.microsoft.com/office/drawing/2014/main" id="{9F6ACB7C-79F5-4BEF-AD48-9A5E2AC739E0}"/>
                  </a:ext>
                </a:extLst>
              </p:cNvPr>
              <p:cNvSpPr>
                <a:spLocks noChangeAspect="1" noEditPoints="1"/>
              </p:cNvSpPr>
              <p:nvPr/>
            </p:nvSpPr>
            <p:spPr bwMode="auto">
              <a:xfrm>
                <a:off x="5930507" y="3536380"/>
                <a:ext cx="212119" cy="333151"/>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2"/>
              </a:solidFill>
              <a:ln w="22225" cmpd="sng">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14" name="Group 13">
            <a:extLst>
              <a:ext uri="{FF2B5EF4-FFF2-40B4-BE49-F238E27FC236}">
                <a16:creationId xmlns:a16="http://schemas.microsoft.com/office/drawing/2014/main" id="{66073581-D184-4D89-B218-86BEA39F6CE2}"/>
              </a:ext>
            </a:extLst>
          </p:cNvPr>
          <p:cNvGrpSpPr/>
          <p:nvPr/>
        </p:nvGrpSpPr>
        <p:grpSpPr>
          <a:xfrm>
            <a:off x="8384428" y="4134162"/>
            <a:ext cx="689112" cy="689112"/>
            <a:chOff x="7864083" y="3831726"/>
            <a:chExt cx="1107922" cy="1107922"/>
          </a:xfrm>
        </p:grpSpPr>
        <p:sp>
          <p:nvSpPr>
            <p:cNvPr id="606" name="Oval 605">
              <a:extLst>
                <a:ext uri="{FF2B5EF4-FFF2-40B4-BE49-F238E27FC236}">
                  <a16:creationId xmlns:a16="http://schemas.microsoft.com/office/drawing/2014/main" id="{55092D38-D89E-4592-9341-5CEA7B04F315}"/>
                </a:ext>
              </a:extLst>
            </p:cNvPr>
            <p:cNvSpPr/>
            <p:nvPr/>
          </p:nvSpPr>
          <p:spPr>
            <a:xfrm>
              <a:off x="7864083" y="3831726"/>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83" name="Group 582">
              <a:extLst>
                <a:ext uri="{FF2B5EF4-FFF2-40B4-BE49-F238E27FC236}">
                  <a16:creationId xmlns:a16="http://schemas.microsoft.com/office/drawing/2014/main" id="{E738FDCB-C0ED-40B0-9925-83514DB0190F}"/>
                </a:ext>
              </a:extLst>
            </p:cNvPr>
            <p:cNvGrpSpPr/>
            <p:nvPr/>
          </p:nvGrpSpPr>
          <p:grpSpPr>
            <a:xfrm>
              <a:off x="8066277" y="4083630"/>
              <a:ext cx="704134" cy="496064"/>
              <a:chOff x="666470" y="4042603"/>
              <a:chExt cx="965461" cy="680169"/>
            </a:xfrm>
          </p:grpSpPr>
          <p:sp>
            <p:nvSpPr>
              <p:cNvPr id="581" name="Graphic 564">
                <a:extLst>
                  <a:ext uri="{FF2B5EF4-FFF2-40B4-BE49-F238E27FC236}">
                    <a16:creationId xmlns:a16="http://schemas.microsoft.com/office/drawing/2014/main" id="{44FC3D63-F7B8-4DC9-A9C9-4A3CA2E61945}"/>
                  </a:ext>
                </a:extLst>
              </p:cNvPr>
              <p:cNvSpPr/>
              <p:nvPr/>
            </p:nvSpPr>
            <p:spPr>
              <a:xfrm>
                <a:off x="955696" y="4042603"/>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2" name="Rectangle: Rounded Corners 581">
                <a:extLst>
                  <a:ext uri="{FF2B5EF4-FFF2-40B4-BE49-F238E27FC236}">
                    <a16:creationId xmlns:a16="http://schemas.microsoft.com/office/drawing/2014/main" id="{56C8652A-5328-4719-9632-F50C1FD3B282}"/>
                  </a:ext>
                </a:extLst>
              </p:cNvPr>
              <p:cNvSpPr/>
              <p:nvPr/>
            </p:nvSpPr>
            <p:spPr>
              <a:xfrm>
                <a:off x="954054" y="4352654"/>
                <a:ext cx="407146" cy="113917"/>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algn="ctr">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7" name="Graphic 564">
                <a:extLst>
                  <a:ext uri="{FF2B5EF4-FFF2-40B4-BE49-F238E27FC236}">
                    <a16:creationId xmlns:a16="http://schemas.microsoft.com/office/drawing/2014/main" id="{8106BC7B-2C5D-4626-8142-EE7B1DACB8C3}"/>
                  </a:ext>
                </a:extLst>
              </p:cNvPr>
              <p:cNvSpPr/>
              <p:nvPr/>
            </p:nvSpPr>
            <p:spPr>
              <a:xfrm>
                <a:off x="666470" y="4264149"/>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8" name="Graphic 564">
                <a:extLst>
                  <a:ext uri="{FF2B5EF4-FFF2-40B4-BE49-F238E27FC236}">
                    <a16:creationId xmlns:a16="http://schemas.microsoft.com/office/drawing/2014/main" id="{44EB1B4D-2AF9-4E81-858C-A0185B9C79AB}"/>
                  </a:ext>
                </a:extLst>
              </p:cNvPr>
              <p:cNvSpPr/>
              <p:nvPr/>
            </p:nvSpPr>
            <p:spPr>
              <a:xfrm>
                <a:off x="1247331" y="4264149"/>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79" name="Rectangle: Rounded Corners 578">
                <a:extLst>
                  <a:ext uri="{FF2B5EF4-FFF2-40B4-BE49-F238E27FC236}">
                    <a16:creationId xmlns:a16="http://schemas.microsoft.com/office/drawing/2014/main" id="{210800C9-2A2A-41C8-9807-52B74DD95C63}"/>
                  </a:ext>
                </a:extLst>
              </p:cNvPr>
              <p:cNvSpPr/>
              <p:nvPr/>
            </p:nvSpPr>
            <p:spPr>
              <a:xfrm>
                <a:off x="977812" y="4529296"/>
                <a:ext cx="359629" cy="155724"/>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algn="ctr">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0" name="Graphic 564">
                <a:extLst>
                  <a:ext uri="{FF2B5EF4-FFF2-40B4-BE49-F238E27FC236}">
                    <a16:creationId xmlns:a16="http://schemas.microsoft.com/office/drawing/2014/main" id="{E2BCB04D-F943-4F67-BF41-EA229209D88E}"/>
                  </a:ext>
                </a:extLst>
              </p:cNvPr>
              <p:cNvSpPr/>
              <p:nvPr/>
            </p:nvSpPr>
            <p:spPr>
              <a:xfrm>
                <a:off x="959403" y="4335822"/>
                <a:ext cx="384600" cy="386950"/>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solidFill>
                <a:schemeClr val="tx2"/>
              </a:solid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13" name="Group 12">
            <a:extLst>
              <a:ext uri="{FF2B5EF4-FFF2-40B4-BE49-F238E27FC236}">
                <a16:creationId xmlns:a16="http://schemas.microsoft.com/office/drawing/2014/main" id="{2D47A3BD-7D76-418E-9E2D-52F53D3E853D}"/>
              </a:ext>
            </a:extLst>
          </p:cNvPr>
          <p:cNvGrpSpPr/>
          <p:nvPr/>
        </p:nvGrpSpPr>
        <p:grpSpPr>
          <a:xfrm>
            <a:off x="8384428" y="2866599"/>
            <a:ext cx="689112" cy="689112"/>
            <a:chOff x="7864083" y="2545691"/>
            <a:chExt cx="1107922" cy="1107922"/>
          </a:xfrm>
        </p:grpSpPr>
        <p:sp>
          <p:nvSpPr>
            <p:cNvPr id="605" name="Oval 604">
              <a:extLst>
                <a:ext uri="{FF2B5EF4-FFF2-40B4-BE49-F238E27FC236}">
                  <a16:creationId xmlns:a16="http://schemas.microsoft.com/office/drawing/2014/main" id="{3E793FD3-373D-4DDA-8D5E-9DF92C19D4C8}"/>
                </a:ext>
              </a:extLst>
            </p:cNvPr>
            <p:cNvSpPr/>
            <p:nvPr/>
          </p:nvSpPr>
          <p:spPr>
            <a:xfrm>
              <a:off x="7864083" y="2545691"/>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87" name="Group 586">
              <a:extLst>
                <a:ext uri="{FF2B5EF4-FFF2-40B4-BE49-F238E27FC236}">
                  <a16:creationId xmlns:a16="http://schemas.microsoft.com/office/drawing/2014/main" id="{32480513-919D-42BA-BD21-EE83C68F309D}"/>
                </a:ext>
              </a:extLst>
            </p:cNvPr>
            <p:cNvGrpSpPr/>
            <p:nvPr/>
          </p:nvGrpSpPr>
          <p:grpSpPr>
            <a:xfrm>
              <a:off x="8047680" y="2870656"/>
              <a:ext cx="740730" cy="457994"/>
              <a:chOff x="377183" y="2557693"/>
              <a:chExt cx="1389203" cy="858947"/>
            </a:xfrm>
          </p:grpSpPr>
          <p:grpSp>
            <p:nvGrpSpPr>
              <p:cNvPr id="570" name="Group 569">
                <a:extLst>
                  <a:ext uri="{FF2B5EF4-FFF2-40B4-BE49-F238E27FC236}">
                    <a16:creationId xmlns:a16="http://schemas.microsoft.com/office/drawing/2014/main" id="{FB959A1E-05D2-4B06-A672-4EA92357B22B}"/>
                  </a:ext>
                </a:extLst>
              </p:cNvPr>
              <p:cNvGrpSpPr/>
              <p:nvPr/>
            </p:nvGrpSpPr>
            <p:grpSpPr>
              <a:xfrm>
                <a:off x="377183" y="2756727"/>
                <a:ext cx="1389203" cy="659913"/>
                <a:chOff x="5081911" y="3456060"/>
                <a:chExt cx="1389203" cy="659913"/>
              </a:xfrm>
              <a:solidFill>
                <a:schemeClr val="tx2"/>
              </a:solidFill>
            </p:grpSpPr>
            <p:sp>
              <p:nvSpPr>
                <p:cNvPr id="567" name="Graphic 564">
                  <a:extLst>
                    <a:ext uri="{FF2B5EF4-FFF2-40B4-BE49-F238E27FC236}">
                      <a16:creationId xmlns:a16="http://schemas.microsoft.com/office/drawing/2014/main" id="{4CC50D95-89D4-4449-8787-CB051467B5A5}"/>
                    </a:ext>
                  </a:extLst>
                </p:cNvPr>
                <p:cNvSpPr/>
                <p:nvPr/>
              </p:nvSpPr>
              <p:spPr>
                <a:xfrm>
                  <a:off x="5081911" y="3456060"/>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68" name="Graphic 564">
                  <a:extLst>
                    <a:ext uri="{FF2B5EF4-FFF2-40B4-BE49-F238E27FC236}">
                      <a16:creationId xmlns:a16="http://schemas.microsoft.com/office/drawing/2014/main" id="{29315FAB-7D43-4588-BF3D-CB1785061D09}"/>
                    </a:ext>
                  </a:extLst>
                </p:cNvPr>
                <p:cNvSpPr/>
                <p:nvPr/>
              </p:nvSpPr>
              <p:spPr>
                <a:xfrm>
                  <a:off x="5917712" y="3456060"/>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69" name="Rectangle: Rounded Corners 568">
                  <a:extLst>
                    <a:ext uri="{FF2B5EF4-FFF2-40B4-BE49-F238E27FC236}">
                      <a16:creationId xmlns:a16="http://schemas.microsoft.com/office/drawing/2014/main" id="{7CDC4BDA-64CC-49EB-BC22-264FA4A605EA}"/>
                    </a:ext>
                  </a:extLst>
                </p:cNvPr>
                <p:cNvSpPr/>
                <p:nvPr/>
              </p:nvSpPr>
              <p:spPr>
                <a:xfrm>
                  <a:off x="5529902" y="3837581"/>
                  <a:ext cx="517470" cy="224071"/>
                </a:xfrm>
                <a:prstGeom prst="roundRect">
                  <a:avLst>
                    <a:gd name="adj" fmla="val 50000"/>
                  </a:avLst>
                </a:prstGeom>
                <a:solidFill>
                  <a:schemeClr val="bg2"/>
                </a:solidFill>
                <a:ln w="63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algn="ctr">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66" name="Graphic 564">
                  <a:extLst>
                    <a:ext uri="{FF2B5EF4-FFF2-40B4-BE49-F238E27FC236}">
                      <a16:creationId xmlns:a16="http://schemas.microsoft.com/office/drawing/2014/main" id="{218253CA-741F-48C4-A07A-03C8727E25EB}"/>
                    </a:ext>
                  </a:extLst>
                </p:cNvPr>
                <p:cNvSpPr/>
                <p:nvPr/>
              </p:nvSpPr>
              <p:spPr>
                <a:xfrm>
                  <a:off x="5503413" y="3559191"/>
                  <a:ext cx="553402" cy="556782"/>
                </a:xfrm>
                <a:custGeom>
                  <a:avLst/>
                  <a:gdLst>
                    <a:gd name="connsiteX0" fmla="*/ 361093 w 553402"/>
                    <a:gd name="connsiteY0" fmla="*/ 293416 h 556782"/>
                    <a:gd name="connsiteX1" fmla="*/ 410648 w 553402"/>
                    <a:gd name="connsiteY1" fmla="*/ 74125 h 556782"/>
                    <a:gd name="connsiteX2" fmla="*/ 191357 w 553402"/>
                    <a:gd name="connsiteY2" fmla="*/ 24569 h 556782"/>
                    <a:gd name="connsiteX3" fmla="*/ 141802 w 553402"/>
                    <a:gd name="connsiteY3" fmla="*/ 243861 h 556782"/>
                    <a:gd name="connsiteX4" fmla="*/ 191357 w 553402"/>
                    <a:gd name="connsiteY4" fmla="*/ 293416 h 556782"/>
                    <a:gd name="connsiteX5" fmla="*/ 0 w 553402"/>
                    <a:gd name="connsiteY5" fmla="*/ 556783 h 556782"/>
                    <a:gd name="connsiteX6" fmla="*/ 38100 w 553402"/>
                    <a:gd name="connsiteY6" fmla="*/ 556783 h 556782"/>
                    <a:gd name="connsiteX7" fmla="*/ 276701 w 553402"/>
                    <a:gd name="connsiteY7" fmla="*/ 318181 h 556782"/>
                    <a:gd name="connsiteX8" fmla="*/ 515303 w 553402"/>
                    <a:gd name="connsiteY8" fmla="*/ 556783 h 556782"/>
                    <a:gd name="connsiteX9" fmla="*/ 553403 w 553402"/>
                    <a:gd name="connsiteY9" fmla="*/ 556783 h 556782"/>
                    <a:gd name="connsiteX10" fmla="*/ 361093 w 553402"/>
                    <a:gd name="connsiteY10" fmla="*/ 293416 h 556782"/>
                    <a:gd name="connsiteX11" fmla="*/ 276225 w 553402"/>
                    <a:gd name="connsiteY11" fmla="*/ 38241 h 556782"/>
                    <a:gd name="connsiteX12" fmla="*/ 397288 w 553402"/>
                    <a:gd name="connsiteY12" fmla="*/ 159114 h 556782"/>
                    <a:gd name="connsiteX13" fmla="*/ 276415 w 553402"/>
                    <a:gd name="connsiteY13" fmla="*/ 280176 h 556782"/>
                    <a:gd name="connsiteX14" fmla="*/ 155353 w 553402"/>
                    <a:gd name="connsiteY14" fmla="*/ 159304 h 556782"/>
                    <a:gd name="connsiteX15" fmla="*/ 155353 w 553402"/>
                    <a:gd name="connsiteY15" fmla="*/ 159114 h 556782"/>
                    <a:gd name="connsiteX16" fmla="*/ 276225 w 553402"/>
                    <a:gd name="connsiteY16" fmla="*/ 38241 h 55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3402" h="556782">
                      <a:moveTo>
                        <a:pt x="361093" y="293416"/>
                      </a:moveTo>
                      <a:cubicBezTo>
                        <a:pt x="435333" y="246545"/>
                        <a:pt x="457520" y="148365"/>
                        <a:pt x="410648" y="74125"/>
                      </a:cubicBezTo>
                      <a:cubicBezTo>
                        <a:pt x="363777" y="-115"/>
                        <a:pt x="265597" y="-22302"/>
                        <a:pt x="191357" y="24569"/>
                      </a:cubicBezTo>
                      <a:cubicBezTo>
                        <a:pt x="117117" y="71441"/>
                        <a:pt x="94930" y="169621"/>
                        <a:pt x="141802" y="243861"/>
                      </a:cubicBezTo>
                      <a:cubicBezTo>
                        <a:pt x="154428" y="263860"/>
                        <a:pt x="171358" y="280790"/>
                        <a:pt x="191357" y="293416"/>
                      </a:cubicBezTo>
                      <a:cubicBezTo>
                        <a:pt x="77306" y="330554"/>
                        <a:pt x="83" y="436837"/>
                        <a:pt x="0" y="556783"/>
                      </a:cubicBezTo>
                      <a:lnTo>
                        <a:pt x="38100" y="556783"/>
                      </a:lnTo>
                      <a:cubicBezTo>
                        <a:pt x="38100" y="425007"/>
                        <a:pt x="144925" y="318181"/>
                        <a:pt x="276701" y="318181"/>
                      </a:cubicBezTo>
                      <a:cubicBezTo>
                        <a:pt x="408477" y="318181"/>
                        <a:pt x="515303" y="425007"/>
                        <a:pt x="515303" y="556783"/>
                      </a:cubicBezTo>
                      <a:lnTo>
                        <a:pt x="553403" y="556783"/>
                      </a:lnTo>
                      <a:cubicBezTo>
                        <a:pt x="553186" y="436582"/>
                        <a:pt x="475521" y="330220"/>
                        <a:pt x="361093" y="293416"/>
                      </a:cubicBezTo>
                      <a:close/>
                      <a:moveTo>
                        <a:pt x="276225" y="38241"/>
                      </a:moveTo>
                      <a:cubicBezTo>
                        <a:pt x="343034" y="38189"/>
                        <a:pt x="397235" y="92305"/>
                        <a:pt x="397288" y="159114"/>
                      </a:cubicBezTo>
                      <a:cubicBezTo>
                        <a:pt x="397340" y="225922"/>
                        <a:pt x="343224" y="280124"/>
                        <a:pt x="276415" y="280176"/>
                      </a:cubicBezTo>
                      <a:cubicBezTo>
                        <a:pt x="209607" y="280229"/>
                        <a:pt x="155405" y="226113"/>
                        <a:pt x="155353" y="159304"/>
                      </a:cubicBezTo>
                      <a:cubicBezTo>
                        <a:pt x="155353" y="159241"/>
                        <a:pt x="155353" y="159177"/>
                        <a:pt x="155353" y="159114"/>
                      </a:cubicBezTo>
                      <a:cubicBezTo>
                        <a:pt x="155405" y="92380"/>
                        <a:pt x="209491" y="38294"/>
                        <a:pt x="276225" y="38241"/>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584" name="Star: 5 Points 583">
                <a:extLst>
                  <a:ext uri="{FF2B5EF4-FFF2-40B4-BE49-F238E27FC236}">
                    <a16:creationId xmlns:a16="http://schemas.microsoft.com/office/drawing/2014/main" id="{051E0357-93CD-4780-83DE-00A108C946D8}"/>
                  </a:ext>
                </a:extLst>
              </p:cNvPr>
              <p:cNvSpPr/>
              <p:nvPr/>
            </p:nvSpPr>
            <p:spPr>
              <a:xfrm>
                <a:off x="579120" y="2557693"/>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5" name="Star: 5 Points 584">
                <a:extLst>
                  <a:ext uri="{FF2B5EF4-FFF2-40B4-BE49-F238E27FC236}">
                    <a16:creationId xmlns:a16="http://schemas.microsoft.com/office/drawing/2014/main" id="{FC34A8A9-7B7E-4787-BDDC-4E37164F6DFD}"/>
                  </a:ext>
                </a:extLst>
              </p:cNvPr>
              <p:cNvSpPr/>
              <p:nvPr/>
            </p:nvSpPr>
            <p:spPr>
              <a:xfrm>
                <a:off x="984640" y="2640942"/>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86" name="Star: 5 Points 585">
                <a:extLst>
                  <a:ext uri="{FF2B5EF4-FFF2-40B4-BE49-F238E27FC236}">
                    <a16:creationId xmlns:a16="http://schemas.microsoft.com/office/drawing/2014/main" id="{F88189FE-8785-4A77-8F9C-3C96F757567D}"/>
                  </a:ext>
                </a:extLst>
              </p:cNvPr>
              <p:cNvSpPr/>
              <p:nvPr/>
            </p:nvSpPr>
            <p:spPr>
              <a:xfrm>
                <a:off x="1412249" y="2563214"/>
                <a:ext cx="156191" cy="156191"/>
              </a:xfrm>
              <a:prstGeom prst="star5">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19" name="Group 18">
            <a:extLst>
              <a:ext uri="{FF2B5EF4-FFF2-40B4-BE49-F238E27FC236}">
                <a16:creationId xmlns:a16="http://schemas.microsoft.com/office/drawing/2014/main" id="{DD310671-AEB7-4E62-99E0-10142DA28735}"/>
              </a:ext>
            </a:extLst>
          </p:cNvPr>
          <p:cNvGrpSpPr/>
          <p:nvPr/>
        </p:nvGrpSpPr>
        <p:grpSpPr>
          <a:xfrm>
            <a:off x="8384428" y="5401725"/>
            <a:ext cx="689112" cy="689112"/>
            <a:chOff x="7864083" y="5117761"/>
            <a:chExt cx="1107922" cy="1107922"/>
          </a:xfrm>
        </p:grpSpPr>
        <p:sp>
          <p:nvSpPr>
            <p:cNvPr id="607" name="Oval 606">
              <a:extLst>
                <a:ext uri="{FF2B5EF4-FFF2-40B4-BE49-F238E27FC236}">
                  <a16:creationId xmlns:a16="http://schemas.microsoft.com/office/drawing/2014/main" id="{537D7029-A620-4F86-A293-FB7F469979C9}"/>
                </a:ext>
              </a:extLst>
            </p:cNvPr>
            <p:cNvSpPr/>
            <p:nvPr/>
          </p:nvSpPr>
          <p:spPr>
            <a:xfrm>
              <a:off x="7864083" y="5117761"/>
              <a:ext cx="1107922" cy="1107922"/>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623" name="Group 622">
              <a:extLst>
                <a:ext uri="{FF2B5EF4-FFF2-40B4-BE49-F238E27FC236}">
                  <a16:creationId xmlns:a16="http://schemas.microsoft.com/office/drawing/2014/main" id="{7F4D4FC4-5ED2-4D9A-885F-E07F52B96AE5}"/>
                </a:ext>
              </a:extLst>
            </p:cNvPr>
            <p:cNvGrpSpPr/>
            <p:nvPr/>
          </p:nvGrpSpPr>
          <p:grpSpPr>
            <a:xfrm>
              <a:off x="8108473" y="5412809"/>
              <a:ext cx="619142" cy="517826"/>
              <a:chOff x="5035619" y="4264481"/>
              <a:chExt cx="848924" cy="710007"/>
            </a:xfrm>
            <a:solidFill>
              <a:schemeClr val="tx1"/>
            </a:solidFill>
          </p:grpSpPr>
          <p:sp>
            <p:nvSpPr>
              <p:cNvPr id="611" name="Freeform: Shape 610">
                <a:extLst>
                  <a:ext uri="{FF2B5EF4-FFF2-40B4-BE49-F238E27FC236}">
                    <a16:creationId xmlns:a16="http://schemas.microsoft.com/office/drawing/2014/main" id="{0DCA9B48-C16B-44F4-826E-B39727D98995}"/>
                  </a:ext>
                </a:extLst>
              </p:cNvPr>
              <p:cNvSpPr/>
              <p:nvPr/>
            </p:nvSpPr>
            <p:spPr>
              <a:xfrm>
                <a:off x="5116627" y="4515360"/>
                <a:ext cx="606342" cy="459128"/>
              </a:xfrm>
              <a:custGeom>
                <a:avLst/>
                <a:gdLst>
                  <a:gd name="connsiteX0" fmla="*/ 159205 w 606342"/>
                  <a:gd name="connsiteY0" fmla="*/ 305205 h 459128"/>
                  <a:gd name="connsiteX1" fmla="*/ 141774 w 606342"/>
                  <a:gd name="connsiteY1" fmla="*/ 292346 h 459128"/>
                  <a:gd name="connsiteX2" fmla="*/ 135964 w 606342"/>
                  <a:gd name="connsiteY2" fmla="*/ 311396 h 459128"/>
                  <a:gd name="connsiteX3" fmla="*/ 133678 w 606342"/>
                  <a:gd name="connsiteY3" fmla="*/ 314825 h 459128"/>
                  <a:gd name="connsiteX4" fmla="*/ 149299 w 606342"/>
                  <a:gd name="connsiteY4" fmla="*/ 326446 h 459128"/>
                  <a:gd name="connsiteX5" fmla="*/ 152156 w 606342"/>
                  <a:gd name="connsiteY5" fmla="*/ 328541 h 459128"/>
                  <a:gd name="connsiteX6" fmla="*/ 155395 w 606342"/>
                  <a:gd name="connsiteY6" fmla="*/ 323683 h 459128"/>
                  <a:gd name="connsiteX7" fmla="*/ 162253 w 606342"/>
                  <a:gd name="connsiteY7" fmla="*/ 307396 h 459128"/>
                  <a:gd name="connsiteX8" fmla="*/ 275791 w 606342"/>
                  <a:gd name="connsiteY8" fmla="*/ 391787 h 459128"/>
                  <a:gd name="connsiteX9" fmla="*/ 262075 w 606342"/>
                  <a:gd name="connsiteY9" fmla="*/ 381310 h 459128"/>
                  <a:gd name="connsiteX10" fmla="*/ 245025 w 606342"/>
                  <a:gd name="connsiteY10" fmla="*/ 397121 h 459128"/>
                  <a:gd name="connsiteX11" fmla="*/ 263503 w 606342"/>
                  <a:gd name="connsiteY11" fmla="*/ 410837 h 459128"/>
                  <a:gd name="connsiteX12" fmla="*/ 264170 w 606342"/>
                  <a:gd name="connsiteY12" fmla="*/ 411409 h 459128"/>
                  <a:gd name="connsiteX13" fmla="*/ 280172 w 606342"/>
                  <a:gd name="connsiteY13" fmla="*/ 394645 h 459128"/>
                  <a:gd name="connsiteX14" fmla="*/ 606213 w 606342"/>
                  <a:gd name="connsiteY14" fmla="*/ 317492 h 459128"/>
                  <a:gd name="connsiteX15" fmla="*/ 606213 w 606342"/>
                  <a:gd name="connsiteY15" fmla="*/ 314349 h 459128"/>
                  <a:gd name="connsiteX16" fmla="*/ 606213 w 606342"/>
                  <a:gd name="connsiteY16" fmla="*/ 307777 h 459128"/>
                  <a:gd name="connsiteX17" fmla="*/ 603927 w 606342"/>
                  <a:gd name="connsiteY17" fmla="*/ 291203 h 459128"/>
                  <a:gd name="connsiteX18" fmla="*/ 600784 w 606342"/>
                  <a:gd name="connsiteY18" fmla="*/ 284726 h 459128"/>
                  <a:gd name="connsiteX19" fmla="*/ 600784 w 606342"/>
                  <a:gd name="connsiteY19" fmla="*/ 284726 h 459128"/>
                  <a:gd name="connsiteX20" fmla="*/ 562112 w 606342"/>
                  <a:gd name="connsiteY20" fmla="*/ 240911 h 459128"/>
                  <a:gd name="connsiteX21" fmla="*/ 550301 w 606342"/>
                  <a:gd name="connsiteY21" fmla="*/ 232148 h 459128"/>
                  <a:gd name="connsiteX22" fmla="*/ 582877 w 606342"/>
                  <a:gd name="connsiteY22" fmla="*/ 299871 h 459128"/>
                  <a:gd name="connsiteX23" fmla="*/ 582877 w 606342"/>
                  <a:gd name="connsiteY23" fmla="*/ 299871 h 459128"/>
                  <a:gd name="connsiteX24" fmla="*/ 583734 w 606342"/>
                  <a:gd name="connsiteY24" fmla="*/ 315111 h 459128"/>
                  <a:gd name="connsiteX25" fmla="*/ 583734 w 606342"/>
                  <a:gd name="connsiteY25" fmla="*/ 319302 h 459128"/>
                  <a:gd name="connsiteX26" fmla="*/ 578971 w 606342"/>
                  <a:gd name="connsiteY26" fmla="*/ 334637 h 459128"/>
                  <a:gd name="connsiteX27" fmla="*/ 573447 w 606342"/>
                  <a:gd name="connsiteY27" fmla="*/ 340352 h 459128"/>
                  <a:gd name="connsiteX28" fmla="*/ 572304 w 606342"/>
                  <a:gd name="connsiteY28" fmla="*/ 341114 h 459128"/>
                  <a:gd name="connsiteX29" fmla="*/ 547158 w 606342"/>
                  <a:gd name="connsiteY29" fmla="*/ 341114 h 459128"/>
                  <a:gd name="connsiteX30" fmla="*/ 395425 w 606342"/>
                  <a:gd name="connsiteY30" fmla="*/ 220147 h 459128"/>
                  <a:gd name="connsiteX31" fmla="*/ 379309 w 606342"/>
                  <a:gd name="connsiteY31" fmla="*/ 222582 h 459128"/>
                  <a:gd name="connsiteX32" fmla="*/ 380947 w 606342"/>
                  <a:gd name="connsiteY32" fmla="*/ 238054 h 459128"/>
                  <a:gd name="connsiteX33" fmla="*/ 494485 w 606342"/>
                  <a:gd name="connsiteY33" fmla="*/ 329494 h 459128"/>
                  <a:gd name="connsiteX34" fmla="*/ 519250 w 606342"/>
                  <a:gd name="connsiteY34" fmla="*/ 364450 h 459128"/>
                  <a:gd name="connsiteX35" fmla="*/ 520583 w 606342"/>
                  <a:gd name="connsiteY35" fmla="*/ 368260 h 459128"/>
                  <a:gd name="connsiteX36" fmla="*/ 518583 w 606342"/>
                  <a:gd name="connsiteY36" fmla="*/ 377785 h 459128"/>
                  <a:gd name="connsiteX37" fmla="*/ 517726 w 606342"/>
                  <a:gd name="connsiteY37" fmla="*/ 378643 h 459128"/>
                  <a:gd name="connsiteX38" fmla="*/ 496009 w 606342"/>
                  <a:gd name="connsiteY38" fmla="*/ 386072 h 459128"/>
                  <a:gd name="connsiteX39" fmla="*/ 477911 w 606342"/>
                  <a:gd name="connsiteY39" fmla="*/ 378071 h 459128"/>
                  <a:gd name="connsiteX40" fmla="*/ 347800 w 606342"/>
                  <a:gd name="connsiteY40" fmla="*/ 261771 h 459128"/>
                  <a:gd name="connsiteX41" fmla="*/ 331512 w 606342"/>
                  <a:gd name="connsiteY41" fmla="*/ 262628 h 459128"/>
                  <a:gd name="connsiteX42" fmla="*/ 332369 w 606342"/>
                  <a:gd name="connsiteY42" fmla="*/ 278916 h 459128"/>
                  <a:gd name="connsiteX43" fmla="*/ 439716 w 606342"/>
                  <a:gd name="connsiteY43" fmla="*/ 376261 h 459128"/>
                  <a:gd name="connsiteX44" fmla="*/ 442669 w 606342"/>
                  <a:gd name="connsiteY44" fmla="*/ 381119 h 459128"/>
                  <a:gd name="connsiteX45" fmla="*/ 442669 w 606342"/>
                  <a:gd name="connsiteY45" fmla="*/ 382262 h 459128"/>
                  <a:gd name="connsiteX46" fmla="*/ 448193 w 606342"/>
                  <a:gd name="connsiteY46" fmla="*/ 397978 h 459128"/>
                  <a:gd name="connsiteX47" fmla="*/ 447431 w 606342"/>
                  <a:gd name="connsiteY47" fmla="*/ 411694 h 459128"/>
                  <a:gd name="connsiteX48" fmla="*/ 445812 w 606342"/>
                  <a:gd name="connsiteY48" fmla="*/ 415123 h 459128"/>
                  <a:gd name="connsiteX49" fmla="*/ 439716 w 606342"/>
                  <a:gd name="connsiteY49" fmla="*/ 420267 h 459128"/>
                  <a:gd name="connsiteX50" fmla="*/ 404950 w 606342"/>
                  <a:gd name="connsiteY50" fmla="*/ 410742 h 459128"/>
                  <a:gd name="connsiteX51" fmla="*/ 329321 w 606342"/>
                  <a:gd name="connsiteY51" fmla="*/ 334542 h 459128"/>
                  <a:gd name="connsiteX52" fmla="*/ 313224 w 606342"/>
                  <a:gd name="connsiteY52" fmla="*/ 334542 h 459128"/>
                  <a:gd name="connsiteX53" fmla="*/ 312557 w 606342"/>
                  <a:gd name="connsiteY53" fmla="*/ 350544 h 459128"/>
                  <a:gd name="connsiteX54" fmla="*/ 374946 w 606342"/>
                  <a:gd name="connsiteY54" fmla="*/ 420648 h 459128"/>
                  <a:gd name="connsiteX55" fmla="*/ 374784 w 606342"/>
                  <a:gd name="connsiteY55" fmla="*/ 434117 h 459128"/>
                  <a:gd name="connsiteX56" fmla="*/ 373422 w 606342"/>
                  <a:gd name="connsiteY56" fmla="*/ 435221 h 459128"/>
                  <a:gd name="connsiteX57" fmla="*/ 372184 w 606342"/>
                  <a:gd name="connsiteY57" fmla="*/ 436078 h 459128"/>
                  <a:gd name="connsiteX58" fmla="*/ 328750 w 606342"/>
                  <a:gd name="connsiteY58" fmla="*/ 426553 h 459128"/>
                  <a:gd name="connsiteX59" fmla="*/ 308271 w 606342"/>
                  <a:gd name="connsiteY59" fmla="*/ 415504 h 459128"/>
                  <a:gd name="connsiteX60" fmla="*/ 306556 w 606342"/>
                  <a:gd name="connsiteY60" fmla="*/ 419219 h 459128"/>
                  <a:gd name="connsiteX61" fmla="*/ 292364 w 606342"/>
                  <a:gd name="connsiteY61" fmla="*/ 432554 h 459128"/>
                  <a:gd name="connsiteX62" fmla="*/ 375613 w 606342"/>
                  <a:gd name="connsiteY62" fmla="*/ 459129 h 459128"/>
                  <a:gd name="connsiteX63" fmla="*/ 382090 w 606342"/>
                  <a:gd name="connsiteY63" fmla="*/ 457129 h 459128"/>
                  <a:gd name="connsiteX64" fmla="*/ 385900 w 606342"/>
                  <a:gd name="connsiteY64" fmla="*/ 454271 h 459128"/>
                  <a:gd name="connsiteX65" fmla="*/ 399139 w 606342"/>
                  <a:gd name="connsiteY65" fmla="*/ 435793 h 459128"/>
                  <a:gd name="connsiteX66" fmla="*/ 445907 w 606342"/>
                  <a:gd name="connsiteY66" fmla="*/ 442270 h 459128"/>
                  <a:gd name="connsiteX67" fmla="*/ 466386 w 606342"/>
                  <a:gd name="connsiteY67" fmla="*/ 425029 h 459128"/>
                  <a:gd name="connsiteX68" fmla="*/ 468005 w 606342"/>
                  <a:gd name="connsiteY68" fmla="*/ 421600 h 459128"/>
                  <a:gd name="connsiteX69" fmla="*/ 471625 w 606342"/>
                  <a:gd name="connsiteY69" fmla="*/ 401788 h 459128"/>
                  <a:gd name="connsiteX70" fmla="*/ 491818 w 606342"/>
                  <a:gd name="connsiteY70" fmla="*/ 409027 h 459128"/>
                  <a:gd name="connsiteX71" fmla="*/ 534204 w 606342"/>
                  <a:gd name="connsiteY71" fmla="*/ 394549 h 459128"/>
                  <a:gd name="connsiteX72" fmla="*/ 535061 w 606342"/>
                  <a:gd name="connsiteY72" fmla="*/ 393597 h 459128"/>
                  <a:gd name="connsiteX73" fmla="*/ 543253 w 606342"/>
                  <a:gd name="connsiteY73" fmla="*/ 365784 h 459128"/>
                  <a:gd name="connsiteX74" fmla="*/ 585067 w 606342"/>
                  <a:gd name="connsiteY74" fmla="*/ 360164 h 459128"/>
                  <a:gd name="connsiteX75" fmla="*/ 585925 w 606342"/>
                  <a:gd name="connsiteY75" fmla="*/ 359021 h 459128"/>
                  <a:gd name="connsiteX76" fmla="*/ 595450 w 606342"/>
                  <a:gd name="connsiteY76" fmla="*/ 349496 h 459128"/>
                  <a:gd name="connsiteX77" fmla="*/ 606213 w 606342"/>
                  <a:gd name="connsiteY77" fmla="*/ 317492 h 459128"/>
                  <a:gd name="connsiteX78" fmla="*/ 362182 w 606342"/>
                  <a:gd name="connsiteY78" fmla="*/ 30218 h 459128"/>
                  <a:gd name="connsiteX79" fmla="*/ 362182 w 606342"/>
                  <a:gd name="connsiteY79" fmla="*/ 30790 h 459128"/>
                  <a:gd name="connsiteX80" fmla="*/ 386281 w 606342"/>
                  <a:gd name="connsiteY80" fmla="*/ 30790 h 459128"/>
                  <a:gd name="connsiteX81" fmla="*/ 390281 w 606342"/>
                  <a:gd name="connsiteY81" fmla="*/ 30790 h 459128"/>
                  <a:gd name="connsiteX82" fmla="*/ 377708 w 606342"/>
                  <a:gd name="connsiteY82" fmla="*/ 12311 h 459128"/>
                  <a:gd name="connsiteX83" fmla="*/ 369231 w 606342"/>
                  <a:gd name="connsiteY83" fmla="*/ 7263 h 459128"/>
                  <a:gd name="connsiteX84" fmla="*/ 293031 w 606342"/>
                  <a:gd name="connsiteY84" fmla="*/ 500 h 459128"/>
                  <a:gd name="connsiteX85" fmla="*/ 278172 w 606342"/>
                  <a:gd name="connsiteY85" fmla="*/ 500 h 459128"/>
                  <a:gd name="connsiteX86" fmla="*/ 131201 w 606342"/>
                  <a:gd name="connsiteY86" fmla="*/ 21741 h 459128"/>
                  <a:gd name="connsiteX87" fmla="*/ 121676 w 606342"/>
                  <a:gd name="connsiteY87" fmla="*/ 23074 h 459128"/>
                  <a:gd name="connsiteX88" fmla="*/ 87577 w 606342"/>
                  <a:gd name="connsiteY88" fmla="*/ 24313 h 459128"/>
                  <a:gd name="connsiteX89" fmla="*/ 109960 w 606342"/>
                  <a:gd name="connsiteY89" fmla="*/ 36124 h 459128"/>
                  <a:gd name="connsiteX90" fmla="*/ 108055 w 606342"/>
                  <a:gd name="connsiteY90" fmla="*/ 46601 h 459128"/>
                  <a:gd name="connsiteX91" fmla="*/ 123105 w 606342"/>
                  <a:gd name="connsiteY91" fmla="*/ 46601 h 459128"/>
                  <a:gd name="connsiteX92" fmla="*/ 124343 w 606342"/>
                  <a:gd name="connsiteY92" fmla="*/ 46601 h 459128"/>
                  <a:gd name="connsiteX93" fmla="*/ 131773 w 606342"/>
                  <a:gd name="connsiteY93" fmla="*/ 45553 h 459128"/>
                  <a:gd name="connsiteX94" fmla="*/ 281125 w 606342"/>
                  <a:gd name="connsiteY94" fmla="*/ 23836 h 459128"/>
                  <a:gd name="connsiteX95" fmla="*/ 290078 w 606342"/>
                  <a:gd name="connsiteY95" fmla="*/ 23836 h 459128"/>
                  <a:gd name="connsiteX96" fmla="*/ 308652 w 606342"/>
                  <a:gd name="connsiteY96" fmla="*/ 25456 h 459128"/>
                  <a:gd name="connsiteX97" fmla="*/ 93387 w 606342"/>
                  <a:gd name="connsiteY97" fmla="*/ 273296 h 459128"/>
                  <a:gd name="connsiteX98" fmla="*/ 74337 w 606342"/>
                  <a:gd name="connsiteY98" fmla="*/ 266914 h 459128"/>
                  <a:gd name="connsiteX99" fmla="*/ 49000 w 606342"/>
                  <a:gd name="connsiteY99" fmla="*/ 261866 h 459128"/>
                  <a:gd name="connsiteX100" fmla="*/ 42809 w 606342"/>
                  <a:gd name="connsiteY100" fmla="*/ 261866 h 459128"/>
                  <a:gd name="connsiteX101" fmla="*/ 27093 w 606342"/>
                  <a:gd name="connsiteY101" fmla="*/ 261866 h 459128"/>
                  <a:gd name="connsiteX102" fmla="*/ 32046 w 606342"/>
                  <a:gd name="connsiteY102" fmla="*/ 245959 h 459128"/>
                  <a:gd name="connsiteX103" fmla="*/ 18330 w 606342"/>
                  <a:gd name="connsiteY103" fmla="*/ 267676 h 459128"/>
                  <a:gd name="connsiteX104" fmla="*/ 2518 w 606342"/>
                  <a:gd name="connsiteY104" fmla="*/ 262819 h 459128"/>
                  <a:gd name="connsiteX105" fmla="*/ 518 w 606342"/>
                  <a:gd name="connsiteY105" fmla="*/ 269105 h 459128"/>
                  <a:gd name="connsiteX106" fmla="*/ 2137 w 606342"/>
                  <a:gd name="connsiteY106" fmla="*/ 279297 h 459128"/>
                  <a:gd name="connsiteX107" fmla="*/ 11662 w 606342"/>
                  <a:gd name="connsiteY107" fmla="*/ 284059 h 459128"/>
                  <a:gd name="connsiteX108" fmla="*/ 34808 w 606342"/>
                  <a:gd name="connsiteY108" fmla="*/ 284059 h 459128"/>
                  <a:gd name="connsiteX109" fmla="*/ 42809 w 606342"/>
                  <a:gd name="connsiteY109" fmla="*/ 284059 h 459128"/>
                  <a:gd name="connsiteX110" fmla="*/ 67479 w 606342"/>
                  <a:gd name="connsiteY110" fmla="*/ 288250 h 459128"/>
                  <a:gd name="connsiteX111" fmla="*/ 80814 w 606342"/>
                  <a:gd name="connsiteY111" fmla="*/ 292727 h 459128"/>
                  <a:gd name="connsiteX112" fmla="*/ 102817 w 606342"/>
                  <a:gd name="connsiteY112" fmla="*/ 300061 h 459128"/>
                  <a:gd name="connsiteX113" fmla="*/ 107198 w 606342"/>
                  <a:gd name="connsiteY113" fmla="*/ 292441 h 459128"/>
                  <a:gd name="connsiteX114" fmla="*/ 119200 w 606342"/>
                  <a:gd name="connsiteY114" fmla="*/ 282154 h 459128"/>
                  <a:gd name="connsiteX115" fmla="*/ 212735 w 606342"/>
                  <a:gd name="connsiteY115" fmla="*/ 344829 h 459128"/>
                  <a:gd name="connsiteX116" fmla="*/ 202639 w 606342"/>
                  <a:gd name="connsiteY116" fmla="*/ 337304 h 459128"/>
                  <a:gd name="connsiteX117" fmla="*/ 187208 w 606342"/>
                  <a:gd name="connsiteY117" fmla="*/ 354449 h 459128"/>
                  <a:gd name="connsiteX118" fmla="*/ 206258 w 606342"/>
                  <a:gd name="connsiteY118" fmla="*/ 368260 h 459128"/>
                  <a:gd name="connsiteX119" fmla="*/ 206258 w 606342"/>
                  <a:gd name="connsiteY119" fmla="*/ 368260 h 459128"/>
                  <a:gd name="connsiteX120" fmla="*/ 221308 w 606342"/>
                  <a:gd name="connsiteY120" fmla="*/ 350830 h 459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606342" h="459128">
                    <a:moveTo>
                      <a:pt x="159205" y="305205"/>
                    </a:moveTo>
                    <a:lnTo>
                      <a:pt x="141774" y="292346"/>
                    </a:lnTo>
                    <a:cubicBezTo>
                      <a:pt x="141201" y="299035"/>
                      <a:pt x="139221" y="305527"/>
                      <a:pt x="135964" y="311396"/>
                    </a:cubicBezTo>
                    <a:cubicBezTo>
                      <a:pt x="135202" y="312666"/>
                      <a:pt x="134440" y="313809"/>
                      <a:pt x="133678" y="314825"/>
                    </a:cubicBezTo>
                    <a:lnTo>
                      <a:pt x="149299" y="326446"/>
                    </a:lnTo>
                    <a:lnTo>
                      <a:pt x="152156" y="328541"/>
                    </a:lnTo>
                    <a:cubicBezTo>
                      <a:pt x="153299" y="326922"/>
                      <a:pt x="154347" y="325303"/>
                      <a:pt x="155395" y="323683"/>
                    </a:cubicBezTo>
                    <a:cubicBezTo>
                      <a:pt x="158481" y="318627"/>
                      <a:pt x="160792" y="313137"/>
                      <a:pt x="162253" y="307396"/>
                    </a:cubicBezTo>
                    <a:close/>
                    <a:moveTo>
                      <a:pt x="275791" y="391787"/>
                    </a:moveTo>
                    <a:lnTo>
                      <a:pt x="262075" y="381310"/>
                    </a:lnTo>
                    <a:cubicBezTo>
                      <a:pt x="257208" y="387397"/>
                      <a:pt x="251462" y="392726"/>
                      <a:pt x="245025" y="397121"/>
                    </a:cubicBezTo>
                    <a:lnTo>
                      <a:pt x="263503" y="410837"/>
                    </a:lnTo>
                    <a:lnTo>
                      <a:pt x="264170" y="411409"/>
                    </a:lnTo>
                    <a:cubicBezTo>
                      <a:pt x="270089" y="406410"/>
                      <a:pt x="275454" y="400790"/>
                      <a:pt x="280172" y="394645"/>
                    </a:cubicBezTo>
                    <a:close/>
                    <a:moveTo>
                      <a:pt x="606213" y="317492"/>
                    </a:moveTo>
                    <a:cubicBezTo>
                      <a:pt x="606213" y="317016"/>
                      <a:pt x="606213" y="315873"/>
                      <a:pt x="606213" y="314349"/>
                    </a:cubicBezTo>
                    <a:cubicBezTo>
                      <a:pt x="606213" y="312825"/>
                      <a:pt x="606213" y="309682"/>
                      <a:pt x="606213" y="307777"/>
                    </a:cubicBezTo>
                    <a:cubicBezTo>
                      <a:pt x="606457" y="302159"/>
                      <a:pt x="605683" y="296544"/>
                      <a:pt x="603927" y="291203"/>
                    </a:cubicBezTo>
                    <a:lnTo>
                      <a:pt x="600784" y="284726"/>
                    </a:lnTo>
                    <a:lnTo>
                      <a:pt x="600784" y="284726"/>
                    </a:lnTo>
                    <a:cubicBezTo>
                      <a:pt x="591050" y="267613"/>
                      <a:pt x="577884" y="252696"/>
                      <a:pt x="562112" y="240911"/>
                    </a:cubicBezTo>
                    <a:lnTo>
                      <a:pt x="550301" y="232148"/>
                    </a:lnTo>
                    <a:lnTo>
                      <a:pt x="582877" y="299871"/>
                    </a:lnTo>
                    <a:lnTo>
                      <a:pt x="582877" y="299871"/>
                    </a:lnTo>
                    <a:cubicBezTo>
                      <a:pt x="582877" y="303300"/>
                      <a:pt x="583639" y="312063"/>
                      <a:pt x="583734" y="315111"/>
                    </a:cubicBezTo>
                    <a:cubicBezTo>
                      <a:pt x="583829" y="318159"/>
                      <a:pt x="583734" y="318254"/>
                      <a:pt x="583734" y="319302"/>
                    </a:cubicBezTo>
                    <a:cubicBezTo>
                      <a:pt x="584312" y="324850"/>
                      <a:pt x="582590" y="330392"/>
                      <a:pt x="578971" y="334637"/>
                    </a:cubicBezTo>
                    <a:cubicBezTo>
                      <a:pt x="577281" y="336683"/>
                      <a:pt x="575434" y="338594"/>
                      <a:pt x="573447" y="340352"/>
                    </a:cubicBezTo>
                    <a:lnTo>
                      <a:pt x="572304" y="341114"/>
                    </a:lnTo>
                    <a:cubicBezTo>
                      <a:pt x="564756" y="346404"/>
                      <a:pt x="554705" y="346404"/>
                      <a:pt x="547158" y="341114"/>
                    </a:cubicBezTo>
                    <a:lnTo>
                      <a:pt x="395425" y="220147"/>
                    </a:lnTo>
                    <a:cubicBezTo>
                      <a:pt x="390302" y="216369"/>
                      <a:pt x="383086" y="217459"/>
                      <a:pt x="379309" y="222582"/>
                    </a:cubicBezTo>
                    <a:cubicBezTo>
                      <a:pt x="375767" y="227386"/>
                      <a:pt x="376477" y="234099"/>
                      <a:pt x="380947" y="238054"/>
                    </a:cubicBezTo>
                    <a:lnTo>
                      <a:pt x="494485" y="329494"/>
                    </a:lnTo>
                    <a:cubicBezTo>
                      <a:pt x="505840" y="338606"/>
                      <a:pt x="514419" y="350715"/>
                      <a:pt x="519250" y="364450"/>
                    </a:cubicBezTo>
                    <a:lnTo>
                      <a:pt x="520583" y="368260"/>
                    </a:lnTo>
                    <a:cubicBezTo>
                      <a:pt x="521711" y="371562"/>
                      <a:pt x="520944" y="375216"/>
                      <a:pt x="518583" y="377785"/>
                    </a:cubicBezTo>
                    <a:lnTo>
                      <a:pt x="517726" y="378643"/>
                    </a:lnTo>
                    <a:cubicBezTo>
                      <a:pt x="511843" y="384045"/>
                      <a:pt x="503968" y="386740"/>
                      <a:pt x="496009" y="386072"/>
                    </a:cubicBezTo>
                    <a:cubicBezTo>
                      <a:pt x="489377" y="385045"/>
                      <a:pt x="483134" y="382285"/>
                      <a:pt x="477911" y="378071"/>
                    </a:cubicBezTo>
                    <a:lnTo>
                      <a:pt x="347800" y="261771"/>
                    </a:lnTo>
                    <a:cubicBezTo>
                      <a:pt x="343065" y="257510"/>
                      <a:pt x="335773" y="257894"/>
                      <a:pt x="331512" y="262628"/>
                    </a:cubicBezTo>
                    <a:cubicBezTo>
                      <a:pt x="327251" y="267363"/>
                      <a:pt x="327635" y="274655"/>
                      <a:pt x="332369" y="278916"/>
                    </a:cubicBezTo>
                    <a:lnTo>
                      <a:pt x="439716" y="376261"/>
                    </a:lnTo>
                    <a:cubicBezTo>
                      <a:pt x="441172" y="377542"/>
                      <a:pt x="442202" y="379237"/>
                      <a:pt x="442669" y="381119"/>
                    </a:cubicBezTo>
                    <a:lnTo>
                      <a:pt x="442669" y="382262"/>
                    </a:lnTo>
                    <a:lnTo>
                      <a:pt x="448193" y="397978"/>
                    </a:lnTo>
                    <a:cubicBezTo>
                      <a:pt x="448624" y="402563"/>
                      <a:pt x="448367" y="407186"/>
                      <a:pt x="447431" y="411694"/>
                    </a:cubicBezTo>
                    <a:lnTo>
                      <a:pt x="445812" y="415123"/>
                    </a:lnTo>
                    <a:cubicBezTo>
                      <a:pt x="444630" y="417647"/>
                      <a:pt x="442403" y="419527"/>
                      <a:pt x="439716" y="420267"/>
                    </a:cubicBezTo>
                    <a:cubicBezTo>
                      <a:pt x="427257" y="423686"/>
                      <a:pt x="413926" y="420033"/>
                      <a:pt x="404950" y="410742"/>
                    </a:cubicBezTo>
                    <a:lnTo>
                      <a:pt x="329321" y="334542"/>
                    </a:lnTo>
                    <a:cubicBezTo>
                      <a:pt x="324824" y="330224"/>
                      <a:pt x="317721" y="330224"/>
                      <a:pt x="313224" y="334542"/>
                    </a:cubicBezTo>
                    <a:cubicBezTo>
                      <a:pt x="308677" y="338802"/>
                      <a:pt x="308381" y="345920"/>
                      <a:pt x="312557" y="350544"/>
                    </a:cubicBezTo>
                    <a:lnTo>
                      <a:pt x="374946" y="420648"/>
                    </a:lnTo>
                    <a:cubicBezTo>
                      <a:pt x="378621" y="424412"/>
                      <a:pt x="378548" y="430443"/>
                      <a:pt x="374784" y="434117"/>
                    </a:cubicBezTo>
                    <a:cubicBezTo>
                      <a:pt x="374365" y="434526"/>
                      <a:pt x="373909" y="434896"/>
                      <a:pt x="373422" y="435221"/>
                    </a:cubicBezTo>
                    <a:lnTo>
                      <a:pt x="372184" y="436078"/>
                    </a:lnTo>
                    <a:cubicBezTo>
                      <a:pt x="357237" y="435655"/>
                      <a:pt x="342502" y="432423"/>
                      <a:pt x="328750" y="426553"/>
                    </a:cubicBezTo>
                    <a:cubicBezTo>
                      <a:pt x="321567" y="423572"/>
                      <a:pt x="314706" y="419870"/>
                      <a:pt x="308271" y="415504"/>
                    </a:cubicBezTo>
                    <a:cubicBezTo>
                      <a:pt x="307848" y="416806"/>
                      <a:pt x="307273" y="418053"/>
                      <a:pt x="306556" y="419219"/>
                    </a:cubicBezTo>
                    <a:cubicBezTo>
                      <a:pt x="303099" y="424850"/>
                      <a:pt x="298199" y="429454"/>
                      <a:pt x="292364" y="432554"/>
                    </a:cubicBezTo>
                    <a:cubicBezTo>
                      <a:pt x="316720" y="449764"/>
                      <a:pt x="345790" y="459044"/>
                      <a:pt x="375613" y="459129"/>
                    </a:cubicBezTo>
                    <a:cubicBezTo>
                      <a:pt x="377918" y="459093"/>
                      <a:pt x="380165" y="458399"/>
                      <a:pt x="382090" y="457129"/>
                    </a:cubicBezTo>
                    <a:lnTo>
                      <a:pt x="385900" y="454271"/>
                    </a:lnTo>
                    <a:cubicBezTo>
                      <a:pt x="392324" y="449835"/>
                      <a:pt x="397005" y="443302"/>
                      <a:pt x="399139" y="435793"/>
                    </a:cubicBezTo>
                    <a:cubicBezTo>
                      <a:pt x="413118" y="444451"/>
                      <a:pt x="430102" y="446803"/>
                      <a:pt x="445907" y="442270"/>
                    </a:cubicBezTo>
                    <a:cubicBezTo>
                      <a:pt x="454865" y="439679"/>
                      <a:pt x="462306" y="433415"/>
                      <a:pt x="466386" y="425029"/>
                    </a:cubicBezTo>
                    <a:lnTo>
                      <a:pt x="468005" y="421600"/>
                    </a:lnTo>
                    <a:cubicBezTo>
                      <a:pt x="470477" y="415291"/>
                      <a:pt x="471706" y="408564"/>
                      <a:pt x="471625" y="401788"/>
                    </a:cubicBezTo>
                    <a:cubicBezTo>
                      <a:pt x="477888" y="405347"/>
                      <a:pt x="484720" y="407796"/>
                      <a:pt x="491818" y="409027"/>
                    </a:cubicBezTo>
                    <a:cubicBezTo>
                      <a:pt x="507416" y="410930"/>
                      <a:pt x="523029" y="405597"/>
                      <a:pt x="534204" y="394549"/>
                    </a:cubicBezTo>
                    <a:lnTo>
                      <a:pt x="535061" y="393597"/>
                    </a:lnTo>
                    <a:cubicBezTo>
                      <a:pt x="542048" y="386150"/>
                      <a:pt x="545088" y="375829"/>
                      <a:pt x="543253" y="365784"/>
                    </a:cubicBezTo>
                    <a:cubicBezTo>
                      <a:pt x="557267" y="370905"/>
                      <a:pt x="572903" y="368804"/>
                      <a:pt x="585067" y="360164"/>
                    </a:cubicBezTo>
                    <a:lnTo>
                      <a:pt x="585925" y="359021"/>
                    </a:lnTo>
                    <a:cubicBezTo>
                      <a:pt x="589464" y="356233"/>
                      <a:pt x="592661" y="353036"/>
                      <a:pt x="595450" y="349496"/>
                    </a:cubicBezTo>
                    <a:cubicBezTo>
                      <a:pt x="603236" y="340733"/>
                      <a:pt x="607122" y="329179"/>
                      <a:pt x="606213" y="317492"/>
                    </a:cubicBezTo>
                    <a:close/>
                    <a:moveTo>
                      <a:pt x="362182" y="30218"/>
                    </a:moveTo>
                    <a:lnTo>
                      <a:pt x="362182" y="30790"/>
                    </a:lnTo>
                    <a:lnTo>
                      <a:pt x="386281" y="30790"/>
                    </a:lnTo>
                    <a:cubicBezTo>
                      <a:pt x="387608" y="30608"/>
                      <a:pt x="388954" y="30608"/>
                      <a:pt x="390281" y="30790"/>
                    </a:cubicBezTo>
                    <a:lnTo>
                      <a:pt x="377708" y="12311"/>
                    </a:lnTo>
                    <a:cubicBezTo>
                      <a:pt x="375763" y="9463"/>
                      <a:pt x="372662" y="7616"/>
                      <a:pt x="369231" y="7263"/>
                    </a:cubicBezTo>
                    <a:lnTo>
                      <a:pt x="293031" y="500"/>
                    </a:lnTo>
                    <a:cubicBezTo>
                      <a:pt x="288100" y="-167"/>
                      <a:pt x="283102" y="-167"/>
                      <a:pt x="278172" y="500"/>
                    </a:cubicBezTo>
                    <a:lnTo>
                      <a:pt x="131201" y="21741"/>
                    </a:lnTo>
                    <a:lnTo>
                      <a:pt x="121676" y="23074"/>
                    </a:lnTo>
                    <a:lnTo>
                      <a:pt x="87577" y="24313"/>
                    </a:lnTo>
                    <a:lnTo>
                      <a:pt x="109960" y="36124"/>
                    </a:lnTo>
                    <a:cubicBezTo>
                      <a:pt x="109389" y="39648"/>
                      <a:pt x="108722" y="43077"/>
                      <a:pt x="108055" y="46601"/>
                    </a:cubicBezTo>
                    <a:lnTo>
                      <a:pt x="123105" y="46601"/>
                    </a:lnTo>
                    <a:lnTo>
                      <a:pt x="124343" y="46601"/>
                    </a:lnTo>
                    <a:lnTo>
                      <a:pt x="131773" y="45553"/>
                    </a:lnTo>
                    <a:lnTo>
                      <a:pt x="281125" y="23836"/>
                    </a:lnTo>
                    <a:cubicBezTo>
                      <a:pt x="284091" y="23366"/>
                      <a:pt x="287112" y="23366"/>
                      <a:pt x="290078" y="23836"/>
                    </a:cubicBezTo>
                    <a:lnTo>
                      <a:pt x="308652" y="25456"/>
                    </a:lnTo>
                    <a:close/>
                    <a:moveTo>
                      <a:pt x="93387" y="273296"/>
                    </a:moveTo>
                    <a:lnTo>
                      <a:pt x="74337" y="266914"/>
                    </a:lnTo>
                    <a:cubicBezTo>
                      <a:pt x="66149" y="264131"/>
                      <a:pt x="57630" y="262433"/>
                      <a:pt x="49000" y="261866"/>
                    </a:cubicBezTo>
                    <a:cubicBezTo>
                      <a:pt x="46939" y="261721"/>
                      <a:pt x="44870" y="261721"/>
                      <a:pt x="42809" y="261866"/>
                    </a:cubicBezTo>
                    <a:lnTo>
                      <a:pt x="27093" y="261866"/>
                    </a:lnTo>
                    <a:lnTo>
                      <a:pt x="32046" y="245959"/>
                    </a:lnTo>
                    <a:cubicBezTo>
                      <a:pt x="27664" y="253262"/>
                      <a:pt x="23092" y="260501"/>
                      <a:pt x="18330" y="267676"/>
                    </a:cubicBezTo>
                    <a:lnTo>
                      <a:pt x="2518" y="262819"/>
                    </a:lnTo>
                    <a:lnTo>
                      <a:pt x="518" y="269105"/>
                    </a:lnTo>
                    <a:cubicBezTo>
                      <a:pt x="-548" y="272570"/>
                      <a:pt x="50" y="276333"/>
                      <a:pt x="2137" y="279297"/>
                    </a:cubicBezTo>
                    <a:cubicBezTo>
                      <a:pt x="4311" y="282383"/>
                      <a:pt x="7889" y="284172"/>
                      <a:pt x="11662" y="284059"/>
                    </a:cubicBezTo>
                    <a:lnTo>
                      <a:pt x="34808" y="284059"/>
                    </a:lnTo>
                    <a:lnTo>
                      <a:pt x="42809" y="284059"/>
                    </a:lnTo>
                    <a:cubicBezTo>
                      <a:pt x="51200" y="284166"/>
                      <a:pt x="59523" y="285580"/>
                      <a:pt x="67479" y="288250"/>
                    </a:cubicBezTo>
                    <a:lnTo>
                      <a:pt x="80814" y="292727"/>
                    </a:lnTo>
                    <a:lnTo>
                      <a:pt x="102817" y="300061"/>
                    </a:lnTo>
                    <a:cubicBezTo>
                      <a:pt x="104055" y="297680"/>
                      <a:pt x="105484" y="295108"/>
                      <a:pt x="107198" y="292441"/>
                    </a:cubicBezTo>
                    <a:cubicBezTo>
                      <a:pt x="110531" y="288303"/>
                      <a:pt x="114600" y="284815"/>
                      <a:pt x="119200" y="282154"/>
                    </a:cubicBezTo>
                    <a:close/>
                    <a:moveTo>
                      <a:pt x="212735" y="344829"/>
                    </a:moveTo>
                    <a:lnTo>
                      <a:pt x="202639" y="337304"/>
                    </a:lnTo>
                    <a:cubicBezTo>
                      <a:pt x="198226" y="343637"/>
                      <a:pt x="193043" y="349396"/>
                      <a:pt x="187208" y="354449"/>
                    </a:cubicBezTo>
                    <a:lnTo>
                      <a:pt x="206258" y="368260"/>
                    </a:lnTo>
                    <a:lnTo>
                      <a:pt x="206258" y="368260"/>
                    </a:lnTo>
                    <a:cubicBezTo>
                      <a:pt x="211771" y="362898"/>
                      <a:pt x="216807" y="357066"/>
                      <a:pt x="221308" y="350830"/>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2" name="Freeform: Shape 611">
                <a:extLst>
                  <a:ext uri="{FF2B5EF4-FFF2-40B4-BE49-F238E27FC236}">
                    <a16:creationId xmlns:a16="http://schemas.microsoft.com/office/drawing/2014/main" id="{CFC47070-F3D0-4BCD-ACD1-5F4742E29129}"/>
                  </a:ext>
                </a:extLst>
              </p:cNvPr>
              <p:cNvSpPr/>
              <p:nvPr/>
            </p:nvSpPr>
            <p:spPr>
              <a:xfrm>
                <a:off x="5323450" y="4523861"/>
                <a:ext cx="490639" cy="299275"/>
              </a:xfrm>
              <a:custGeom>
                <a:avLst/>
                <a:gdLst>
                  <a:gd name="connsiteX0" fmla="*/ 462160 w 490639"/>
                  <a:gd name="connsiteY0" fmla="*/ 258699 h 299275"/>
                  <a:gd name="connsiteX1" fmla="*/ 453778 w 490639"/>
                  <a:gd name="connsiteY1" fmla="*/ 245650 h 299275"/>
                  <a:gd name="connsiteX2" fmla="*/ 442062 w 490639"/>
                  <a:gd name="connsiteY2" fmla="*/ 250412 h 299275"/>
                  <a:gd name="connsiteX3" fmla="*/ 435013 w 490639"/>
                  <a:gd name="connsiteY3" fmla="*/ 259271 h 299275"/>
                  <a:gd name="connsiteX4" fmla="*/ 435013 w 490639"/>
                  <a:gd name="connsiteY4" fmla="*/ 261080 h 299275"/>
                  <a:gd name="connsiteX5" fmla="*/ 419964 w 490639"/>
                  <a:gd name="connsiteY5" fmla="*/ 276225 h 299275"/>
                  <a:gd name="connsiteX6" fmla="*/ 393294 w 490639"/>
                  <a:gd name="connsiteY6" fmla="*/ 276225 h 299275"/>
                  <a:gd name="connsiteX7" fmla="*/ 354622 w 490639"/>
                  <a:gd name="connsiteY7" fmla="*/ 232410 h 299275"/>
                  <a:gd name="connsiteX8" fmla="*/ 342811 w 490639"/>
                  <a:gd name="connsiteY8" fmla="*/ 223647 h 299275"/>
                  <a:gd name="connsiteX9" fmla="*/ 200508 w 490639"/>
                  <a:gd name="connsiteY9" fmla="*/ 117824 h 299275"/>
                  <a:gd name="connsiteX10" fmla="*/ 144501 w 490639"/>
                  <a:gd name="connsiteY10" fmla="*/ 97155 h 299275"/>
                  <a:gd name="connsiteX11" fmla="*/ 117545 w 490639"/>
                  <a:gd name="connsiteY11" fmla="*/ 95250 h 299275"/>
                  <a:gd name="connsiteX12" fmla="*/ 108877 w 490639"/>
                  <a:gd name="connsiteY12" fmla="*/ 98298 h 299275"/>
                  <a:gd name="connsiteX13" fmla="*/ 105163 w 490639"/>
                  <a:gd name="connsiteY13" fmla="*/ 106680 h 299275"/>
                  <a:gd name="connsiteX14" fmla="*/ 40107 w 490639"/>
                  <a:gd name="connsiteY14" fmla="*/ 173355 h 299275"/>
                  <a:gd name="connsiteX15" fmla="*/ 36202 w 490639"/>
                  <a:gd name="connsiteY15" fmla="*/ 173355 h 299275"/>
                  <a:gd name="connsiteX16" fmla="*/ 22676 w 490639"/>
                  <a:gd name="connsiteY16" fmla="*/ 161354 h 299275"/>
                  <a:gd name="connsiteX17" fmla="*/ 22676 w 490639"/>
                  <a:gd name="connsiteY17" fmla="*/ 159925 h 299275"/>
                  <a:gd name="connsiteX18" fmla="*/ 24676 w 490639"/>
                  <a:gd name="connsiteY18" fmla="*/ 157544 h 299275"/>
                  <a:gd name="connsiteX19" fmla="*/ 34201 w 490639"/>
                  <a:gd name="connsiteY19" fmla="*/ 143066 h 299275"/>
                  <a:gd name="connsiteX20" fmla="*/ 48489 w 490639"/>
                  <a:gd name="connsiteY20" fmla="*/ 94774 h 299275"/>
                  <a:gd name="connsiteX21" fmla="*/ 69539 w 490639"/>
                  <a:gd name="connsiteY21" fmla="*/ 64770 h 299275"/>
                  <a:gd name="connsiteX22" fmla="*/ 132595 w 490639"/>
                  <a:gd name="connsiteY22" fmla="*/ 24670 h 299275"/>
                  <a:gd name="connsiteX23" fmla="*/ 142120 w 490639"/>
                  <a:gd name="connsiteY23" fmla="*/ 22098 h 299275"/>
                  <a:gd name="connsiteX24" fmla="*/ 180220 w 490639"/>
                  <a:gd name="connsiteY24" fmla="*/ 22098 h 299275"/>
                  <a:gd name="connsiteX25" fmla="*/ 184220 w 490639"/>
                  <a:gd name="connsiteY25" fmla="*/ 22098 h 299275"/>
                  <a:gd name="connsiteX26" fmla="*/ 187459 w 490639"/>
                  <a:gd name="connsiteY26" fmla="*/ 23146 h 299275"/>
                  <a:gd name="connsiteX27" fmla="*/ 250514 w 490639"/>
                  <a:gd name="connsiteY27" fmla="*/ 45720 h 299275"/>
                  <a:gd name="connsiteX28" fmla="*/ 306616 w 490639"/>
                  <a:gd name="connsiteY28" fmla="*/ 55245 h 299275"/>
                  <a:gd name="connsiteX29" fmla="*/ 351193 w 490639"/>
                  <a:gd name="connsiteY29" fmla="*/ 50959 h 299275"/>
                  <a:gd name="connsiteX30" fmla="*/ 373577 w 490639"/>
                  <a:gd name="connsiteY30" fmla="*/ 45720 h 299275"/>
                  <a:gd name="connsiteX31" fmla="*/ 370243 w 490639"/>
                  <a:gd name="connsiteY31" fmla="*/ 27908 h 299275"/>
                  <a:gd name="connsiteX32" fmla="*/ 397199 w 490639"/>
                  <a:gd name="connsiteY32" fmla="*/ 13716 h 299275"/>
                  <a:gd name="connsiteX33" fmla="*/ 392151 w 490639"/>
                  <a:gd name="connsiteY33" fmla="*/ 14383 h 299275"/>
                  <a:gd name="connsiteX34" fmla="*/ 378054 w 490639"/>
                  <a:gd name="connsiteY34" fmla="*/ 19812 h 299275"/>
                  <a:gd name="connsiteX35" fmla="*/ 347098 w 490639"/>
                  <a:gd name="connsiteY35" fmla="*/ 29337 h 299275"/>
                  <a:gd name="connsiteX36" fmla="*/ 306807 w 490639"/>
                  <a:gd name="connsiteY36" fmla="*/ 33242 h 299275"/>
                  <a:gd name="connsiteX37" fmla="*/ 257944 w 490639"/>
                  <a:gd name="connsiteY37" fmla="*/ 24575 h 299275"/>
                  <a:gd name="connsiteX38" fmla="*/ 195174 w 490639"/>
                  <a:gd name="connsiteY38" fmla="*/ 3048 h 299275"/>
                  <a:gd name="connsiteX39" fmla="*/ 179839 w 490639"/>
                  <a:gd name="connsiteY39" fmla="*/ 0 h 299275"/>
                  <a:gd name="connsiteX40" fmla="*/ 141739 w 490639"/>
                  <a:gd name="connsiteY40" fmla="*/ 0 h 299275"/>
                  <a:gd name="connsiteX41" fmla="*/ 120307 w 490639"/>
                  <a:gd name="connsiteY41" fmla="*/ 6191 h 299275"/>
                  <a:gd name="connsiteX42" fmla="*/ 102115 w 490639"/>
                  <a:gd name="connsiteY42" fmla="*/ 17145 h 299275"/>
                  <a:gd name="connsiteX43" fmla="*/ 57252 w 490639"/>
                  <a:gd name="connsiteY43" fmla="*/ 45720 h 299275"/>
                  <a:gd name="connsiteX44" fmla="*/ 25819 w 490639"/>
                  <a:gd name="connsiteY44" fmla="*/ 90297 h 299275"/>
                  <a:gd name="connsiteX45" fmla="*/ 25819 w 490639"/>
                  <a:gd name="connsiteY45" fmla="*/ 91154 h 299275"/>
                  <a:gd name="connsiteX46" fmla="*/ 14770 w 490639"/>
                  <a:gd name="connsiteY46" fmla="*/ 131064 h 299275"/>
                  <a:gd name="connsiteX47" fmla="*/ 6293 w 490639"/>
                  <a:gd name="connsiteY47" fmla="*/ 144590 h 299275"/>
                  <a:gd name="connsiteX48" fmla="*/ 197 w 490639"/>
                  <a:gd name="connsiteY48" fmla="*/ 164497 h 299275"/>
                  <a:gd name="connsiteX49" fmla="*/ 28105 w 490639"/>
                  <a:gd name="connsiteY49" fmla="*/ 195167 h 299275"/>
                  <a:gd name="connsiteX50" fmla="*/ 32296 w 490639"/>
                  <a:gd name="connsiteY50" fmla="*/ 196406 h 299275"/>
                  <a:gd name="connsiteX51" fmla="*/ 40583 w 490639"/>
                  <a:gd name="connsiteY51" fmla="*/ 196406 h 299275"/>
                  <a:gd name="connsiteX52" fmla="*/ 127546 w 490639"/>
                  <a:gd name="connsiteY52" fmla="*/ 118967 h 299275"/>
                  <a:gd name="connsiteX53" fmla="*/ 143072 w 490639"/>
                  <a:gd name="connsiteY53" fmla="*/ 120110 h 299275"/>
                  <a:gd name="connsiteX54" fmla="*/ 186982 w 490639"/>
                  <a:gd name="connsiteY54" fmla="*/ 136303 h 299275"/>
                  <a:gd name="connsiteX55" fmla="*/ 341002 w 490639"/>
                  <a:gd name="connsiteY55" fmla="*/ 250889 h 299275"/>
                  <a:gd name="connsiteX56" fmla="*/ 375482 w 490639"/>
                  <a:gd name="connsiteY56" fmla="*/ 291656 h 299275"/>
                  <a:gd name="connsiteX57" fmla="*/ 376149 w 490639"/>
                  <a:gd name="connsiteY57" fmla="*/ 292894 h 299275"/>
                  <a:gd name="connsiteX58" fmla="*/ 386436 w 490639"/>
                  <a:gd name="connsiteY58" fmla="*/ 299276 h 299275"/>
                  <a:gd name="connsiteX59" fmla="*/ 420059 w 490639"/>
                  <a:gd name="connsiteY59" fmla="*/ 299276 h 299275"/>
                  <a:gd name="connsiteX60" fmla="*/ 451873 w 490639"/>
                  <a:gd name="connsiteY60" fmla="*/ 282035 h 299275"/>
                  <a:gd name="connsiteX61" fmla="*/ 457302 w 490639"/>
                  <a:gd name="connsiteY61" fmla="*/ 269177 h 299275"/>
                  <a:gd name="connsiteX62" fmla="*/ 483877 w 490639"/>
                  <a:gd name="connsiteY62" fmla="*/ 258128 h 299275"/>
                  <a:gd name="connsiteX63" fmla="*/ 490639 w 490639"/>
                  <a:gd name="connsiteY63" fmla="*/ 250698 h 2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90639" h="299275">
                    <a:moveTo>
                      <a:pt x="462160" y="258699"/>
                    </a:moveTo>
                    <a:cubicBezTo>
                      <a:pt x="459302" y="254413"/>
                      <a:pt x="456445" y="250031"/>
                      <a:pt x="453778" y="245650"/>
                    </a:cubicBezTo>
                    <a:lnTo>
                      <a:pt x="442062" y="250412"/>
                    </a:lnTo>
                    <a:cubicBezTo>
                      <a:pt x="438358" y="251973"/>
                      <a:pt x="435703" y="255311"/>
                      <a:pt x="435013" y="259271"/>
                    </a:cubicBezTo>
                    <a:cubicBezTo>
                      <a:pt x="435013" y="259842"/>
                      <a:pt x="435013" y="260509"/>
                      <a:pt x="435013" y="261080"/>
                    </a:cubicBezTo>
                    <a:cubicBezTo>
                      <a:pt x="435014" y="269407"/>
                      <a:pt x="428291" y="276173"/>
                      <a:pt x="419964" y="276225"/>
                    </a:cubicBezTo>
                    <a:lnTo>
                      <a:pt x="393294" y="276225"/>
                    </a:lnTo>
                    <a:cubicBezTo>
                      <a:pt x="383560" y="259112"/>
                      <a:pt x="370394" y="244195"/>
                      <a:pt x="354622" y="232410"/>
                    </a:cubicBezTo>
                    <a:lnTo>
                      <a:pt x="342811" y="223647"/>
                    </a:lnTo>
                    <a:lnTo>
                      <a:pt x="200508" y="117824"/>
                    </a:lnTo>
                    <a:cubicBezTo>
                      <a:pt x="184215" y="105693"/>
                      <a:pt x="164769" y="98516"/>
                      <a:pt x="144501" y="97155"/>
                    </a:cubicBezTo>
                    <a:lnTo>
                      <a:pt x="117545" y="95250"/>
                    </a:lnTo>
                    <a:cubicBezTo>
                      <a:pt x="114352" y="94972"/>
                      <a:pt x="111194" y="96083"/>
                      <a:pt x="108877" y="98298"/>
                    </a:cubicBezTo>
                    <a:cubicBezTo>
                      <a:pt x="106524" y="100451"/>
                      <a:pt x="105177" y="103490"/>
                      <a:pt x="105163" y="106680"/>
                    </a:cubicBezTo>
                    <a:cubicBezTo>
                      <a:pt x="105173" y="142880"/>
                      <a:pt x="76297" y="172476"/>
                      <a:pt x="40107" y="173355"/>
                    </a:cubicBezTo>
                    <a:lnTo>
                      <a:pt x="36202" y="173355"/>
                    </a:lnTo>
                    <a:cubicBezTo>
                      <a:pt x="23914" y="166592"/>
                      <a:pt x="22771" y="161925"/>
                      <a:pt x="22676" y="161354"/>
                    </a:cubicBezTo>
                    <a:cubicBezTo>
                      <a:pt x="22536" y="160888"/>
                      <a:pt x="22536" y="160391"/>
                      <a:pt x="22676" y="159925"/>
                    </a:cubicBezTo>
                    <a:cubicBezTo>
                      <a:pt x="23469" y="159246"/>
                      <a:pt x="24145" y="158441"/>
                      <a:pt x="24676" y="157544"/>
                    </a:cubicBezTo>
                    <a:lnTo>
                      <a:pt x="34201" y="143066"/>
                    </a:lnTo>
                    <a:cubicBezTo>
                      <a:pt x="41513" y="127835"/>
                      <a:pt x="46337" y="111531"/>
                      <a:pt x="48489" y="94774"/>
                    </a:cubicBezTo>
                    <a:cubicBezTo>
                      <a:pt x="51222" y="82365"/>
                      <a:pt x="58801" y="71563"/>
                      <a:pt x="69539" y="64770"/>
                    </a:cubicBezTo>
                    <a:lnTo>
                      <a:pt x="132595" y="24670"/>
                    </a:lnTo>
                    <a:cubicBezTo>
                      <a:pt x="135451" y="22903"/>
                      <a:pt x="138762" y="22009"/>
                      <a:pt x="142120" y="22098"/>
                    </a:cubicBezTo>
                    <a:lnTo>
                      <a:pt x="180220" y="22098"/>
                    </a:lnTo>
                    <a:cubicBezTo>
                      <a:pt x="181547" y="21917"/>
                      <a:pt x="182893" y="21917"/>
                      <a:pt x="184220" y="22098"/>
                    </a:cubicBezTo>
                    <a:cubicBezTo>
                      <a:pt x="185334" y="22331"/>
                      <a:pt x="186419" y="22682"/>
                      <a:pt x="187459" y="23146"/>
                    </a:cubicBezTo>
                    <a:lnTo>
                      <a:pt x="250514" y="45720"/>
                    </a:lnTo>
                    <a:cubicBezTo>
                      <a:pt x="268581" y="51892"/>
                      <a:pt x="287525" y="55109"/>
                      <a:pt x="306616" y="55245"/>
                    </a:cubicBezTo>
                    <a:cubicBezTo>
                      <a:pt x="321587" y="55443"/>
                      <a:pt x="336535" y="54006"/>
                      <a:pt x="351193" y="50959"/>
                    </a:cubicBezTo>
                    <a:cubicBezTo>
                      <a:pt x="358747" y="49636"/>
                      <a:pt x="366221" y="47887"/>
                      <a:pt x="373577" y="45720"/>
                    </a:cubicBezTo>
                    <a:cubicBezTo>
                      <a:pt x="372339" y="39815"/>
                      <a:pt x="371291" y="33814"/>
                      <a:pt x="370243" y="27908"/>
                    </a:cubicBezTo>
                    <a:lnTo>
                      <a:pt x="397199" y="13716"/>
                    </a:lnTo>
                    <a:cubicBezTo>
                      <a:pt x="395487" y="13508"/>
                      <a:pt x="393750" y="13737"/>
                      <a:pt x="392151" y="14383"/>
                    </a:cubicBezTo>
                    <a:lnTo>
                      <a:pt x="378054" y="19812"/>
                    </a:lnTo>
                    <a:cubicBezTo>
                      <a:pt x="368028" y="23870"/>
                      <a:pt x="357671" y="27057"/>
                      <a:pt x="347098" y="29337"/>
                    </a:cubicBezTo>
                    <a:cubicBezTo>
                      <a:pt x="333852" y="32116"/>
                      <a:pt x="320340" y="33425"/>
                      <a:pt x="306807" y="33242"/>
                    </a:cubicBezTo>
                    <a:cubicBezTo>
                      <a:pt x="290162" y="32964"/>
                      <a:pt x="273668" y="30038"/>
                      <a:pt x="257944" y="24575"/>
                    </a:cubicBezTo>
                    <a:lnTo>
                      <a:pt x="195174" y="3048"/>
                    </a:lnTo>
                    <a:cubicBezTo>
                      <a:pt x="190312" y="1033"/>
                      <a:pt x="185101" y="-2"/>
                      <a:pt x="179839" y="0"/>
                    </a:cubicBezTo>
                    <a:lnTo>
                      <a:pt x="141739" y="0"/>
                    </a:lnTo>
                    <a:cubicBezTo>
                      <a:pt x="134152" y="-10"/>
                      <a:pt x="126720" y="2137"/>
                      <a:pt x="120307" y="6191"/>
                    </a:cubicBezTo>
                    <a:lnTo>
                      <a:pt x="102115" y="17145"/>
                    </a:lnTo>
                    <a:lnTo>
                      <a:pt x="57252" y="45720"/>
                    </a:lnTo>
                    <a:cubicBezTo>
                      <a:pt x="41247" y="55790"/>
                      <a:pt x="29930" y="71839"/>
                      <a:pt x="25819" y="90297"/>
                    </a:cubicBezTo>
                    <a:cubicBezTo>
                      <a:pt x="25775" y="90581"/>
                      <a:pt x="25775" y="90870"/>
                      <a:pt x="25819" y="91154"/>
                    </a:cubicBezTo>
                    <a:cubicBezTo>
                      <a:pt x="24131" y="104931"/>
                      <a:pt x="20407" y="118381"/>
                      <a:pt x="14770" y="131064"/>
                    </a:cubicBezTo>
                    <a:lnTo>
                      <a:pt x="6293" y="144590"/>
                    </a:lnTo>
                    <a:cubicBezTo>
                      <a:pt x="1514" y="150051"/>
                      <a:pt x="-705" y="157295"/>
                      <a:pt x="197" y="164497"/>
                    </a:cubicBezTo>
                    <a:cubicBezTo>
                      <a:pt x="1721" y="176022"/>
                      <a:pt x="11151" y="186404"/>
                      <a:pt x="28105" y="195167"/>
                    </a:cubicBezTo>
                    <a:cubicBezTo>
                      <a:pt x="29407" y="195853"/>
                      <a:pt x="30831" y="196273"/>
                      <a:pt x="32296" y="196406"/>
                    </a:cubicBezTo>
                    <a:cubicBezTo>
                      <a:pt x="32296" y="196406"/>
                      <a:pt x="35440" y="196406"/>
                      <a:pt x="40583" y="196406"/>
                    </a:cubicBezTo>
                    <a:cubicBezTo>
                      <a:pt x="84659" y="195462"/>
                      <a:pt x="121519" y="162639"/>
                      <a:pt x="127546" y="118967"/>
                    </a:cubicBezTo>
                    <a:lnTo>
                      <a:pt x="143072" y="120110"/>
                    </a:lnTo>
                    <a:cubicBezTo>
                      <a:pt x="158962" y="121171"/>
                      <a:pt x="174208" y="126794"/>
                      <a:pt x="186982" y="136303"/>
                    </a:cubicBezTo>
                    <a:lnTo>
                      <a:pt x="341002" y="250889"/>
                    </a:lnTo>
                    <a:cubicBezTo>
                      <a:pt x="355442" y="261682"/>
                      <a:pt x="367234" y="275624"/>
                      <a:pt x="375482" y="291656"/>
                    </a:cubicBezTo>
                    <a:cubicBezTo>
                      <a:pt x="375741" y="292047"/>
                      <a:pt x="375964" y="292462"/>
                      <a:pt x="376149" y="292894"/>
                    </a:cubicBezTo>
                    <a:cubicBezTo>
                      <a:pt x="378077" y="296811"/>
                      <a:pt x="382069" y="299288"/>
                      <a:pt x="386436" y="299276"/>
                    </a:cubicBezTo>
                    <a:lnTo>
                      <a:pt x="420059" y="299276"/>
                    </a:lnTo>
                    <a:cubicBezTo>
                      <a:pt x="432890" y="299252"/>
                      <a:pt x="444848" y="292772"/>
                      <a:pt x="451873" y="282035"/>
                    </a:cubicBezTo>
                    <a:cubicBezTo>
                      <a:pt x="454506" y="278145"/>
                      <a:pt x="456351" y="273777"/>
                      <a:pt x="457302" y="269177"/>
                    </a:cubicBezTo>
                    <a:lnTo>
                      <a:pt x="483877" y="258128"/>
                    </a:lnTo>
                    <a:cubicBezTo>
                      <a:pt x="487157" y="256828"/>
                      <a:pt x="489653" y="254086"/>
                      <a:pt x="490639" y="250698"/>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3" name="Freeform: Shape 612">
                <a:extLst>
                  <a:ext uri="{FF2B5EF4-FFF2-40B4-BE49-F238E27FC236}">
                    <a16:creationId xmlns:a16="http://schemas.microsoft.com/office/drawing/2014/main" id="{AC68D7F6-BD0A-4F67-994F-957E17CDE6E2}"/>
                  </a:ext>
                </a:extLst>
              </p:cNvPr>
              <p:cNvSpPr/>
              <p:nvPr/>
            </p:nvSpPr>
            <p:spPr>
              <a:xfrm>
                <a:off x="5035619" y="4488858"/>
                <a:ext cx="215447" cy="318749"/>
              </a:xfrm>
              <a:custGeom>
                <a:avLst/>
                <a:gdLst>
                  <a:gd name="connsiteX0" fmla="*/ 212209 w 215447"/>
                  <a:gd name="connsiteY0" fmla="*/ 48243 h 318749"/>
                  <a:gd name="connsiteX1" fmla="*/ 209351 w 215447"/>
                  <a:gd name="connsiteY1" fmla="*/ 46147 h 318749"/>
                  <a:gd name="connsiteX2" fmla="*/ 124007 w 215447"/>
                  <a:gd name="connsiteY2" fmla="*/ 1380 h 318749"/>
                  <a:gd name="connsiteX3" fmla="*/ 108634 w 215447"/>
                  <a:gd name="connsiteY3" fmla="*/ 5921 h 318749"/>
                  <a:gd name="connsiteX4" fmla="*/ 108005 w 215447"/>
                  <a:gd name="connsiteY4" fmla="*/ 7285 h 318749"/>
                  <a:gd name="connsiteX5" fmla="*/ 1039 w 215447"/>
                  <a:gd name="connsiteY5" fmla="*/ 277033 h 318749"/>
                  <a:gd name="connsiteX6" fmla="*/ 1039 w 215447"/>
                  <a:gd name="connsiteY6" fmla="*/ 286558 h 318749"/>
                  <a:gd name="connsiteX7" fmla="*/ 8278 w 215447"/>
                  <a:gd name="connsiteY7" fmla="*/ 292559 h 318749"/>
                  <a:gd name="connsiteX8" fmla="*/ 100766 w 215447"/>
                  <a:gd name="connsiteY8" fmla="*/ 318372 h 318749"/>
                  <a:gd name="connsiteX9" fmla="*/ 113339 w 215447"/>
                  <a:gd name="connsiteY9" fmla="*/ 313800 h 318749"/>
                  <a:gd name="connsiteX10" fmla="*/ 115054 w 215447"/>
                  <a:gd name="connsiteY10" fmla="*/ 311228 h 318749"/>
                  <a:gd name="connsiteX11" fmla="*/ 129627 w 215447"/>
                  <a:gd name="connsiteY11" fmla="*/ 288749 h 318749"/>
                  <a:gd name="connsiteX12" fmla="*/ 213066 w 215447"/>
                  <a:gd name="connsiteY12" fmla="*/ 71198 h 318749"/>
                  <a:gd name="connsiteX13" fmla="*/ 215352 w 215447"/>
                  <a:gd name="connsiteY13" fmla="*/ 57863 h 318749"/>
                  <a:gd name="connsiteX14" fmla="*/ 212209 w 215447"/>
                  <a:gd name="connsiteY14" fmla="*/ 48243 h 318749"/>
                  <a:gd name="connsiteX15" fmla="*/ 113053 w 215447"/>
                  <a:gd name="connsiteY15" fmla="*/ 271985 h 318749"/>
                  <a:gd name="connsiteX16" fmla="*/ 99337 w 215447"/>
                  <a:gd name="connsiteY16" fmla="*/ 293702 h 318749"/>
                  <a:gd name="connsiteX17" fmla="*/ 83526 w 215447"/>
                  <a:gd name="connsiteY17" fmla="*/ 289321 h 318749"/>
                  <a:gd name="connsiteX18" fmla="*/ 27138 w 215447"/>
                  <a:gd name="connsiteY18" fmla="*/ 273604 h 318749"/>
                  <a:gd name="connsiteX19" fmla="*/ 125055 w 215447"/>
                  <a:gd name="connsiteY19" fmla="*/ 27669 h 318749"/>
                  <a:gd name="connsiteX20" fmla="*/ 168870 w 215447"/>
                  <a:gd name="connsiteY20" fmla="*/ 50815 h 318749"/>
                  <a:gd name="connsiteX21" fmla="*/ 191254 w 215447"/>
                  <a:gd name="connsiteY21" fmla="*/ 62626 h 318749"/>
                  <a:gd name="connsiteX22" fmla="*/ 189349 w 215447"/>
                  <a:gd name="connsiteY22" fmla="*/ 73103 h 318749"/>
                  <a:gd name="connsiteX23" fmla="*/ 113053 w 215447"/>
                  <a:gd name="connsiteY23" fmla="*/ 271985 h 31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5447" h="318749">
                    <a:moveTo>
                      <a:pt x="212209" y="48243"/>
                    </a:moveTo>
                    <a:cubicBezTo>
                      <a:pt x="211362" y="47410"/>
                      <a:pt x="210400" y="46704"/>
                      <a:pt x="209351" y="46147"/>
                    </a:cubicBezTo>
                    <a:lnTo>
                      <a:pt x="124007" y="1380"/>
                    </a:lnTo>
                    <a:cubicBezTo>
                      <a:pt x="118508" y="-1611"/>
                      <a:pt x="111625" y="422"/>
                      <a:pt x="108634" y="5921"/>
                    </a:cubicBezTo>
                    <a:cubicBezTo>
                      <a:pt x="108395" y="6361"/>
                      <a:pt x="108184" y="6817"/>
                      <a:pt x="108005" y="7285"/>
                    </a:cubicBezTo>
                    <a:lnTo>
                      <a:pt x="1039" y="277033"/>
                    </a:lnTo>
                    <a:cubicBezTo>
                      <a:pt x="-346" y="280057"/>
                      <a:pt x="-346" y="283535"/>
                      <a:pt x="1039" y="286558"/>
                    </a:cubicBezTo>
                    <a:cubicBezTo>
                      <a:pt x="2509" y="289482"/>
                      <a:pt x="5133" y="291657"/>
                      <a:pt x="8278" y="292559"/>
                    </a:cubicBezTo>
                    <a:lnTo>
                      <a:pt x="100766" y="318372"/>
                    </a:lnTo>
                    <a:cubicBezTo>
                      <a:pt x="105500" y="319597"/>
                      <a:pt x="110499" y="317779"/>
                      <a:pt x="113339" y="313800"/>
                    </a:cubicBezTo>
                    <a:lnTo>
                      <a:pt x="115054" y="311228"/>
                    </a:lnTo>
                    <a:cubicBezTo>
                      <a:pt x="120102" y="303894"/>
                      <a:pt x="124579" y="296369"/>
                      <a:pt x="129627" y="288749"/>
                    </a:cubicBezTo>
                    <a:cubicBezTo>
                      <a:pt x="170910" y="222143"/>
                      <a:pt x="199221" y="148328"/>
                      <a:pt x="213066" y="71198"/>
                    </a:cubicBezTo>
                    <a:cubicBezTo>
                      <a:pt x="213923" y="66721"/>
                      <a:pt x="214685" y="62340"/>
                      <a:pt x="215352" y="57863"/>
                    </a:cubicBezTo>
                    <a:cubicBezTo>
                      <a:pt x="215801" y="54347"/>
                      <a:pt x="214647" y="50816"/>
                      <a:pt x="212209" y="48243"/>
                    </a:cubicBezTo>
                    <a:close/>
                    <a:moveTo>
                      <a:pt x="113053" y="271985"/>
                    </a:moveTo>
                    <a:cubicBezTo>
                      <a:pt x="108672" y="279288"/>
                      <a:pt x="104100" y="286527"/>
                      <a:pt x="99337" y="293702"/>
                    </a:cubicBezTo>
                    <a:lnTo>
                      <a:pt x="83526" y="289321"/>
                    </a:lnTo>
                    <a:lnTo>
                      <a:pt x="27138" y="273604"/>
                    </a:lnTo>
                    <a:lnTo>
                      <a:pt x="125055" y="27669"/>
                    </a:lnTo>
                    <a:lnTo>
                      <a:pt x="168870" y="50815"/>
                    </a:lnTo>
                    <a:lnTo>
                      <a:pt x="191254" y="62626"/>
                    </a:lnTo>
                    <a:cubicBezTo>
                      <a:pt x="190682" y="66150"/>
                      <a:pt x="190015" y="69579"/>
                      <a:pt x="189349" y="73103"/>
                    </a:cubicBezTo>
                    <a:cubicBezTo>
                      <a:pt x="176013" y="143426"/>
                      <a:pt x="150172" y="210786"/>
                      <a:pt x="113053" y="271985"/>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4" name="Freeform: Shape 613">
                <a:extLst>
                  <a:ext uri="{FF2B5EF4-FFF2-40B4-BE49-F238E27FC236}">
                    <a16:creationId xmlns:a16="http://schemas.microsoft.com/office/drawing/2014/main" id="{0DF6AAFB-F5EF-4EBD-8D8A-B3312CC1C00B}"/>
                  </a:ext>
                </a:extLst>
              </p:cNvPr>
              <p:cNvSpPr/>
              <p:nvPr/>
            </p:nvSpPr>
            <p:spPr>
              <a:xfrm>
                <a:off x="5669451" y="4488857"/>
                <a:ext cx="215092" cy="318377"/>
              </a:xfrm>
              <a:custGeom>
                <a:avLst/>
                <a:gdLst>
                  <a:gd name="connsiteX0" fmla="*/ 214075 w 215092"/>
                  <a:gd name="connsiteY0" fmla="*/ 277034 h 318377"/>
                  <a:gd name="connsiteX1" fmla="*/ 107109 w 215092"/>
                  <a:gd name="connsiteY1" fmla="*/ 7286 h 318377"/>
                  <a:gd name="connsiteX2" fmla="*/ 92472 w 215092"/>
                  <a:gd name="connsiteY2" fmla="*/ 752 h 318377"/>
                  <a:gd name="connsiteX3" fmla="*/ 91107 w 215092"/>
                  <a:gd name="connsiteY3" fmla="*/ 1381 h 318377"/>
                  <a:gd name="connsiteX4" fmla="*/ 6144 w 215092"/>
                  <a:gd name="connsiteY4" fmla="*/ 46148 h 318377"/>
                  <a:gd name="connsiteX5" fmla="*/ 144 w 215092"/>
                  <a:gd name="connsiteY5" fmla="*/ 58150 h 318377"/>
                  <a:gd name="connsiteX6" fmla="*/ 1096 w 215092"/>
                  <a:gd name="connsiteY6" fmla="*/ 63579 h 318377"/>
                  <a:gd name="connsiteX7" fmla="*/ 5192 w 215092"/>
                  <a:gd name="connsiteY7" fmla="*/ 86249 h 318377"/>
                  <a:gd name="connsiteX8" fmla="*/ 89012 w 215092"/>
                  <a:gd name="connsiteY8" fmla="*/ 294275 h 318377"/>
                  <a:gd name="connsiteX9" fmla="*/ 101775 w 215092"/>
                  <a:gd name="connsiteY9" fmla="*/ 313325 h 318377"/>
                  <a:gd name="connsiteX10" fmla="*/ 105681 w 215092"/>
                  <a:gd name="connsiteY10" fmla="*/ 316754 h 318377"/>
                  <a:gd name="connsiteX11" fmla="*/ 111300 w 215092"/>
                  <a:gd name="connsiteY11" fmla="*/ 318278 h 318377"/>
                  <a:gd name="connsiteX12" fmla="*/ 114348 w 215092"/>
                  <a:gd name="connsiteY12" fmla="*/ 318278 h 318377"/>
                  <a:gd name="connsiteX13" fmla="*/ 206836 w 215092"/>
                  <a:gd name="connsiteY13" fmla="*/ 292465 h 318377"/>
                  <a:gd name="connsiteX14" fmla="*/ 214075 w 215092"/>
                  <a:gd name="connsiteY14" fmla="*/ 286464 h 318377"/>
                  <a:gd name="connsiteX15" fmla="*/ 214075 w 215092"/>
                  <a:gd name="connsiteY15" fmla="*/ 277034 h 318377"/>
                  <a:gd name="connsiteX16" fmla="*/ 144447 w 215092"/>
                  <a:gd name="connsiteY16" fmla="*/ 285702 h 318377"/>
                  <a:gd name="connsiteX17" fmla="*/ 115872 w 215092"/>
                  <a:gd name="connsiteY17" fmla="*/ 293703 h 318377"/>
                  <a:gd name="connsiteX18" fmla="*/ 107490 w 215092"/>
                  <a:gd name="connsiteY18" fmla="*/ 280654 h 318377"/>
                  <a:gd name="connsiteX19" fmla="*/ 27290 w 215092"/>
                  <a:gd name="connsiteY19" fmla="*/ 80629 h 318377"/>
                  <a:gd name="connsiteX20" fmla="*/ 23956 w 215092"/>
                  <a:gd name="connsiteY20" fmla="*/ 62817 h 318377"/>
                  <a:gd name="connsiteX21" fmla="*/ 50912 w 215092"/>
                  <a:gd name="connsiteY21" fmla="*/ 48625 h 318377"/>
                  <a:gd name="connsiteX22" fmla="*/ 90250 w 215092"/>
                  <a:gd name="connsiteY22" fmla="*/ 27670 h 318377"/>
                  <a:gd name="connsiteX23" fmla="*/ 188358 w 215092"/>
                  <a:gd name="connsiteY23" fmla="*/ 273605 h 31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5092" h="318377">
                    <a:moveTo>
                      <a:pt x="214075" y="277034"/>
                    </a:moveTo>
                    <a:lnTo>
                      <a:pt x="107109" y="7286"/>
                    </a:lnTo>
                    <a:cubicBezTo>
                      <a:pt x="104872" y="1440"/>
                      <a:pt x="98318" y="-1486"/>
                      <a:pt x="92472" y="752"/>
                    </a:cubicBezTo>
                    <a:cubicBezTo>
                      <a:pt x="92003" y="931"/>
                      <a:pt x="91548" y="1141"/>
                      <a:pt x="91107" y="1381"/>
                    </a:cubicBezTo>
                    <a:lnTo>
                      <a:pt x="6144" y="46148"/>
                    </a:lnTo>
                    <a:cubicBezTo>
                      <a:pt x="1781" y="48452"/>
                      <a:pt x="-631" y="53277"/>
                      <a:pt x="144" y="58150"/>
                    </a:cubicBezTo>
                    <a:cubicBezTo>
                      <a:pt x="144" y="59960"/>
                      <a:pt x="715" y="61769"/>
                      <a:pt x="1096" y="63579"/>
                    </a:cubicBezTo>
                    <a:cubicBezTo>
                      <a:pt x="2239" y="71199"/>
                      <a:pt x="3668" y="78724"/>
                      <a:pt x="5192" y="86249"/>
                    </a:cubicBezTo>
                    <a:cubicBezTo>
                      <a:pt x="20336" y="160084"/>
                      <a:pt x="48735" y="230565"/>
                      <a:pt x="89012" y="294275"/>
                    </a:cubicBezTo>
                    <a:cubicBezTo>
                      <a:pt x="93108" y="300847"/>
                      <a:pt x="97394" y="307229"/>
                      <a:pt x="101775" y="313325"/>
                    </a:cubicBezTo>
                    <a:cubicBezTo>
                      <a:pt x="102762" y="314783"/>
                      <a:pt x="104107" y="315964"/>
                      <a:pt x="105681" y="316754"/>
                    </a:cubicBezTo>
                    <a:cubicBezTo>
                      <a:pt x="107374" y="317778"/>
                      <a:pt x="109321" y="318306"/>
                      <a:pt x="111300" y="318278"/>
                    </a:cubicBezTo>
                    <a:cubicBezTo>
                      <a:pt x="112312" y="318411"/>
                      <a:pt x="113337" y="318411"/>
                      <a:pt x="114348" y="318278"/>
                    </a:cubicBezTo>
                    <a:lnTo>
                      <a:pt x="206836" y="292465"/>
                    </a:lnTo>
                    <a:cubicBezTo>
                      <a:pt x="209981" y="291563"/>
                      <a:pt x="212606" y="289387"/>
                      <a:pt x="214075" y="286464"/>
                    </a:cubicBezTo>
                    <a:cubicBezTo>
                      <a:pt x="215432" y="283467"/>
                      <a:pt x="215432" y="280031"/>
                      <a:pt x="214075" y="277034"/>
                    </a:cubicBezTo>
                    <a:close/>
                    <a:moveTo>
                      <a:pt x="144447" y="285702"/>
                    </a:moveTo>
                    <a:lnTo>
                      <a:pt x="115872" y="293703"/>
                    </a:lnTo>
                    <a:cubicBezTo>
                      <a:pt x="113015" y="289417"/>
                      <a:pt x="110157" y="285035"/>
                      <a:pt x="107490" y="280654"/>
                    </a:cubicBezTo>
                    <a:cubicBezTo>
                      <a:pt x="68856" y="219390"/>
                      <a:pt x="41681" y="151613"/>
                      <a:pt x="27290" y="80629"/>
                    </a:cubicBezTo>
                    <a:cubicBezTo>
                      <a:pt x="26052" y="74723"/>
                      <a:pt x="25004" y="68723"/>
                      <a:pt x="23956" y="62817"/>
                    </a:cubicBezTo>
                    <a:lnTo>
                      <a:pt x="50912" y="48625"/>
                    </a:lnTo>
                    <a:lnTo>
                      <a:pt x="90250" y="27670"/>
                    </a:lnTo>
                    <a:lnTo>
                      <a:pt x="188358" y="273605"/>
                    </a:ln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5" name="Freeform: Shape 614">
                <a:extLst>
                  <a:ext uri="{FF2B5EF4-FFF2-40B4-BE49-F238E27FC236}">
                    <a16:creationId xmlns:a16="http://schemas.microsoft.com/office/drawing/2014/main" id="{DE5ECCA5-C785-439F-97C2-96B172311000}"/>
                  </a:ext>
                </a:extLst>
              </p:cNvPr>
              <p:cNvSpPr/>
              <p:nvPr/>
            </p:nvSpPr>
            <p:spPr>
              <a:xfrm>
                <a:off x="5354968" y="4876017"/>
                <a:ext cx="94665" cy="98186"/>
              </a:xfrm>
              <a:custGeom>
                <a:avLst/>
                <a:gdLst>
                  <a:gd name="connsiteX0" fmla="*/ 77073 w 94665"/>
                  <a:gd name="connsiteY0" fmla="*/ 5222 h 98186"/>
                  <a:gd name="connsiteX1" fmla="*/ 61167 w 94665"/>
                  <a:gd name="connsiteY1" fmla="*/ 79 h 98186"/>
                  <a:gd name="connsiteX2" fmla="*/ 37164 w 94665"/>
                  <a:gd name="connsiteY2" fmla="*/ 4841 h 98186"/>
                  <a:gd name="connsiteX3" fmla="*/ 32592 w 94665"/>
                  <a:gd name="connsiteY3" fmla="*/ 7127 h 98186"/>
                  <a:gd name="connsiteX4" fmla="*/ 30972 w 94665"/>
                  <a:gd name="connsiteY4" fmla="*/ 9985 h 98186"/>
                  <a:gd name="connsiteX5" fmla="*/ 23352 w 94665"/>
                  <a:gd name="connsiteY5" fmla="*/ 20653 h 98186"/>
                  <a:gd name="connsiteX6" fmla="*/ 6684 w 94665"/>
                  <a:gd name="connsiteY6" fmla="*/ 36464 h 98186"/>
                  <a:gd name="connsiteX7" fmla="*/ 5731 w 94665"/>
                  <a:gd name="connsiteY7" fmla="*/ 37131 h 98186"/>
                  <a:gd name="connsiteX8" fmla="*/ 111 w 94665"/>
                  <a:gd name="connsiteY8" fmla="*/ 65039 h 98186"/>
                  <a:gd name="connsiteX9" fmla="*/ 16780 w 94665"/>
                  <a:gd name="connsiteY9" fmla="*/ 91423 h 98186"/>
                  <a:gd name="connsiteX10" fmla="*/ 40593 w 94665"/>
                  <a:gd name="connsiteY10" fmla="*/ 98186 h 98186"/>
                  <a:gd name="connsiteX11" fmla="*/ 66596 w 94665"/>
                  <a:gd name="connsiteY11" fmla="*/ 91042 h 98186"/>
                  <a:gd name="connsiteX12" fmla="*/ 76121 w 94665"/>
                  <a:gd name="connsiteY12" fmla="*/ 84470 h 98186"/>
                  <a:gd name="connsiteX13" fmla="*/ 87932 w 94665"/>
                  <a:gd name="connsiteY13" fmla="*/ 70754 h 98186"/>
                  <a:gd name="connsiteX14" fmla="*/ 90408 w 94665"/>
                  <a:gd name="connsiteY14" fmla="*/ 65992 h 98186"/>
                  <a:gd name="connsiteX15" fmla="*/ 94599 w 94665"/>
                  <a:gd name="connsiteY15" fmla="*/ 41131 h 98186"/>
                  <a:gd name="connsiteX16" fmla="*/ 77073 w 94665"/>
                  <a:gd name="connsiteY16" fmla="*/ 5222 h 98186"/>
                  <a:gd name="connsiteX17" fmla="*/ 68215 w 94665"/>
                  <a:gd name="connsiteY17" fmla="*/ 58658 h 98186"/>
                  <a:gd name="connsiteX18" fmla="*/ 54023 w 94665"/>
                  <a:gd name="connsiteY18" fmla="*/ 71993 h 98186"/>
                  <a:gd name="connsiteX19" fmla="*/ 29067 w 94665"/>
                  <a:gd name="connsiteY19" fmla="*/ 71993 h 98186"/>
                  <a:gd name="connsiteX20" fmla="*/ 24591 w 94665"/>
                  <a:gd name="connsiteY20" fmla="*/ 51990 h 98186"/>
                  <a:gd name="connsiteX21" fmla="*/ 25162 w 94665"/>
                  <a:gd name="connsiteY21" fmla="*/ 50371 h 98186"/>
                  <a:gd name="connsiteX22" fmla="*/ 32592 w 94665"/>
                  <a:gd name="connsiteY22" fmla="*/ 36464 h 98186"/>
                  <a:gd name="connsiteX23" fmla="*/ 37449 w 94665"/>
                  <a:gd name="connsiteY23" fmla="*/ 31416 h 98186"/>
                  <a:gd name="connsiteX24" fmla="*/ 46974 w 94665"/>
                  <a:gd name="connsiteY24" fmla="*/ 26082 h 98186"/>
                  <a:gd name="connsiteX25" fmla="*/ 48879 w 94665"/>
                  <a:gd name="connsiteY25" fmla="*/ 25320 h 98186"/>
                  <a:gd name="connsiteX26" fmla="*/ 58404 w 94665"/>
                  <a:gd name="connsiteY26" fmla="*/ 23225 h 98186"/>
                  <a:gd name="connsiteX27" fmla="*/ 65072 w 94665"/>
                  <a:gd name="connsiteY27" fmla="*/ 25034 h 98186"/>
                  <a:gd name="connsiteX28" fmla="*/ 71358 w 94665"/>
                  <a:gd name="connsiteY28" fmla="*/ 41513 h 98186"/>
                  <a:gd name="connsiteX29" fmla="*/ 71358 w 94665"/>
                  <a:gd name="connsiteY29" fmla="*/ 42846 h 98186"/>
                  <a:gd name="connsiteX30" fmla="*/ 69739 w 94665"/>
                  <a:gd name="connsiteY30" fmla="*/ 54943 h 98186"/>
                  <a:gd name="connsiteX31" fmla="*/ 68215 w 94665"/>
                  <a:gd name="connsiteY31" fmla="*/ 58657 h 9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665" h="98186">
                    <a:moveTo>
                      <a:pt x="77073" y="5222"/>
                    </a:moveTo>
                    <a:cubicBezTo>
                      <a:pt x="72292" y="2188"/>
                      <a:pt x="66819" y="419"/>
                      <a:pt x="61167" y="79"/>
                    </a:cubicBezTo>
                    <a:cubicBezTo>
                      <a:pt x="52892" y="-391"/>
                      <a:pt x="44633" y="1248"/>
                      <a:pt x="37164" y="4841"/>
                    </a:cubicBezTo>
                    <a:lnTo>
                      <a:pt x="32592" y="7127"/>
                    </a:lnTo>
                    <a:cubicBezTo>
                      <a:pt x="32020" y="8175"/>
                      <a:pt x="31544" y="9127"/>
                      <a:pt x="30972" y="9985"/>
                    </a:cubicBezTo>
                    <a:cubicBezTo>
                      <a:pt x="28633" y="13680"/>
                      <a:pt x="26089" y="17241"/>
                      <a:pt x="23352" y="20653"/>
                    </a:cubicBezTo>
                    <a:cubicBezTo>
                      <a:pt x="18602" y="26712"/>
                      <a:pt x="12985" y="32040"/>
                      <a:pt x="6684" y="36464"/>
                    </a:cubicBezTo>
                    <a:lnTo>
                      <a:pt x="5731" y="37131"/>
                    </a:lnTo>
                    <a:cubicBezTo>
                      <a:pt x="1435" y="45777"/>
                      <a:pt x="-504" y="55404"/>
                      <a:pt x="111" y="65039"/>
                    </a:cubicBezTo>
                    <a:cubicBezTo>
                      <a:pt x="1201" y="75969"/>
                      <a:pt x="7378" y="85746"/>
                      <a:pt x="16780" y="91423"/>
                    </a:cubicBezTo>
                    <a:cubicBezTo>
                      <a:pt x="23918" y="95885"/>
                      <a:pt x="32175" y="98230"/>
                      <a:pt x="40593" y="98186"/>
                    </a:cubicBezTo>
                    <a:cubicBezTo>
                      <a:pt x="49733" y="98102"/>
                      <a:pt x="58695" y="95640"/>
                      <a:pt x="66596" y="91042"/>
                    </a:cubicBezTo>
                    <a:cubicBezTo>
                      <a:pt x="69992" y="89191"/>
                      <a:pt x="73184" y="86988"/>
                      <a:pt x="76121" y="84470"/>
                    </a:cubicBezTo>
                    <a:cubicBezTo>
                      <a:pt x="80739" y="80532"/>
                      <a:pt x="84723" y="75906"/>
                      <a:pt x="87932" y="70754"/>
                    </a:cubicBezTo>
                    <a:cubicBezTo>
                      <a:pt x="88857" y="69221"/>
                      <a:pt x="89685" y="67630"/>
                      <a:pt x="90408" y="65992"/>
                    </a:cubicBezTo>
                    <a:cubicBezTo>
                      <a:pt x="93570" y="58101"/>
                      <a:pt x="94999" y="49623"/>
                      <a:pt x="94599" y="41131"/>
                    </a:cubicBezTo>
                    <a:cubicBezTo>
                      <a:pt x="95333" y="26942"/>
                      <a:pt x="88711" y="13374"/>
                      <a:pt x="77073" y="5222"/>
                    </a:cubicBezTo>
                    <a:close/>
                    <a:moveTo>
                      <a:pt x="68215" y="58658"/>
                    </a:moveTo>
                    <a:cubicBezTo>
                      <a:pt x="64758" y="64288"/>
                      <a:pt x="59858" y="68893"/>
                      <a:pt x="54023" y="71993"/>
                    </a:cubicBezTo>
                    <a:cubicBezTo>
                      <a:pt x="46335" y="76572"/>
                      <a:pt x="36756" y="76572"/>
                      <a:pt x="29067" y="71993"/>
                    </a:cubicBezTo>
                    <a:cubicBezTo>
                      <a:pt x="22971" y="68087"/>
                      <a:pt x="21447" y="61420"/>
                      <a:pt x="24591" y="51990"/>
                    </a:cubicBezTo>
                    <a:lnTo>
                      <a:pt x="25162" y="50371"/>
                    </a:lnTo>
                    <a:cubicBezTo>
                      <a:pt x="27197" y="45513"/>
                      <a:pt x="29685" y="40857"/>
                      <a:pt x="32592" y="36464"/>
                    </a:cubicBezTo>
                    <a:cubicBezTo>
                      <a:pt x="33912" y="34517"/>
                      <a:pt x="35555" y="32810"/>
                      <a:pt x="37449" y="31416"/>
                    </a:cubicBezTo>
                    <a:cubicBezTo>
                      <a:pt x="40438" y="29324"/>
                      <a:pt x="43629" y="27537"/>
                      <a:pt x="46974" y="26082"/>
                    </a:cubicBezTo>
                    <a:lnTo>
                      <a:pt x="48879" y="25320"/>
                    </a:lnTo>
                    <a:cubicBezTo>
                      <a:pt x="51883" y="23992"/>
                      <a:pt x="55121" y="23280"/>
                      <a:pt x="58404" y="23225"/>
                    </a:cubicBezTo>
                    <a:cubicBezTo>
                      <a:pt x="60759" y="23138"/>
                      <a:pt x="63084" y="23769"/>
                      <a:pt x="65072" y="25034"/>
                    </a:cubicBezTo>
                    <a:cubicBezTo>
                      <a:pt x="69737" y="29168"/>
                      <a:pt x="72085" y="35322"/>
                      <a:pt x="71358" y="41513"/>
                    </a:cubicBezTo>
                    <a:lnTo>
                      <a:pt x="71358" y="42846"/>
                    </a:lnTo>
                    <a:cubicBezTo>
                      <a:pt x="71472" y="46939"/>
                      <a:pt x="70925" y="51024"/>
                      <a:pt x="69739" y="54943"/>
                    </a:cubicBezTo>
                    <a:cubicBezTo>
                      <a:pt x="69377" y="56236"/>
                      <a:pt x="68865" y="57482"/>
                      <a:pt x="68215" y="58657"/>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6" name="Freeform: Shape 615">
                <a:extLst>
                  <a:ext uri="{FF2B5EF4-FFF2-40B4-BE49-F238E27FC236}">
                    <a16:creationId xmlns:a16="http://schemas.microsoft.com/office/drawing/2014/main" id="{B20F6461-0B40-4A46-AD04-34900FA93CE4}"/>
                  </a:ext>
                </a:extLst>
              </p:cNvPr>
              <p:cNvSpPr/>
              <p:nvPr/>
            </p:nvSpPr>
            <p:spPr>
              <a:xfrm>
                <a:off x="5299041" y="4801772"/>
                <a:ext cx="121898" cy="140998"/>
              </a:xfrm>
              <a:custGeom>
                <a:avLst/>
                <a:gdLst>
                  <a:gd name="connsiteX0" fmla="*/ 98710 w 121898"/>
                  <a:gd name="connsiteY0" fmla="*/ 7268 h 140998"/>
                  <a:gd name="connsiteX1" fmla="*/ 52895 w 121898"/>
                  <a:gd name="connsiteY1" fmla="*/ 3934 h 140998"/>
                  <a:gd name="connsiteX2" fmla="*/ 41179 w 121898"/>
                  <a:gd name="connsiteY2" fmla="*/ 10030 h 140998"/>
                  <a:gd name="connsiteX3" fmla="*/ 33274 w 121898"/>
                  <a:gd name="connsiteY3" fmla="*/ 16602 h 140998"/>
                  <a:gd name="connsiteX4" fmla="*/ 35083 w 121898"/>
                  <a:gd name="connsiteY4" fmla="*/ 23079 h 140998"/>
                  <a:gd name="connsiteX5" fmla="*/ 28225 w 121898"/>
                  <a:gd name="connsiteY5" fmla="*/ 38986 h 140998"/>
                  <a:gd name="connsiteX6" fmla="*/ 24415 w 121898"/>
                  <a:gd name="connsiteY6" fmla="*/ 44796 h 140998"/>
                  <a:gd name="connsiteX7" fmla="*/ 20129 w 121898"/>
                  <a:gd name="connsiteY7" fmla="*/ 51083 h 140998"/>
                  <a:gd name="connsiteX8" fmla="*/ 4699 w 121898"/>
                  <a:gd name="connsiteY8" fmla="*/ 68228 h 140998"/>
                  <a:gd name="connsiteX9" fmla="*/ 1841 w 121898"/>
                  <a:gd name="connsiteY9" fmla="*/ 70514 h 140998"/>
                  <a:gd name="connsiteX10" fmla="*/ 127 w 121898"/>
                  <a:gd name="connsiteY10" fmla="*/ 91659 h 140998"/>
                  <a:gd name="connsiteX11" fmla="*/ 793 w 121898"/>
                  <a:gd name="connsiteY11" fmla="*/ 97660 h 140998"/>
                  <a:gd name="connsiteX12" fmla="*/ 22510 w 121898"/>
                  <a:gd name="connsiteY12" fmla="*/ 134522 h 140998"/>
                  <a:gd name="connsiteX13" fmla="*/ 44513 w 121898"/>
                  <a:gd name="connsiteY13" fmla="*/ 140999 h 140998"/>
                  <a:gd name="connsiteX14" fmla="*/ 56038 w 121898"/>
                  <a:gd name="connsiteY14" fmla="*/ 139284 h 140998"/>
                  <a:gd name="connsiteX15" fmla="*/ 69373 w 121898"/>
                  <a:gd name="connsiteY15" fmla="*/ 133855 h 140998"/>
                  <a:gd name="connsiteX16" fmla="*/ 80518 w 121898"/>
                  <a:gd name="connsiteY16" fmla="*/ 126235 h 140998"/>
                  <a:gd name="connsiteX17" fmla="*/ 81756 w 121898"/>
                  <a:gd name="connsiteY17" fmla="*/ 125187 h 140998"/>
                  <a:gd name="connsiteX18" fmla="*/ 97758 w 121898"/>
                  <a:gd name="connsiteY18" fmla="*/ 108423 h 140998"/>
                  <a:gd name="connsiteX19" fmla="*/ 104616 w 121898"/>
                  <a:gd name="connsiteY19" fmla="*/ 98898 h 140998"/>
                  <a:gd name="connsiteX20" fmla="*/ 106426 w 121898"/>
                  <a:gd name="connsiteY20" fmla="*/ 96136 h 140998"/>
                  <a:gd name="connsiteX21" fmla="*/ 117094 w 121898"/>
                  <a:gd name="connsiteY21" fmla="*/ 73943 h 140998"/>
                  <a:gd name="connsiteX22" fmla="*/ 121094 w 121898"/>
                  <a:gd name="connsiteY22" fmla="*/ 60132 h 140998"/>
                  <a:gd name="connsiteX23" fmla="*/ 98710 w 121898"/>
                  <a:gd name="connsiteY23" fmla="*/ 7268 h 140998"/>
                  <a:gd name="connsiteX24" fmla="*/ 61563 w 121898"/>
                  <a:gd name="connsiteY24" fmla="*/ 112043 h 140998"/>
                  <a:gd name="connsiteX25" fmla="*/ 58134 w 121898"/>
                  <a:gd name="connsiteY25" fmla="*/ 114234 h 140998"/>
                  <a:gd name="connsiteX26" fmla="*/ 35179 w 121898"/>
                  <a:gd name="connsiteY26" fmla="*/ 115281 h 140998"/>
                  <a:gd name="connsiteX27" fmla="*/ 22987 w 121898"/>
                  <a:gd name="connsiteY27" fmla="*/ 90707 h 140998"/>
                  <a:gd name="connsiteX28" fmla="*/ 22987 w 121898"/>
                  <a:gd name="connsiteY28" fmla="*/ 82992 h 140998"/>
                  <a:gd name="connsiteX29" fmla="*/ 22987 w 121898"/>
                  <a:gd name="connsiteY29" fmla="*/ 82230 h 140998"/>
                  <a:gd name="connsiteX30" fmla="*/ 29940 w 121898"/>
                  <a:gd name="connsiteY30" fmla="*/ 58798 h 140998"/>
                  <a:gd name="connsiteX31" fmla="*/ 34131 w 121898"/>
                  <a:gd name="connsiteY31" fmla="*/ 51273 h 140998"/>
                  <a:gd name="connsiteX32" fmla="*/ 53181 w 121898"/>
                  <a:gd name="connsiteY32" fmla="*/ 29461 h 140998"/>
                  <a:gd name="connsiteX33" fmla="*/ 57372 w 121898"/>
                  <a:gd name="connsiteY33" fmla="*/ 26985 h 140998"/>
                  <a:gd name="connsiteX34" fmla="*/ 72326 w 121898"/>
                  <a:gd name="connsiteY34" fmla="*/ 23175 h 140998"/>
                  <a:gd name="connsiteX35" fmla="*/ 85756 w 121898"/>
                  <a:gd name="connsiteY35" fmla="*/ 26985 h 140998"/>
                  <a:gd name="connsiteX36" fmla="*/ 98710 w 121898"/>
                  <a:gd name="connsiteY36" fmla="*/ 57274 h 140998"/>
                  <a:gd name="connsiteX37" fmla="*/ 94234 w 121898"/>
                  <a:gd name="connsiteY37" fmla="*/ 70419 h 140998"/>
                  <a:gd name="connsiteX38" fmla="*/ 88900 w 121898"/>
                  <a:gd name="connsiteY38" fmla="*/ 81372 h 140998"/>
                  <a:gd name="connsiteX39" fmla="*/ 87280 w 121898"/>
                  <a:gd name="connsiteY39" fmla="*/ 84230 h 140998"/>
                  <a:gd name="connsiteX40" fmla="*/ 79660 w 121898"/>
                  <a:gd name="connsiteY40" fmla="*/ 94898 h 140998"/>
                  <a:gd name="connsiteX41" fmla="*/ 62611 w 121898"/>
                  <a:gd name="connsiteY41" fmla="*/ 110709 h 14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898" h="140998">
                    <a:moveTo>
                      <a:pt x="98710" y="7268"/>
                    </a:moveTo>
                    <a:cubicBezTo>
                      <a:pt x="84839" y="-1069"/>
                      <a:pt x="67827" y="-2307"/>
                      <a:pt x="52895" y="3934"/>
                    </a:cubicBezTo>
                    <a:cubicBezTo>
                      <a:pt x="48785" y="5546"/>
                      <a:pt x="44858" y="7590"/>
                      <a:pt x="41179" y="10030"/>
                    </a:cubicBezTo>
                    <a:cubicBezTo>
                      <a:pt x="38349" y="11975"/>
                      <a:pt x="35703" y="14175"/>
                      <a:pt x="33274" y="16602"/>
                    </a:cubicBezTo>
                    <a:cubicBezTo>
                      <a:pt x="34120" y="18686"/>
                      <a:pt x="34727" y="20859"/>
                      <a:pt x="35083" y="23079"/>
                    </a:cubicBezTo>
                    <a:cubicBezTo>
                      <a:pt x="35845" y="27461"/>
                      <a:pt x="33274" y="31557"/>
                      <a:pt x="28225" y="38986"/>
                    </a:cubicBezTo>
                    <a:lnTo>
                      <a:pt x="24415" y="44796"/>
                    </a:lnTo>
                    <a:cubicBezTo>
                      <a:pt x="23097" y="46965"/>
                      <a:pt x="21666" y="49063"/>
                      <a:pt x="20129" y="51083"/>
                    </a:cubicBezTo>
                    <a:cubicBezTo>
                      <a:pt x="15717" y="57416"/>
                      <a:pt x="10533" y="63175"/>
                      <a:pt x="4699" y="68228"/>
                    </a:cubicBezTo>
                    <a:cubicBezTo>
                      <a:pt x="3793" y="69047"/>
                      <a:pt x="2839" y="69811"/>
                      <a:pt x="1841" y="70514"/>
                    </a:cubicBezTo>
                    <a:cubicBezTo>
                      <a:pt x="296" y="77449"/>
                      <a:pt x="-281" y="84565"/>
                      <a:pt x="127" y="91659"/>
                    </a:cubicBezTo>
                    <a:cubicBezTo>
                      <a:pt x="207" y="93673"/>
                      <a:pt x="430" y="95678"/>
                      <a:pt x="793" y="97660"/>
                    </a:cubicBezTo>
                    <a:cubicBezTo>
                      <a:pt x="2132" y="112584"/>
                      <a:pt x="10105" y="126117"/>
                      <a:pt x="22510" y="134522"/>
                    </a:cubicBezTo>
                    <a:cubicBezTo>
                      <a:pt x="29076" y="138737"/>
                      <a:pt x="36711" y="140985"/>
                      <a:pt x="44513" y="140999"/>
                    </a:cubicBezTo>
                    <a:cubicBezTo>
                      <a:pt x="48413" y="140935"/>
                      <a:pt x="52288" y="140359"/>
                      <a:pt x="56038" y="139284"/>
                    </a:cubicBezTo>
                    <a:cubicBezTo>
                      <a:pt x="60692" y="138037"/>
                      <a:pt x="65172" y="136213"/>
                      <a:pt x="69373" y="133855"/>
                    </a:cubicBezTo>
                    <a:cubicBezTo>
                      <a:pt x="73311" y="131657"/>
                      <a:pt x="77041" y="129106"/>
                      <a:pt x="80518" y="126235"/>
                    </a:cubicBezTo>
                    <a:cubicBezTo>
                      <a:pt x="80972" y="125938"/>
                      <a:pt x="81388" y="125586"/>
                      <a:pt x="81756" y="125187"/>
                    </a:cubicBezTo>
                    <a:cubicBezTo>
                      <a:pt x="87675" y="120189"/>
                      <a:pt x="93040" y="114569"/>
                      <a:pt x="97758" y="108423"/>
                    </a:cubicBezTo>
                    <a:cubicBezTo>
                      <a:pt x="100171" y="105502"/>
                      <a:pt x="102457" y="102327"/>
                      <a:pt x="104616" y="98898"/>
                    </a:cubicBezTo>
                    <a:lnTo>
                      <a:pt x="106426" y="96136"/>
                    </a:lnTo>
                    <a:cubicBezTo>
                      <a:pt x="110590" y="89046"/>
                      <a:pt x="114158" y="81623"/>
                      <a:pt x="117094" y="73943"/>
                    </a:cubicBezTo>
                    <a:cubicBezTo>
                      <a:pt x="118901" y="69490"/>
                      <a:pt x="120241" y="64861"/>
                      <a:pt x="121094" y="60132"/>
                    </a:cubicBezTo>
                    <a:cubicBezTo>
                      <a:pt x="124709" y="39638"/>
                      <a:pt x="115943" y="18934"/>
                      <a:pt x="98710" y="7268"/>
                    </a:cubicBezTo>
                    <a:close/>
                    <a:moveTo>
                      <a:pt x="61563" y="112043"/>
                    </a:moveTo>
                    <a:cubicBezTo>
                      <a:pt x="60464" y="112840"/>
                      <a:pt x="59319" y="113572"/>
                      <a:pt x="58134" y="114234"/>
                    </a:cubicBezTo>
                    <a:cubicBezTo>
                      <a:pt x="51417" y="119247"/>
                      <a:pt x="42324" y="119662"/>
                      <a:pt x="35179" y="115281"/>
                    </a:cubicBezTo>
                    <a:cubicBezTo>
                      <a:pt x="27363" y="109557"/>
                      <a:pt x="22817" y="100393"/>
                      <a:pt x="22987" y="90707"/>
                    </a:cubicBezTo>
                    <a:cubicBezTo>
                      <a:pt x="22798" y="88139"/>
                      <a:pt x="22798" y="85560"/>
                      <a:pt x="22987" y="82992"/>
                    </a:cubicBezTo>
                    <a:cubicBezTo>
                      <a:pt x="22946" y="82739"/>
                      <a:pt x="22946" y="82482"/>
                      <a:pt x="22987" y="82230"/>
                    </a:cubicBezTo>
                    <a:cubicBezTo>
                      <a:pt x="23885" y="74066"/>
                      <a:pt x="26240" y="66130"/>
                      <a:pt x="29940" y="58798"/>
                    </a:cubicBezTo>
                    <a:cubicBezTo>
                      <a:pt x="31207" y="56220"/>
                      <a:pt x="32606" y="53708"/>
                      <a:pt x="34131" y="51273"/>
                    </a:cubicBezTo>
                    <a:cubicBezTo>
                      <a:pt x="39392" y="43119"/>
                      <a:pt x="45809" y="35772"/>
                      <a:pt x="53181" y="29461"/>
                    </a:cubicBezTo>
                    <a:cubicBezTo>
                      <a:pt x="54535" y="28565"/>
                      <a:pt x="55934" y="27739"/>
                      <a:pt x="57372" y="26985"/>
                    </a:cubicBezTo>
                    <a:cubicBezTo>
                      <a:pt x="61983" y="24546"/>
                      <a:pt x="67110" y="23240"/>
                      <a:pt x="72326" y="23175"/>
                    </a:cubicBezTo>
                    <a:cubicBezTo>
                      <a:pt x="77078" y="23114"/>
                      <a:pt x="81744" y="24438"/>
                      <a:pt x="85756" y="26985"/>
                    </a:cubicBezTo>
                    <a:cubicBezTo>
                      <a:pt x="95787" y="33545"/>
                      <a:pt x="100896" y="45489"/>
                      <a:pt x="98710" y="57274"/>
                    </a:cubicBezTo>
                    <a:cubicBezTo>
                      <a:pt x="97709" y="61808"/>
                      <a:pt x="96207" y="66216"/>
                      <a:pt x="94234" y="70419"/>
                    </a:cubicBezTo>
                    <a:cubicBezTo>
                      <a:pt x="92704" y="74186"/>
                      <a:pt x="90922" y="77845"/>
                      <a:pt x="88900" y="81372"/>
                    </a:cubicBezTo>
                    <a:cubicBezTo>
                      <a:pt x="88328" y="82420"/>
                      <a:pt x="87852" y="83373"/>
                      <a:pt x="87280" y="84230"/>
                    </a:cubicBezTo>
                    <a:cubicBezTo>
                      <a:pt x="84941" y="87925"/>
                      <a:pt x="82397" y="91486"/>
                      <a:pt x="79660" y="94898"/>
                    </a:cubicBezTo>
                    <a:cubicBezTo>
                      <a:pt x="74794" y="100986"/>
                      <a:pt x="69047" y="106315"/>
                      <a:pt x="62611" y="110709"/>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7" name="Freeform: Shape 616">
                <a:extLst>
                  <a:ext uri="{FF2B5EF4-FFF2-40B4-BE49-F238E27FC236}">
                    <a16:creationId xmlns:a16="http://schemas.microsoft.com/office/drawing/2014/main" id="{8076E9A1-3922-43E4-954A-FEE964541E2A}"/>
                  </a:ext>
                </a:extLst>
              </p:cNvPr>
              <p:cNvSpPr/>
              <p:nvPr/>
            </p:nvSpPr>
            <p:spPr>
              <a:xfrm>
                <a:off x="5190657" y="4769551"/>
                <a:ext cx="91012" cy="100353"/>
              </a:xfrm>
              <a:custGeom>
                <a:avLst/>
                <a:gdLst>
                  <a:gd name="connsiteX0" fmla="*/ 88699 w 91012"/>
                  <a:gd name="connsiteY0" fmla="*/ 21486 h 100353"/>
                  <a:gd name="connsiteX1" fmla="*/ 83937 w 91012"/>
                  <a:gd name="connsiteY1" fmla="*/ 13200 h 100353"/>
                  <a:gd name="connsiteX2" fmla="*/ 50885 w 91012"/>
                  <a:gd name="connsiteY2" fmla="*/ 627 h 100353"/>
                  <a:gd name="connsiteX3" fmla="*/ 19357 w 91012"/>
                  <a:gd name="connsiteY3" fmla="*/ 19677 h 100353"/>
                  <a:gd name="connsiteX4" fmla="*/ 13261 w 91012"/>
                  <a:gd name="connsiteY4" fmla="*/ 26916 h 100353"/>
                  <a:gd name="connsiteX5" fmla="*/ 6403 w 91012"/>
                  <a:gd name="connsiteY5" fmla="*/ 39584 h 100353"/>
                  <a:gd name="connsiteX6" fmla="*/ 117 w 91012"/>
                  <a:gd name="connsiteY6" fmla="*/ 61872 h 100353"/>
                  <a:gd name="connsiteX7" fmla="*/ 16595 w 91012"/>
                  <a:gd name="connsiteY7" fmla="*/ 94353 h 100353"/>
                  <a:gd name="connsiteX8" fmla="*/ 49742 w 91012"/>
                  <a:gd name="connsiteY8" fmla="*/ 97972 h 100353"/>
                  <a:gd name="connsiteX9" fmla="*/ 53838 w 91012"/>
                  <a:gd name="connsiteY9" fmla="*/ 96162 h 100353"/>
                  <a:gd name="connsiteX10" fmla="*/ 72888 w 91012"/>
                  <a:gd name="connsiteY10" fmla="*/ 80541 h 100353"/>
                  <a:gd name="connsiteX11" fmla="*/ 77745 w 91012"/>
                  <a:gd name="connsiteY11" fmla="*/ 74445 h 100353"/>
                  <a:gd name="connsiteX12" fmla="*/ 80984 w 91012"/>
                  <a:gd name="connsiteY12" fmla="*/ 69588 h 100353"/>
                  <a:gd name="connsiteX13" fmla="*/ 90509 w 91012"/>
                  <a:gd name="connsiteY13" fmla="*/ 42251 h 100353"/>
                  <a:gd name="connsiteX14" fmla="*/ 88699 w 91012"/>
                  <a:gd name="connsiteY14" fmla="*/ 21486 h 100353"/>
                  <a:gd name="connsiteX15" fmla="*/ 67935 w 91012"/>
                  <a:gd name="connsiteY15" fmla="*/ 35107 h 100353"/>
                  <a:gd name="connsiteX16" fmla="*/ 67935 w 91012"/>
                  <a:gd name="connsiteY16" fmla="*/ 38155 h 100353"/>
                  <a:gd name="connsiteX17" fmla="*/ 62124 w 91012"/>
                  <a:gd name="connsiteY17" fmla="*/ 57205 h 100353"/>
                  <a:gd name="connsiteX18" fmla="*/ 59838 w 91012"/>
                  <a:gd name="connsiteY18" fmla="*/ 60634 h 100353"/>
                  <a:gd name="connsiteX19" fmla="*/ 52314 w 91012"/>
                  <a:gd name="connsiteY19" fmla="*/ 69397 h 100353"/>
                  <a:gd name="connsiteX20" fmla="*/ 44122 w 91012"/>
                  <a:gd name="connsiteY20" fmla="*/ 75493 h 100353"/>
                  <a:gd name="connsiteX21" fmla="*/ 29358 w 91012"/>
                  <a:gd name="connsiteY21" fmla="*/ 74826 h 100353"/>
                  <a:gd name="connsiteX22" fmla="*/ 23358 w 91012"/>
                  <a:gd name="connsiteY22" fmla="*/ 62825 h 100353"/>
                  <a:gd name="connsiteX23" fmla="*/ 28596 w 91012"/>
                  <a:gd name="connsiteY23" fmla="*/ 46442 h 100353"/>
                  <a:gd name="connsiteX24" fmla="*/ 32978 w 91012"/>
                  <a:gd name="connsiteY24" fmla="*/ 38822 h 100353"/>
                  <a:gd name="connsiteX25" fmla="*/ 45170 w 91012"/>
                  <a:gd name="connsiteY25" fmla="*/ 27963 h 100353"/>
                  <a:gd name="connsiteX26" fmla="*/ 54695 w 91012"/>
                  <a:gd name="connsiteY26" fmla="*/ 23296 h 100353"/>
                  <a:gd name="connsiteX27" fmla="*/ 56790 w 91012"/>
                  <a:gd name="connsiteY27" fmla="*/ 23296 h 100353"/>
                  <a:gd name="connsiteX28" fmla="*/ 66315 w 91012"/>
                  <a:gd name="connsiteY28" fmla="*/ 29964 h 100353"/>
                  <a:gd name="connsiteX29" fmla="*/ 67077 w 91012"/>
                  <a:gd name="connsiteY29" fmla="*/ 35202 h 10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1012" h="100353">
                    <a:moveTo>
                      <a:pt x="88699" y="21486"/>
                    </a:moveTo>
                    <a:cubicBezTo>
                      <a:pt x="87568" y="18486"/>
                      <a:pt x="85959" y="15688"/>
                      <a:pt x="83937" y="13200"/>
                    </a:cubicBezTo>
                    <a:cubicBezTo>
                      <a:pt x="76219" y="3048"/>
                      <a:pt x="63398" y="-1829"/>
                      <a:pt x="50885" y="627"/>
                    </a:cubicBezTo>
                    <a:cubicBezTo>
                      <a:pt x="38911" y="4156"/>
                      <a:pt x="28051" y="10718"/>
                      <a:pt x="19357" y="19677"/>
                    </a:cubicBezTo>
                    <a:cubicBezTo>
                      <a:pt x="17053" y="21847"/>
                      <a:pt x="15007" y="24276"/>
                      <a:pt x="13261" y="26916"/>
                    </a:cubicBezTo>
                    <a:cubicBezTo>
                      <a:pt x="10669" y="30966"/>
                      <a:pt x="8377" y="35200"/>
                      <a:pt x="6403" y="39584"/>
                    </a:cubicBezTo>
                    <a:cubicBezTo>
                      <a:pt x="2927" y="46553"/>
                      <a:pt x="794" y="54114"/>
                      <a:pt x="117" y="61872"/>
                    </a:cubicBezTo>
                    <a:cubicBezTo>
                      <a:pt x="-955" y="74940"/>
                      <a:pt x="5417" y="87499"/>
                      <a:pt x="16595" y="94353"/>
                    </a:cubicBezTo>
                    <a:cubicBezTo>
                      <a:pt x="26430" y="100788"/>
                      <a:pt x="38750" y="102133"/>
                      <a:pt x="49742" y="97972"/>
                    </a:cubicBezTo>
                    <a:lnTo>
                      <a:pt x="53838" y="96162"/>
                    </a:lnTo>
                    <a:cubicBezTo>
                      <a:pt x="61179" y="92297"/>
                      <a:pt x="67659" y="86983"/>
                      <a:pt x="72888" y="80541"/>
                    </a:cubicBezTo>
                    <a:cubicBezTo>
                      <a:pt x="74610" y="78594"/>
                      <a:pt x="76231" y="76559"/>
                      <a:pt x="77745" y="74445"/>
                    </a:cubicBezTo>
                    <a:cubicBezTo>
                      <a:pt x="78888" y="72826"/>
                      <a:pt x="79936" y="71207"/>
                      <a:pt x="80984" y="69588"/>
                    </a:cubicBezTo>
                    <a:cubicBezTo>
                      <a:pt x="85914" y="61185"/>
                      <a:pt x="89150" y="51898"/>
                      <a:pt x="90509" y="42251"/>
                    </a:cubicBezTo>
                    <a:cubicBezTo>
                      <a:pt x="91570" y="35284"/>
                      <a:pt x="90949" y="28165"/>
                      <a:pt x="88699" y="21486"/>
                    </a:cubicBezTo>
                    <a:close/>
                    <a:moveTo>
                      <a:pt x="67935" y="35107"/>
                    </a:moveTo>
                    <a:cubicBezTo>
                      <a:pt x="67935" y="36060"/>
                      <a:pt x="67935" y="37107"/>
                      <a:pt x="67935" y="38155"/>
                    </a:cubicBezTo>
                    <a:cubicBezTo>
                      <a:pt x="67362" y="44844"/>
                      <a:pt x="65382" y="51336"/>
                      <a:pt x="62124" y="57205"/>
                    </a:cubicBezTo>
                    <a:cubicBezTo>
                      <a:pt x="61362" y="58475"/>
                      <a:pt x="60600" y="59618"/>
                      <a:pt x="59838" y="60634"/>
                    </a:cubicBezTo>
                    <a:cubicBezTo>
                      <a:pt x="57623" y="63794"/>
                      <a:pt x="55103" y="66729"/>
                      <a:pt x="52314" y="69397"/>
                    </a:cubicBezTo>
                    <a:cubicBezTo>
                      <a:pt x="49902" y="71826"/>
                      <a:pt x="47141" y="73880"/>
                      <a:pt x="44122" y="75493"/>
                    </a:cubicBezTo>
                    <a:cubicBezTo>
                      <a:pt x="39475" y="78098"/>
                      <a:pt x="33752" y="77839"/>
                      <a:pt x="29358" y="74826"/>
                    </a:cubicBezTo>
                    <a:cubicBezTo>
                      <a:pt x="25059" y="72461"/>
                      <a:pt x="22671" y="67684"/>
                      <a:pt x="23358" y="62825"/>
                    </a:cubicBezTo>
                    <a:cubicBezTo>
                      <a:pt x="24029" y="57077"/>
                      <a:pt x="25808" y="51513"/>
                      <a:pt x="28596" y="46442"/>
                    </a:cubicBezTo>
                    <a:cubicBezTo>
                      <a:pt x="29835" y="44061"/>
                      <a:pt x="31263" y="41489"/>
                      <a:pt x="32978" y="38822"/>
                    </a:cubicBezTo>
                    <a:cubicBezTo>
                      <a:pt x="36314" y="34460"/>
                      <a:pt x="40452" y="30774"/>
                      <a:pt x="45170" y="27963"/>
                    </a:cubicBezTo>
                    <a:cubicBezTo>
                      <a:pt x="48099" y="25950"/>
                      <a:pt x="51308" y="24377"/>
                      <a:pt x="54695" y="23296"/>
                    </a:cubicBezTo>
                    <a:cubicBezTo>
                      <a:pt x="55391" y="23206"/>
                      <a:pt x="56095" y="23206"/>
                      <a:pt x="56790" y="23296"/>
                    </a:cubicBezTo>
                    <a:cubicBezTo>
                      <a:pt x="61020" y="23392"/>
                      <a:pt x="64778" y="26022"/>
                      <a:pt x="66315" y="29964"/>
                    </a:cubicBezTo>
                    <a:cubicBezTo>
                      <a:pt x="66866" y="31654"/>
                      <a:pt x="67123" y="33426"/>
                      <a:pt x="67077" y="35202"/>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8" name="Freeform: Shape 617">
                <a:extLst>
                  <a:ext uri="{FF2B5EF4-FFF2-40B4-BE49-F238E27FC236}">
                    <a16:creationId xmlns:a16="http://schemas.microsoft.com/office/drawing/2014/main" id="{3BECCCDA-7AE8-4A1F-880D-32FF1585E5FD}"/>
                  </a:ext>
                </a:extLst>
              </p:cNvPr>
              <p:cNvSpPr/>
              <p:nvPr/>
            </p:nvSpPr>
            <p:spPr>
              <a:xfrm>
                <a:off x="5240071" y="4774267"/>
                <a:ext cx="117044" cy="128689"/>
              </a:xfrm>
              <a:custGeom>
                <a:avLst/>
                <a:gdLst>
                  <a:gd name="connsiteX0" fmla="*/ 116914 w 117044"/>
                  <a:gd name="connsiteY0" fmla="*/ 46965 h 128689"/>
                  <a:gd name="connsiteX1" fmla="*/ 111961 w 117044"/>
                  <a:gd name="connsiteY1" fmla="*/ 31440 h 128689"/>
                  <a:gd name="connsiteX2" fmla="*/ 91577 w 117044"/>
                  <a:gd name="connsiteY2" fmla="*/ 8675 h 128689"/>
                  <a:gd name="connsiteX3" fmla="*/ 46143 w 117044"/>
                  <a:gd name="connsiteY3" fmla="*/ 2198 h 128689"/>
                  <a:gd name="connsiteX4" fmla="*/ 34522 w 117044"/>
                  <a:gd name="connsiteY4" fmla="*/ 8484 h 128689"/>
                  <a:gd name="connsiteX5" fmla="*/ 21378 w 117044"/>
                  <a:gd name="connsiteY5" fmla="*/ 25629 h 128689"/>
                  <a:gd name="connsiteX6" fmla="*/ 18520 w 117044"/>
                  <a:gd name="connsiteY6" fmla="*/ 30297 h 128689"/>
                  <a:gd name="connsiteX7" fmla="*/ 18520 w 117044"/>
                  <a:gd name="connsiteY7" fmla="*/ 30297 h 128689"/>
                  <a:gd name="connsiteX8" fmla="*/ 18520 w 117044"/>
                  <a:gd name="connsiteY8" fmla="*/ 33345 h 128689"/>
                  <a:gd name="connsiteX9" fmla="*/ 12710 w 117044"/>
                  <a:gd name="connsiteY9" fmla="*/ 52395 h 128689"/>
                  <a:gd name="connsiteX10" fmla="*/ 10424 w 117044"/>
                  <a:gd name="connsiteY10" fmla="*/ 55824 h 128689"/>
                  <a:gd name="connsiteX11" fmla="*/ 2899 w 117044"/>
                  <a:gd name="connsiteY11" fmla="*/ 64587 h 128689"/>
                  <a:gd name="connsiteX12" fmla="*/ 137 w 117044"/>
                  <a:gd name="connsiteY12" fmla="*/ 80398 h 128689"/>
                  <a:gd name="connsiteX13" fmla="*/ 804 w 117044"/>
                  <a:gd name="connsiteY13" fmla="*/ 93066 h 128689"/>
                  <a:gd name="connsiteX14" fmla="*/ 41571 w 117044"/>
                  <a:gd name="connsiteY14" fmla="*/ 128690 h 128689"/>
                  <a:gd name="connsiteX15" fmla="*/ 59764 w 117044"/>
                  <a:gd name="connsiteY15" fmla="*/ 124880 h 128689"/>
                  <a:gd name="connsiteX16" fmla="*/ 73289 w 117044"/>
                  <a:gd name="connsiteY16" fmla="*/ 117260 h 128689"/>
                  <a:gd name="connsiteX17" fmla="*/ 82243 w 117044"/>
                  <a:gd name="connsiteY17" fmla="*/ 109926 h 128689"/>
                  <a:gd name="connsiteX18" fmla="*/ 97292 w 117044"/>
                  <a:gd name="connsiteY18" fmla="*/ 92495 h 128689"/>
                  <a:gd name="connsiteX19" fmla="*/ 102531 w 117044"/>
                  <a:gd name="connsiteY19" fmla="*/ 84684 h 128689"/>
                  <a:gd name="connsiteX20" fmla="*/ 105960 w 117044"/>
                  <a:gd name="connsiteY20" fmla="*/ 79446 h 128689"/>
                  <a:gd name="connsiteX21" fmla="*/ 116628 w 117044"/>
                  <a:gd name="connsiteY21" fmla="*/ 54395 h 128689"/>
                  <a:gd name="connsiteX22" fmla="*/ 116914 w 117044"/>
                  <a:gd name="connsiteY22" fmla="*/ 46965 h 128689"/>
                  <a:gd name="connsiteX23" fmla="*/ 60907 w 117044"/>
                  <a:gd name="connsiteY23" fmla="*/ 98019 h 128689"/>
                  <a:gd name="connsiteX24" fmla="*/ 31855 w 117044"/>
                  <a:gd name="connsiteY24" fmla="*/ 103163 h 128689"/>
                  <a:gd name="connsiteX25" fmla="*/ 22997 w 117044"/>
                  <a:gd name="connsiteY25" fmla="*/ 82017 h 128689"/>
                  <a:gd name="connsiteX26" fmla="*/ 23854 w 117044"/>
                  <a:gd name="connsiteY26" fmla="*/ 75826 h 128689"/>
                  <a:gd name="connsiteX27" fmla="*/ 25855 w 117044"/>
                  <a:gd name="connsiteY27" fmla="*/ 67635 h 128689"/>
                  <a:gd name="connsiteX28" fmla="*/ 35380 w 117044"/>
                  <a:gd name="connsiteY28" fmla="*/ 46299 h 128689"/>
                  <a:gd name="connsiteX29" fmla="*/ 37189 w 117044"/>
                  <a:gd name="connsiteY29" fmla="*/ 43251 h 128689"/>
                  <a:gd name="connsiteX30" fmla="*/ 40714 w 117044"/>
                  <a:gd name="connsiteY30" fmla="*/ 37536 h 128689"/>
                  <a:gd name="connsiteX31" fmla="*/ 40714 w 117044"/>
                  <a:gd name="connsiteY31" fmla="*/ 37536 h 128689"/>
                  <a:gd name="connsiteX32" fmla="*/ 52144 w 117044"/>
                  <a:gd name="connsiteY32" fmla="*/ 24486 h 128689"/>
                  <a:gd name="connsiteX33" fmla="*/ 61192 w 117044"/>
                  <a:gd name="connsiteY33" fmla="*/ 23153 h 128689"/>
                  <a:gd name="connsiteX34" fmla="*/ 78814 w 117044"/>
                  <a:gd name="connsiteY34" fmla="*/ 28296 h 128689"/>
                  <a:gd name="connsiteX35" fmla="*/ 91863 w 117044"/>
                  <a:gd name="connsiteY35" fmla="*/ 44298 h 128689"/>
                  <a:gd name="connsiteX36" fmla="*/ 93673 w 117044"/>
                  <a:gd name="connsiteY36" fmla="*/ 50775 h 128689"/>
                  <a:gd name="connsiteX37" fmla="*/ 86815 w 117044"/>
                  <a:gd name="connsiteY37" fmla="*/ 66682 h 128689"/>
                  <a:gd name="connsiteX38" fmla="*/ 83005 w 117044"/>
                  <a:gd name="connsiteY38" fmla="*/ 72492 h 128689"/>
                  <a:gd name="connsiteX39" fmla="*/ 78718 w 117044"/>
                  <a:gd name="connsiteY39" fmla="*/ 78779 h 128689"/>
                  <a:gd name="connsiteX40" fmla="*/ 63288 w 117044"/>
                  <a:gd name="connsiteY40" fmla="*/ 95924 h 128689"/>
                  <a:gd name="connsiteX41" fmla="*/ 60907 w 117044"/>
                  <a:gd name="connsiteY41" fmla="*/ 98019 h 12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44" h="128689">
                    <a:moveTo>
                      <a:pt x="116914" y="46965"/>
                    </a:moveTo>
                    <a:cubicBezTo>
                      <a:pt x="116090" y="41562"/>
                      <a:pt x="114419" y="36322"/>
                      <a:pt x="111961" y="31440"/>
                    </a:cubicBezTo>
                    <a:cubicBezTo>
                      <a:pt x="107442" y="22086"/>
                      <a:pt x="100377" y="14196"/>
                      <a:pt x="91577" y="8675"/>
                    </a:cubicBezTo>
                    <a:cubicBezTo>
                      <a:pt x="78057" y="113"/>
                      <a:pt x="61517" y="-2245"/>
                      <a:pt x="46143" y="2198"/>
                    </a:cubicBezTo>
                    <a:cubicBezTo>
                      <a:pt x="41879" y="3473"/>
                      <a:pt x="37923" y="5613"/>
                      <a:pt x="34522" y="8484"/>
                    </a:cubicBezTo>
                    <a:cubicBezTo>
                      <a:pt x="29200" y="13412"/>
                      <a:pt x="24755" y="19210"/>
                      <a:pt x="21378" y="25629"/>
                    </a:cubicBezTo>
                    <a:lnTo>
                      <a:pt x="18520" y="30297"/>
                    </a:lnTo>
                    <a:lnTo>
                      <a:pt x="18520" y="30297"/>
                    </a:lnTo>
                    <a:cubicBezTo>
                      <a:pt x="18520" y="31249"/>
                      <a:pt x="18520" y="32297"/>
                      <a:pt x="18520" y="33345"/>
                    </a:cubicBezTo>
                    <a:cubicBezTo>
                      <a:pt x="17948" y="40033"/>
                      <a:pt x="15968" y="46525"/>
                      <a:pt x="12710" y="52395"/>
                    </a:cubicBezTo>
                    <a:cubicBezTo>
                      <a:pt x="11948" y="53665"/>
                      <a:pt x="11186" y="54808"/>
                      <a:pt x="10424" y="55824"/>
                    </a:cubicBezTo>
                    <a:cubicBezTo>
                      <a:pt x="8209" y="58984"/>
                      <a:pt x="5688" y="61919"/>
                      <a:pt x="2899" y="64587"/>
                    </a:cubicBezTo>
                    <a:cubicBezTo>
                      <a:pt x="1413" y="69742"/>
                      <a:pt x="486" y="75044"/>
                      <a:pt x="137" y="80398"/>
                    </a:cubicBezTo>
                    <a:cubicBezTo>
                      <a:pt x="-176" y="84632"/>
                      <a:pt x="48" y="88889"/>
                      <a:pt x="804" y="93066"/>
                    </a:cubicBezTo>
                    <a:cubicBezTo>
                      <a:pt x="3797" y="113343"/>
                      <a:pt x="21076" y="128442"/>
                      <a:pt x="41571" y="128690"/>
                    </a:cubicBezTo>
                    <a:cubicBezTo>
                      <a:pt x="47825" y="128610"/>
                      <a:pt x="54003" y="127316"/>
                      <a:pt x="59764" y="124880"/>
                    </a:cubicBezTo>
                    <a:cubicBezTo>
                      <a:pt x="64554" y="122875"/>
                      <a:pt x="69093" y="120318"/>
                      <a:pt x="73289" y="117260"/>
                    </a:cubicBezTo>
                    <a:cubicBezTo>
                      <a:pt x="76407" y="114983"/>
                      <a:pt x="79396" y="112534"/>
                      <a:pt x="82243" y="109926"/>
                    </a:cubicBezTo>
                    <a:cubicBezTo>
                      <a:pt x="87756" y="104563"/>
                      <a:pt x="92791" y="98731"/>
                      <a:pt x="97292" y="92495"/>
                    </a:cubicBezTo>
                    <a:cubicBezTo>
                      <a:pt x="99007" y="90018"/>
                      <a:pt x="100816" y="87447"/>
                      <a:pt x="102531" y="84684"/>
                    </a:cubicBezTo>
                    <a:lnTo>
                      <a:pt x="105960" y="79446"/>
                    </a:lnTo>
                    <a:cubicBezTo>
                      <a:pt x="111722" y="72218"/>
                      <a:pt x="115410" y="63558"/>
                      <a:pt x="116628" y="54395"/>
                    </a:cubicBezTo>
                    <a:cubicBezTo>
                      <a:pt x="117061" y="51943"/>
                      <a:pt x="117157" y="49443"/>
                      <a:pt x="116914" y="46965"/>
                    </a:cubicBezTo>
                    <a:close/>
                    <a:moveTo>
                      <a:pt x="60907" y="98019"/>
                    </a:moveTo>
                    <a:cubicBezTo>
                      <a:pt x="51382" y="105639"/>
                      <a:pt x="40523" y="108592"/>
                      <a:pt x="31855" y="103163"/>
                    </a:cubicBezTo>
                    <a:cubicBezTo>
                      <a:pt x="24885" y="98565"/>
                      <a:pt x="21385" y="90210"/>
                      <a:pt x="22997" y="82017"/>
                    </a:cubicBezTo>
                    <a:cubicBezTo>
                      <a:pt x="23109" y="79933"/>
                      <a:pt x="23395" y="77862"/>
                      <a:pt x="23854" y="75826"/>
                    </a:cubicBezTo>
                    <a:cubicBezTo>
                      <a:pt x="24328" y="73052"/>
                      <a:pt x="24997" y="70315"/>
                      <a:pt x="25855" y="67635"/>
                    </a:cubicBezTo>
                    <a:cubicBezTo>
                      <a:pt x="28232" y="60193"/>
                      <a:pt x="31426" y="53037"/>
                      <a:pt x="35380" y="46299"/>
                    </a:cubicBezTo>
                    <a:lnTo>
                      <a:pt x="37189" y="43251"/>
                    </a:lnTo>
                    <a:cubicBezTo>
                      <a:pt x="38523" y="41346"/>
                      <a:pt x="39571" y="39345"/>
                      <a:pt x="40714" y="37536"/>
                    </a:cubicBezTo>
                    <a:cubicBezTo>
                      <a:pt x="40714" y="37536"/>
                      <a:pt x="40714" y="37536"/>
                      <a:pt x="40714" y="37536"/>
                    </a:cubicBezTo>
                    <a:cubicBezTo>
                      <a:pt x="45286" y="29820"/>
                      <a:pt x="47857" y="25725"/>
                      <a:pt x="52144" y="24486"/>
                    </a:cubicBezTo>
                    <a:cubicBezTo>
                      <a:pt x="55082" y="23617"/>
                      <a:pt x="58128" y="23168"/>
                      <a:pt x="61192" y="23153"/>
                    </a:cubicBezTo>
                    <a:cubicBezTo>
                      <a:pt x="67428" y="23210"/>
                      <a:pt x="73527" y="24990"/>
                      <a:pt x="78814" y="28296"/>
                    </a:cubicBezTo>
                    <a:cubicBezTo>
                      <a:pt x="84793" y="32064"/>
                      <a:pt x="89376" y="37683"/>
                      <a:pt x="91863" y="44298"/>
                    </a:cubicBezTo>
                    <a:cubicBezTo>
                      <a:pt x="92709" y="46382"/>
                      <a:pt x="93316" y="48555"/>
                      <a:pt x="93673" y="50775"/>
                    </a:cubicBezTo>
                    <a:cubicBezTo>
                      <a:pt x="94435" y="55157"/>
                      <a:pt x="91863" y="59253"/>
                      <a:pt x="86815" y="66682"/>
                    </a:cubicBezTo>
                    <a:lnTo>
                      <a:pt x="83005" y="72492"/>
                    </a:lnTo>
                    <a:cubicBezTo>
                      <a:pt x="81686" y="74661"/>
                      <a:pt x="80255" y="76759"/>
                      <a:pt x="78718" y="78779"/>
                    </a:cubicBezTo>
                    <a:cubicBezTo>
                      <a:pt x="74306" y="85112"/>
                      <a:pt x="69123" y="90871"/>
                      <a:pt x="63288" y="95924"/>
                    </a:cubicBezTo>
                    <a:cubicBezTo>
                      <a:pt x="62532" y="96664"/>
                      <a:pt x="61737" y="97363"/>
                      <a:pt x="60907" y="98019"/>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19" name="Freeform: Shape 618">
                <a:extLst>
                  <a:ext uri="{FF2B5EF4-FFF2-40B4-BE49-F238E27FC236}">
                    <a16:creationId xmlns:a16="http://schemas.microsoft.com/office/drawing/2014/main" id="{DB8D52C9-84C4-43FA-A8DA-C0BED304199D}"/>
                  </a:ext>
                </a:extLst>
              </p:cNvPr>
              <p:cNvSpPr/>
              <p:nvPr/>
            </p:nvSpPr>
            <p:spPr>
              <a:xfrm>
                <a:off x="5232998" y="4363499"/>
                <a:ext cx="81879" cy="109023"/>
              </a:xfrm>
              <a:custGeom>
                <a:avLst/>
                <a:gdLst>
                  <a:gd name="connsiteX0" fmla="*/ 70361 w 81879"/>
                  <a:gd name="connsiteY0" fmla="*/ 109023 h 109023"/>
                  <a:gd name="connsiteX1" fmla="*/ 60836 w 81879"/>
                  <a:gd name="connsiteY1" fmla="*/ 103975 h 109023"/>
                  <a:gd name="connsiteX2" fmla="*/ 1781 w 81879"/>
                  <a:gd name="connsiteY2" fmla="*/ 17678 h 109023"/>
                  <a:gd name="connsiteX3" fmla="*/ 5374 w 81879"/>
                  <a:gd name="connsiteY3" fmla="*/ 1780 h 109023"/>
                  <a:gd name="connsiteX4" fmla="*/ 20831 w 81879"/>
                  <a:gd name="connsiteY4" fmla="*/ 4724 h 109023"/>
                  <a:gd name="connsiteX5" fmla="*/ 79886 w 81879"/>
                  <a:gd name="connsiteY5" fmla="*/ 91021 h 109023"/>
                  <a:gd name="connsiteX6" fmla="*/ 76830 w 81879"/>
                  <a:gd name="connsiteY6" fmla="*/ 107031 h 109023"/>
                  <a:gd name="connsiteX7" fmla="*/ 70361 w 81879"/>
                  <a:gd name="connsiteY7" fmla="*/ 109023 h 1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79" h="109023">
                    <a:moveTo>
                      <a:pt x="70361" y="109023"/>
                    </a:moveTo>
                    <a:cubicBezTo>
                      <a:pt x="66546" y="109020"/>
                      <a:pt x="62980" y="107130"/>
                      <a:pt x="60836" y="103975"/>
                    </a:cubicBezTo>
                    <a:lnTo>
                      <a:pt x="1781" y="17678"/>
                    </a:lnTo>
                    <a:cubicBezTo>
                      <a:pt x="-1617" y="12296"/>
                      <a:pt x="-8" y="5178"/>
                      <a:pt x="5374" y="1780"/>
                    </a:cubicBezTo>
                    <a:cubicBezTo>
                      <a:pt x="10499" y="-1455"/>
                      <a:pt x="17254" y="-168"/>
                      <a:pt x="20831" y="4724"/>
                    </a:cubicBezTo>
                    <a:lnTo>
                      <a:pt x="79886" y="91021"/>
                    </a:lnTo>
                    <a:cubicBezTo>
                      <a:pt x="83463" y="96286"/>
                      <a:pt x="82095" y="103454"/>
                      <a:pt x="76830" y="107031"/>
                    </a:cubicBezTo>
                    <a:cubicBezTo>
                      <a:pt x="74922" y="108328"/>
                      <a:pt x="72668" y="109022"/>
                      <a:pt x="70361" y="109023"/>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0" name="Freeform: Shape 619">
                <a:extLst>
                  <a:ext uri="{FF2B5EF4-FFF2-40B4-BE49-F238E27FC236}">
                    <a16:creationId xmlns:a16="http://schemas.microsoft.com/office/drawing/2014/main" id="{FA0E683E-4F55-4086-9000-A9EC2DE93A6C}"/>
                  </a:ext>
                </a:extLst>
              </p:cNvPr>
              <p:cNvSpPr/>
              <p:nvPr/>
            </p:nvSpPr>
            <p:spPr>
              <a:xfrm rot="541033">
                <a:off x="5438460" y="4264481"/>
                <a:ext cx="49936" cy="188800"/>
              </a:xfrm>
              <a:custGeom>
                <a:avLst/>
                <a:gdLst>
                  <a:gd name="connsiteX0" fmla="*/ 37972 w 49936"/>
                  <a:gd name="connsiteY0" fmla="*/ 188800 h 188800"/>
                  <a:gd name="connsiteX1" fmla="*/ 26637 w 49936"/>
                  <a:gd name="connsiteY1" fmla="*/ 179275 h 188800"/>
                  <a:gd name="connsiteX2" fmla="*/ 158 w 49936"/>
                  <a:gd name="connsiteY2" fmla="*/ 13635 h 188800"/>
                  <a:gd name="connsiteX3" fmla="*/ 9825 w 49936"/>
                  <a:gd name="connsiteY3" fmla="*/ 158 h 188800"/>
                  <a:gd name="connsiteX4" fmla="*/ 23303 w 49936"/>
                  <a:gd name="connsiteY4" fmla="*/ 9825 h 188800"/>
                  <a:gd name="connsiteX5" fmla="*/ 49783 w 49936"/>
                  <a:gd name="connsiteY5" fmla="*/ 175370 h 188800"/>
                  <a:gd name="connsiteX6" fmla="*/ 40273 w 49936"/>
                  <a:gd name="connsiteY6" fmla="*/ 188607 h 188800"/>
                  <a:gd name="connsiteX7" fmla="*/ 40258 w 49936"/>
                  <a:gd name="connsiteY7" fmla="*/ 188610 h 18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6" h="188800">
                    <a:moveTo>
                      <a:pt x="37972" y="188800"/>
                    </a:moveTo>
                    <a:cubicBezTo>
                      <a:pt x="32384" y="188793"/>
                      <a:pt x="27607" y="184778"/>
                      <a:pt x="26637" y="179275"/>
                    </a:cubicBezTo>
                    <a:lnTo>
                      <a:pt x="158" y="13635"/>
                    </a:lnTo>
                    <a:cubicBezTo>
                      <a:pt x="-895" y="7244"/>
                      <a:pt x="3434" y="1210"/>
                      <a:pt x="9825" y="158"/>
                    </a:cubicBezTo>
                    <a:cubicBezTo>
                      <a:pt x="16217" y="-895"/>
                      <a:pt x="22251" y="3434"/>
                      <a:pt x="23303" y="9825"/>
                    </a:cubicBezTo>
                    <a:lnTo>
                      <a:pt x="49783" y="175370"/>
                    </a:lnTo>
                    <a:cubicBezTo>
                      <a:pt x="50812" y="181651"/>
                      <a:pt x="46554" y="187578"/>
                      <a:pt x="40273" y="188607"/>
                    </a:cubicBezTo>
                    <a:cubicBezTo>
                      <a:pt x="40268" y="188608"/>
                      <a:pt x="40263" y="188609"/>
                      <a:pt x="40258" y="188610"/>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21" name="Freeform: Shape 620">
                <a:extLst>
                  <a:ext uri="{FF2B5EF4-FFF2-40B4-BE49-F238E27FC236}">
                    <a16:creationId xmlns:a16="http://schemas.microsoft.com/office/drawing/2014/main" id="{08C3BC44-4F70-44B4-940B-F993FC6315EF}"/>
                  </a:ext>
                </a:extLst>
              </p:cNvPr>
              <p:cNvSpPr/>
              <p:nvPr/>
            </p:nvSpPr>
            <p:spPr>
              <a:xfrm>
                <a:off x="5594165" y="4362753"/>
                <a:ext cx="82033" cy="109768"/>
              </a:xfrm>
              <a:custGeom>
                <a:avLst/>
                <a:gdLst>
                  <a:gd name="connsiteX0" fmla="*/ 11517 w 82033"/>
                  <a:gd name="connsiteY0" fmla="*/ 109768 h 109768"/>
                  <a:gd name="connsiteX1" fmla="*/ 0 w 82033"/>
                  <a:gd name="connsiteY1" fmla="*/ 98235 h 109768"/>
                  <a:gd name="connsiteX2" fmla="*/ 1992 w 82033"/>
                  <a:gd name="connsiteY2" fmla="*/ 91766 h 109768"/>
                  <a:gd name="connsiteX3" fmla="*/ 60761 w 82033"/>
                  <a:gd name="connsiteY3" fmla="*/ 5374 h 109768"/>
                  <a:gd name="connsiteX4" fmla="*/ 76659 w 82033"/>
                  <a:gd name="connsiteY4" fmla="*/ 1781 h 109768"/>
                  <a:gd name="connsiteX5" fmla="*/ 80253 w 82033"/>
                  <a:gd name="connsiteY5" fmla="*/ 17679 h 109768"/>
                  <a:gd name="connsiteX6" fmla="*/ 79811 w 82033"/>
                  <a:gd name="connsiteY6" fmla="*/ 18329 h 109768"/>
                  <a:gd name="connsiteX7" fmla="*/ 20756 w 82033"/>
                  <a:gd name="connsiteY7" fmla="*/ 104625 h 109768"/>
                  <a:gd name="connsiteX8" fmla="*/ 11517 w 82033"/>
                  <a:gd name="connsiteY8" fmla="*/ 109769 h 10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033" h="109768">
                    <a:moveTo>
                      <a:pt x="11517" y="109768"/>
                    </a:moveTo>
                    <a:cubicBezTo>
                      <a:pt x="5152" y="109764"/>
                      <a:pt x="-4" y="104600"/>
                      <a:pt x="0" y="98235"/>
                    </a:cubicBezTo>
                    <a:cubicBezTo>
                      <a:pt x="2" y="95928"/>
                      <a:pt x="696" y="93675"/>
                      <a:pt x="1992" y="91766"/>
                    </a:cubicBezTo>
                    <a:lnTo>
                      <a:pt x="60761" y="5374"/>
                    </a:lnTo>
                    <a:cubicBezTo>
                      <a:pt x="64159" y="-8"/>
                      <a:pt x="71277" y="-1617"/>
                      <a:pt x="76659" y="1781"/>
                    </a:cubicBezTo>
                    <a:cubicBezTo>
                      <a:pt x="82042" y="5179"/>
                      <a:pt x="83651" y="12297"/>
                      <a:pt x="80253" y="17679"/>
                    </a:cubicBezTo>
                    <a:cubicBezTo>
                      <a:pt x="80113" y="17900"/>
                      <a:pt x="79966" y="18117"/>
                      <a:pt x="79811" y="18329"/>
                    </a:cubicBezTo>
                    <a:lnTo>
                      <a:pt x="20756" y="104625"/>
                    </a:lnTo>
                    <a:cubicBezTo>
                      <a:pt x="18691" y="107735"/>
                      <a:pt x="15248" y="109651"/>
                      <a:pt x="11517" y="109769"/>
                    </a:cubicBezTo>
                    <a:close/>
                  </a:path>
                </a:pathLst>
              </a:custGeom>
              <a:grpFill/>
              <a:ln w="9525"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sp>
        <p:nvSpPr>
          <p:cNvPr id="625" name="Arc 624">
            <a:extLst>
              <a:ext uri="{FF2B5EF4-FFF2-40B4-BE49-F238E27FC236}">
                <a16:creationId xmlns:a16="http://schemas.microsoft.com/office/drawing/2014/main" id="{092B4A9D-51DE-48B2-AFAC-C0C4269A457A}"/>
              </a:ext>
            </a:extLst>
          </p:cNvPr>
          <p:cNvSpPr/>
          <p:nvPr/>
        </p:nvSpPr>
        <p:spPr>
          <a:xfrm rot="12427234">
            <a:off x="1460473" y="-233698"/>
            <a:ext cx="3314464" cy="3311964"/>
          </a:xfrm>
          <a:prstGeom prst="arc">
            <a:avLst>
              <a:gd name="adj1" fmla="val 8840663"/>
              <a:gd name="adj2" fmla="val 14487698"/>
            </a:avLst>
          </a:prstGeom>
          <a:noFill/>
          <a:ln>
            <a:gradFill>
              <a:gsLst>
                <a:gs pos="0">
                  <a:schemeClr val="accent1">
                    <a:lumMod val="5000"/>
                    <a:lumOff val="95000"/>
                  </a:schemeClr>
                </a:gs>
                <a:gs pos="31000">
                  <a:schemeClr val="accent6"/>
                </a:gs>
                <a:gs pos="7300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2" name="Group 21">
            <a:extLst>
              <a:ext uri="{FF2B5EF4-FFF2-40B4-BE49-F238E27FC236}">
                <a16:creationId xmlns:a16="http://schemas.microsoft.com/office/drawing/2014/main" id="{0402FE0E-8A57-4D7F-9884-EC55A967761E}"/>
              </a:ext>
            </a:extLst>
          </p:cNvPr>
          <p:cNvGrpSpPr/>
          <p:nvPr/>
        </p:nvGrpSpPr>
        <p:grpSpPr>
          <a:xfrm>
            <a:off x="2993683" y="6168562"/>
            <a:ext cx="1864391" cy="161583"/>
            <a:chOff x="381001" y="5774926"/>
            <a:chExt cx="1864391" cy="161583"/>
          </a:xfrm>
        </p:grpSpPr>
        <p:sp>
          <p:nvSpPr>
            <p:cNvPr id="2" name="Rectangle 1">
              <a:extLst>
                <a:ext uri="{FF2B5EF4-FFF2-40B4-BE49-F238E27FC236}">
                  <a16:creationId xmlns:a16="http://schemas.microsoft.com/office/drawing/2014/main" id="{48B96067-1A03-49B6-9101-75C0FF784EE0}"/>
                </a:ext>
              </a:extLst>
            </p:cNvPr>
            <p:cNvSpPr/>
            <p:nvPr/>
          </p:nvSpPr>
          <p:spPr>
            <a:xfrm>
              <a:off x="381001" y="5783159"/>
              <a:ext cx="191589" cy="145116"/>
            </a:xfrm>
            <a:prstGeom prst="rect">
              <a:avLst/>
            </a:prstGeom>
            <a:solidFill>
              <a:schemeClr val="accent1"/>
            </a:solidFill>
            <a:ln w="6350">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9" name="TextBox 8">
              <a:extLst>
                <a:ext uri="{FF2B5EF4-FFF2-40B4-BE49-F238E27FC236}">
                  <a16:creationId xmlns:a16="http://schemas.microsoft.com/office/drawing/2014/main" id="{2B664E7E-33AB-459A-84E8-D4C913BA0D42}"/>
                </a:ext>
              </a:extLst>
            </p:cNvPr>
            <p:cNvSpPr txBox="1"/>
            <p:nvPr/>
          </p:nvSpPr>
          <p:spPr>
            <a:xfrm>
              <a:off x="664831" y="5774926"/>
              <a:ext cx="1580561"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a:t>Regular detailed coverage</a:t>
              </a:r>
            </a:p>
          </p:txBody>
        </p:sp>
      </p:grpSp>
      <p:grpSp>
        <p:nvGrpSpPr>
          <p:cNvPr id="20" name="Group 19">
            <a:extLst>
              <a:ext uri="{FF2B5EF4-FFF2-40B4-BE49-F238E27FC236}">
                <a16:creationId xmlns:a16="http://schemas.microsoft.com/office/drawing/2014/main" id="{2833AF12-2706-4DBB-ADD1-AE0525FC8D15}"/>
              </a:ext>
            </a:extLst>
          </p:cNvPr>
          <p:cNvGrpSpPr/>
          <p:nvPr/>
        </p:nvGrpSpPr>
        <p:grpSpPr>
          <a:xfrm>
            <a:off x="4955403" y="6168562"/>
            <a:ext cx="1508906" cy="161583"/>
            <a:chOff x="381001" y="6181452"/>
            <a:chExt cx="1508906" cy="161583"/>
          </a:xfrm>
        </p:grpSpPr>
        <p:sp>
          <p:nvSpPr>
            <p:cNvPr id="184" name="TextBox 183">
              <a:extLst>
                <a:ext uri="{FF2B5EF4-FFF2-40B4-BE49-F238E27FC236}">
                  <a16:creationId xmlns:a16="http://schemas.microsoft.com/office/drawing/2014/main" id="{4B6EA7A9-FA3D-4C7D-8AAA-58778E0298B6}"/>
                </a:ext>
              </a:extLst>
            </p:cNvPr>
            <p:cNvSpPr txBox="1"/>
            <p:nvPr/>
          </p:nvSpPr>
          <p:spPr>
            <a:xfrm>
              <a:off x="655595" y="6181452"/>
              <a:ext cx="1234312" cy="161583"/>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1050"/>
                <a:t>Analytics on demand</a:t>
              </a:r>
            </a:p>
          </p:txBody>
        </p:sp>
        <p:sp>
          <p:nvSpPr>
            <p:cNvPr id="185" name="Rectangle 184">
              <a:extLst>
                <a:ext uri="{FF2B5EF4-FFF2-40B4-BE49-F238E27FC236}">
                  <a16:creationId xmlns:a16="http://schemas.microsoft.com/office/drawing/2014/main" id="{7D33BD85-CD65-4C03-93FB-FC1E737AA149}"/>
                </a:ext>
              </a:extLst>
            </p:cNvPr>
            <p:cNvSpPr/>
            <p:nvPr/>
          </p:nvSpPr>
          <p:spPr>
            <a:xfrm>
              <a:off x="381001" y="6189685"/>
              <a:ext cx="191589" cy="145116"/>
            </a:xfrm>
            <a:prstGeom prst="rect">
              <a:avLst/>
            </a:prstGeom>
            <a:solidFill>
              <a:schemeClr val="accent2"/>
            </a:solidFill>
            <a:ln w="6350">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sp>
        <p:nvSpPr>
          <p:cNvPr id="557" name="RBContent557">
            <a:extLst>
              <a:ext uri="{FF2B5EF4-FFF2-40B4-BE49-F238E27FC236}">
                <a16:creationId xmlns:a16="http://schemas.microsoft.com/office/drawing/2014/main" id="{09F2EAF2-D993-4E42-9133-70DC0883E334}"/>
              </a:ext>
            </a:extLst>
          </p:cNvPr>
          <p:cNvSpPr txBox="1"/>
          <p:nvPr/>
        </p:nvSpPr>
        <p:spPr>
          <a:xfrm>
            <a:off x="6603402" y="2696013"/>
            <a:ext cx="894627" cy="221599"/>
          </a:xfrm>
          <a:prstGeom prst="rect">
            <a:avLst/>
          </a:prstGeom>
          <a:noFill/>
        </p:spPr>
        <p:txBody>
          <a:bodyPr vert="horz" wrap="square" lIns="0" tIns="0" rIns="0" bIns="0" rtlCol="0">
            <a:spAutoFit/>
          </a:bodyPr>
          <a:lstStyle/>
          <a:p>
            <a:pPr algn="ctr" fontAlgn="base">
              <a:lnSpc>
                <a:spcPct val="90000"/>
              </a:lnSpc>
              <a:spcBef>
                <a:spcPts val="400"/>
              </a:spcBef>
              <a:spcAft>
                <a:spcPct val="0"/>
              </a:spcAft>
              <a:buClr>
                <a:srgbClr val="000000"/>
              </a:buClr>
              <a:buSzPct val="100000"/>
            </a:pPr>
            <a:r>
              <a:rPr lang="en-GB" sz="16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urope</a:t>
            </a:r>
          </a:p>
        </p:txBody>
      </p:sp>
      <p:sp>
        <p:nvSpPr>
          <p:cNvPr id="558" name="RBContent557">
            <a:extLst>
              <a:ext uri="{FF2B5EF4-FFF2-40B4-BE49-F238E27FC236}">
                <a16:creationId xmlns:a16="http://schemas.microsoft.com/office/drawing/2014/main" id="{B12F1776-DF1B-4812-8AAF-F13D6CD6670C}"/>
              </a:ext>
            </a:extLst>
          </p:cNvPr>
          <p:cNvSpPr txBox="1"/>
          <p:nvPr/>
        </p:nvSpPr>
        <p:spPr>
          <a:xfrm>
            <a:off x="7259277" y="4887490"/>
            <a:ext cx="894627" cy="443198"/>
          </a:xfrm>
          <a:prstGeom prst="rect">
            <a:avLst/>
          </a:prstGeom>
          <a:noFill/>
        </p:spPr>
        <p:txBody>
          <a:bodyPr vert="horz" wrap="square" lIns="0" tIns="0" rIns="0" bIns="0" rtlCol="0">
            <a:spAutoFit/>
          </a:bodyPr>
          <a:lstStyle/>
          <a:p>
            <a:pPr algn="ctr" fontAlgn="base">
              <a:lnSpc>
                <a:spcPct val="90000"/>
              </a:lnSpc>
              <a:spcBef>
                <a:spcPts val="400"/>
              </a:spcBef>
              <a:spcAft>
                <a:spcPct val="0"/>
              </a:spcAft>
              <a:buClr>
                <a:srgbClr val="000000"/>
              </a:buClr>
              <a:buSzPct val="100000"/>
            </a:pPr>
            <a:r>
              <a:rPr lang="en-GB" sz="16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ia Pacific</a:t>
            </a:r>
          </a:p>
        </p:txBody>
      </p:sp>
      <p:sp>
        <p:nvSpPr>
          <p:cNvPr id="559" name="RBContent557">
            <a:extLst>
              <a:ext uri="{FF2B5EF4-FFF2-40B4-BE49-F238E27FC236}">
                <a16:creationId xmlns:a16="http://schemas.microsoft.com/office/drawing/2014/main" id="{F228FBFA-1F4D-4946-BAED-073D12489F96}"/>
              </a:ext>
            </a:extLst>
          </p:cNvPr>
          <p:cNvSpPr txBox="1"/>
          <p:nvPr/>
        </p:nvSpPr>
        <p:spPr>
          <a:xfrm>
            <a:off x="3733272" y="1188932"/>
            <a:ext cx="894627" cy="443198"/>
          </a:xfrm>
          <a:prstGeom prst="rect">
            <a:avLst/>
          </a:prstGeom>
          <a:noFill/>
        </p:spPr>
        <p:txBody>
          <a:bodyPr vert="horz" wrap="square" lIns="0" tIns="0" rIns="0" bIns="0" rtlCol="0">
            <a:spAutoFit/>
          </a:bodyPr>
          <a:lstStyle/>
          <a:p>
            <a:pPr algn="ctr" fontAlgn="base">
              <a:lnSpc>
                <a:spcPct val="90000"/>
              </a:lnSpc>
              <a:spcBef>
                <a:spcPts val="400"/>
              </a:spcBef>
              <a:spcAft>
                <a:spcPct val="0"/>
              </a:spcAft>
              <a:buClr>
                <a:srgbClr val="000000"/>
              </a:buClr>
              <a:buSzPct val="100000"/>
            </a:pPr>
            <a:r>
              <a:rPr lang="en-GB" sz="16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nited States</a:t>
            </a:r>
          </a:p>
        </p:txBody>
      </p:sp>
      <p:sp>
        <p:nvSpPr>
          <p:cNvPr id="554" name="Freeform 4">
            <a:extLst>
              <a:ext uri="{FF2B5EF4-FFF2-40B4-BE49-F238E27FC236}">
                <a16:creationId xmlns:a16="http://schemas.microsoft.com/office/drawing/2014/main" id="{62550BC7-CCCD-4127-ACB3-895560FD5EC0}"/>
              </a:ext>
            </a:extLst>
          </p:cNvPr>
          <p:cNvSpPr>
            <a:spLocks noChangeAspect="1" noEditPoints="1"/>
          </p:cNvSpPr>
          <p:nvPr/>
        </p:nvSpPr>
        <p:spPr bwMode="auto">
          <a:xfrm>
            <a:off x="3116937" y="1628020"/>
            <a:ext cx="1033113" cy="1010818"/>
          </a:xfrm>
          <a:custGeom>
            <a:avLst/>
            <a:gdLst/>
            <a:ahLst/>
            <a:cxnLst>
              <a:cxn ang="0">
                <a:pos x="342" y="1920"/>
              </a:cxn>
              <a:cxn ang="0">
                <a:pos x="486" y="2094"/>
              </a:cxn>
              <a:cxn ang="0">
                <a:pos x="582" y="2382"/>
              </a:cxn>
              <a:cxn ang="0">
                <a:pos x="720" y="2502"/>
              </a:cxn>
              <a:cxn ang="0">
                <a:pos x="786" y="2538"/>
              </a:cxn>
              <a:cxn ang="0">
                <a:pos x="906" y="2616"/>
              </a:cxn>
              <a:cxn ang="0">
                <a:pos x="1092" y="2442"/>
              </a:cxn>
              <a:cxn ang="0">
                <a:pos x="1218" y="2376"/>
              </a:cxn>
              <a:cxn ang="0">
                <a:pos x="1356" y="2376"/>
              </a:cxn>
              <a:cxn ang="0">
                <a:pos x="1500" y="2388"/>
              </a:cxn>
              <a:cxn ang="0">
                <a:pos x="1554" y="2472"/>
              </a:cxn>
              <a:cxn ang="0">
                <a:pos x="1812" y="2862"/>
              </a:cxn>
              <a:cxn ang="0">
                <a:pos x="1944" y="3084"/>
              </a:cxn>
              <a:cxn ang="0">
                <a:pos x="2052" y="3210"/>
              </a:cxn>
              <a:cxn ang="0">
                <a:pos x="2118" y="3444"/>
              </a:cxn>
              <a:cxn ang="0">
                <a:pos x="2220" y="3612"/>
              </a:cxn>
              <a:cxn ang="0">
                <a:pos x="2334" y="3672"/>
              </a:cxn>
              <a:cxn ang="0">
                <a:pos x="2424" y="3726"/>
              </a:cxn>
              <a:cxn ang="0">
                <a:pos x="2580" y="3750"/>
              </a:cxn>
              <a:cxn ang="0">
                <a:pos x="2628" y="3762"/>
              </a:cxn>
              <a:cxn ang="0">
                <a:pos x="2700" y="3816"/>
              </a:cxn>
              <a:cxn ang="0">
                <a:pos x="2718" y="3642"/>
              </a:cxn>
              <a:cxn ang="0">
                <a:pos x="2664" y="3450"/>
              </a:cxn>
              <a:cxn ang="0">
                <a:pos x="2688" y="3288"/>
              </a:cxn>
              <a:cxn ang="0">
                <a:pos x="2718" y="3132"/>
              </a:cxn>
              <a:cxn ang="0">
                <a:pos x="2916" y="2958"/>
              </a:cxn>
              <a:cxn ang="0">
                <a:pos x="2952" y="2826"/>
              </a:cxn>
              <a:cxn ang="0">
                <a:pos x="3084" y="2868"/>
              </a:cxn>
              <a:cxn ang="0">
                <a:pos x="3432" y="2688"/>
              </a:cxn>
              <a:cxn ang="0">
                <a:pos x="3468" y="2484"/>
              </a:cxn>
              <a:cxn ang="0">
                <a:pos x="3552" y="2538"/>
              </a:cxn>
              <a:cxn ang="0">
                <a:pos x="3816" y="2478"/>
              </a:cxn>
              <a:cxn ang="0">
                <a:pos x="3852" y="2304"/>
              </a:cxn>
              <a:cxn ang="0">
                <a:pos x="3852" y="2226"/>
              </a:cxn>
              <a:cxn ang="0">
                <a:pos x="3888" y="1962"/>
              </a:cxn>
              <a:cxn ang="0">
                <a:pos x="3828" y="1854"/>
              </a:cxn>
              <a:cxn ang="0">
                <a:pos x="3810" y="1752"/>
              </a:cxn>
              <a:cxn ang="0">
                <a:pos x="3726" y="1122"/>
              </a:cxn>
              <a:cxn ang="0">
                <a:pos x="3672" y="1116"/>
              </a:cxn>
              <a:cxn ang="0">
                <a:pos x="3618" y="1098"/>
              </a:cxn>
              <a:cxn ang="0">
                <a:pos x="3588" y="1086"/>
              </a:cxn>
              <a:cxn ang="0">
                <a:pos x="3546" y="1074"/>
              </a:cxn>
              <a:cxn ang="0">
                <a:pos x="3516" y="1056"/>
              </a:cxn>
              <a:cxn ang="0">
                <a:pos x="3444" y="1002"/>
              </a:cxn>
              <a:cxn ang="0">
                <a:pos x="3342" y="1020"/>
              </a:cxn>
              <a:cxn ang="0">
                <a:pos x="3240" y="1026"/>
              </a:cxn>
              <a:cxn ang="0">
                <a:pos x="3054" y="1062"/>
              </a:cxn>
              <a:cxn ang="0">
                <a:pos x="2910" y="1008"/>
              </a:cxn>
              <a:cxn ang="0">
                <a:pos x="2832" y="1062"/>
              </a:cxn>
              <a:cxn ang="0">
                <a:pos x="2778" y="1014"/>
              </a:cxn>
              <a:cxn ang="0">
                <a:pos x="2604" y="990"/>
              </a:cxn>
              <a:cxn ang="0">
                <a:pos x="2556" y="930"/>
              </a:cxn>
              <a:cxn ang="0">
                <a:pos x="2400" y="894"/>
              </a:cxn>
              <a:cxn ang="0">
                <a:pos x="2184" y="810"/>
              </a:cxn>
              <a:cxn ang="0">
                <a:pos x="2022" y="738"/>
              </a:cxn>
              <a:cxn ang="0">
                <a:pos x="1224" y="6"/>
              </a:cxn>
              <a:cxn ang="0">
                <a:pos x="1068" y="1566"/>
              </a:cxn>
              <a:cxn ang="0">
                <a:pos x="6" y="1482"/>
              </a:cxn>
              <a:cxn ang="0">
                <a:pos x="138" y="1698"/>
              </a:cxn>
              <a:cxn ang="0">
                <a:pos x="2802" y="3132"/>
              </a:cxn>
              <a:cxn ang="0">
                <a:pos x="2982" y="2964"/>
              </a:cxn>
              <a:cxn ang="0">
                <a:pos x="2730" y="3480"/>
              </a:cxn>
              <a:cxn ang="0">
                <a:pos x="2712" y="3420"/>
              </a:cxn>
            </a:cxnLst>
            <a:rect l="0" t="0" r="r" b="b"/>
            <a:pathLst>
              <a:path w="3906" h="3822">
                <a:moveTo>
                  <a:pt x="198" y="1740"/>
                </a:moveTo>
                <a:lnTo>
                  <a:pt x="204" y="1746"/>
                </a:lnTo>
                <a:lnTo>
                  <a:pt x="210" y="1752"/>
                </a:lnTo>
                <a:lnTo>
                  <a:pt x="216" y="1758"/>
                </a:lnTo>
                <a:lnTo>
                  <a:pt x="228" y="1776"/>
                </a:lnTo>
                <a:lnTo>
                  <a:pt x="246" y="1794"/>
                </a:lnTo>
                <a:lnTo>
                  <a:pt x="276" y="1824"/>
                </a:lnTo>
                <a:lnTo>
                  <a:pt x="282" y="1836"/>
                </a:lnTo>
                <a:lnTo>
                  <a:pt x="282" y="1842"/>
                </a:lnTo>
                <a:lnTo>
                  <a:pt x="294" y="1860"/>
                </a:lnTo>
                <a:lnTo>
                  <a:pt x="294" y="1866"/>
                </a:lnTo>
                <a:lnTo>
                  <a:pt x="300" y="1872"/>
                </a:lnTo>
                <a:lnTo>
                  <a:pt x="312" y="1878"/>
                </a:lnTo>
                <a:lnTo>
                  <a:pt x="324" y="1890"/>
                </a:lnTo>
                <a:lnTo>
                  <a:pt x="330" y="1890"/>
                </a:lnTo>
                <a:lnTo>
                  <a:pt x="336" y="1902"/>
                </a:lnTo>
                <a:lnTo>
                  <a:pt x="336" y="1908"/>
                </a:lnTo>
                <a:lnTo>
                  <a:pt x="342" y="1908"/>
                </a:lnTo>
                <a:lnTo>
                  <a:pt x="342" y="1914"/>
                </a:lnTo>
                <a:lnTo>
                  <a:pt x="336" y="1914"/>
                </a:lnTo>
                <a:lnTo>
                  <a:pt x="348" y="1914"/>
                </a:lnTo>
                <a:lnTo>
                  <a:pt x="342" y="1914"/>
                </a:lnTo>
                <a:lnTo>
                  <a:pt x="342" y="1920"/>
                </a:lnTo>
                <a:lnTo>
                  <a:pt x="348" y="1920"/>
                </a:lnTo>
                <a:lnTo>
                  <a:pt x="354" y="1920"/>
                </a:lnTo>
                <a:lnTo>
                  <a:pt x="360" y="1932"/>
                </a:lnTo>
                <a:lnTo>
                  <a:pt x="366" y="1932"/>
                </a:lnTo>
                <a:lnTo>
                  <a:pt x="372" y="1926"/>
                </a:lnTo>
                <a:lnTo>
                  <a:pt x="378" y="1938"/>
                </a:lnTo>
                <a:lnTo>
                  <a:pt x="384" y="1938"/>
                </a:lnTo>
                <a:lnTo>
                  <a:pt x="390" y="1938"/>
                </a:lnTo>
                <a:lnTo>
                  <a:pt x="396" y="1938"/>
                </a:lnTo>
                <a:lnTo>
                  <a:pt x="390" y="1938"/>
                </a:lnTo>
                <a:lnTo>
                  <a:pt x="390" y="1944"/>
                </a:lnTo>
                <a:lnTo>
                  <a:pt x="396" y="1944"/>
                </a:lnTo>
                <a:lnTo>
                  <a:pt x="402" y="1944"/>
                </a:lnTo>
                <a:lnTo>
                  <a:pt x="402" y="1950"/>
                </a:lnTo>
                <a:lnTo>
                  <a:pt x="414" y="1956"/>
                </a:lnTo>
                <a:lnTo>
                  <a:pt x="414" y="1968"/>
                </a:lnTo>
                <a:lnTo>
                  <a:pt x="426" y="1974"/>
                </a:lnTo>
                <a:lnTo>
                  <a:pt x="456" y="1998"/>
                </a:lnTo>
                <a:lnTo>
                  <a:pt x="468" y="2016"/>
                </a:lnTo>
                <a:lnTo>
                  <a:pt x="480" y="2028"/>
                </a:lnTo>
                <a:lnTo>
                  <a:pt x="480" y="2046"/>
                </a:lnTo>
                <a:lnTo>
                  <a:pt x="480" y="2064"/>
                </a:lnTo>
                <a:lnTo>
                  <a:pt x="486" y="2094"/>
                </a:lnTo>
                <a:lnTo>
                  <a:pt x="528" y="2154"/>
                </a:lnTo>
                <a:lnTo>
                  <a:pt x="522" y="2226"/>
                </a:lnTo>
                <a:lnTo>
                  <a:pt x="522" y="2238"/>
                </a:lnTo>
                <a:lnTo>
                  <a:pt x="528" y="2250"/>
                </a:lnTo>
                <a:lnTo>
                  <a:pt x="534" y="2274"/>
                </a:lnTo>
                <a:lnTo>
                  <a:pt x="540" y="2292"/>
                </a:lnTo>
                <a:lnTo>
                  <a:pt x="552" y="2310"/>
                </a:lnTo>
                <a:lnTo>
                  <a:pt x="552" y="2328"/>
                </a:lnTo>
                <a:lnTo>
                  <a:pt x="558" y="2328"/>
                </a:lnTo>
                <a:lnTo>
                  <a:pt x="558" y="2334"/>
                </a:lnTo>
                <a:lnTo>
                  <a:pt x="558" y="2346"/>
                </a:lnTo>
                <a:lnTo>
                  <a:pt x="558" y="2352"/>
                </a:lnTo>
                <a:lnTo>
                  <a:pt x="558" y="2358"/>
                </a:lnTo>
                <a:lnTo>
                  <a:pt x="564" y="2352"/>
                </a:lnTo>
                <a:lnTo>
                  <a:pt x="564" y="2358"/>
                </a:lnTo>
                <a:lnTo>
                  <a:pt x="564" y="2364"/>
                </a:lnTo>
                <a:lnTo>
                  <a:pt x="570" y="2364"/>
                </a:lnTo>
                <a:lnTo>
                  <a:pt x="564" y="2364"/>
                </a:lnTo>
                <a:lnTo>
                  <a:pt x="570" y="2364"/>
                </a:lnTo>
                <a:lnTo>
                  <a:pt x="570" y="2370"/>
                </a:lnTo>
                <a:lnTo>
                  <a:pt x="576" y="2376"/>
                </a:lnTo>
                <a:lnTo>
                  <a:pt x="576" y="2382"/>
                </a:lnTo>
                <a:lnTo>
                  <a:pt x="582" y="2382"/>
                </a:lnTo>
                <a:lnTo>
                  <a:pt x="588" y="2388"/>
                </a:lnTo>
                <a:lnTo>
                  <a:pt x="600" y="2394"/>
                </a:lnTo>
                <a:lnTo>
                  <a:pt x="594" y="2400"/>
                </a:lnTo>
                <a:lnTo>
                  <a:pt x="600" y="2400"/>
                </a:lnTo>
                <a:lnTo>
                  <a:pt x="606" y="2400"/>
                </a:lnTo>
                <a:lnTo>
                  <a:pt x="606" y="2406"/>
                </a:lnTo>
                <a:lnTo>
                  <a:pt x="618" y="2418"/>
                </a:lnTo>
                <a:lnTo>
                  <a:pt x="636" y="2424"/>
                </a:lnTo>
                <a:lnTo>
                  <a:pt x="642" y="2430"/>
                </a:lnTo>
                <a:lnTo>
                  <a:pt x="660" y="2442"/>
                </a:lnTo>
                <a:lnTo>
                  <a:pt x="660" y="2454"/>
                </a:lnTo>
                <a:lnTo>
                  <a:pt x="666" y="2460"/>
                </a:lnTo>
                <a:lnTo>
                  <a:pt x="672" y="2466"/>
                </a:lnTo>
                <a:lnTo>
                  <a:pt x="678" y="2466"/>
                </a:lnTo>
                <a:lnTo>
                  <a:pt x="678" y="2472"/>
                </a:lnTo>
                <a:lnTo>
                  <a:pt x="684" y="2472"/>
                </a:lnTo>
                <a:lnTo>
                  <a:pt x="684" y="2478"/>
                </a:lnTo>
                <a:lnTo>
                  <a:pt x="690" y="2478"/>
                </a:lnTo>
                <a:lnTo>
                  <a:pt x="690" y="2484"/>
                </a:lnTo>
                <a:lnTo>
                  <a:pt x="696" y="2484"/>
                </a:lnTo>
                <a:lnTo>
                  <a:pt x="714" y="2496"/>
                </a:lnTo>
                <a:lnTo>
                  <a:pt x="720" y="2496"/>
                </a:lnTo>
                <a:lnTo>
                  <a:pt x="720" y="2502"/>
                </a:lnTo>
                <a:lnTo>
                  <a:pt x="732" y="2502"/>
                </a:lnTo>
                <a:lnTo>
                  <a:pt x="738" y="2508"/>
                </a:lnTo>
                <a:lnTo>
                  <a:pt x="744" y="2508"/>
                </a:lnTo>
                <a:lnTo>
                  <a:pt x="750" y="2508"/>
                </a:lnTo>
                <a:lnTo>
                  <a:pt x="744" y="2508"/>
                </a:lnTo>
                <a:lnTo>
                  <a:pt x="750" y="2508"/>
                </a:lnTo>
                <a:lnTo>
                  <a:pt x="756" y="2508"/>
                </a:lnTo>
                <a:lnTo>
                  <a:pt x="762" y="2508"/>
                </a:lnTo>
                <a:lnTo>
                  <a:pt x="762" y="2514"/>
                </a:lnTo>
                <a:lnTo>
                  <a:pt x="768" y="2520"/>
                </a:lnTo>
                <a:lnTo>
                  <a:pt x="774" y="2520"/>
                </a:lnTo>
                <a:lnTo>
                  <a:pt x="774" y="2514"/>
                </a:lnTo>
                <a:lnTo>
                  <a:pt x="780" y="2514"/>
                </a:lnTo>
                <a:lnTo>
                  <a:pt x="780" y="2520"/>
                </a:lnTo>
                <a:lnTo>
                  <a:pt x="780" y="2526"/>
                </a:lnTo>
                <a:lnTo>
                  <a:pt x="774" y="2532"/>
                </a:lnTo>
                <a:lnTo>
                  <a:pt x="780" y="2526"/>
                </a:lnTo>
                <a:lnTo>
                  <a:pt x="786" y="2526"/>
                </a:lnTo>
                <a:lnTo>
                  <a:pt x="786" y="2532"/>
                </a:lnTo>
                <a:lnTo>
                  <a:pt x="792" y="2532"/>
                </a:lnTo>
                <a:lnTo>
                  <a:pt x="786" y="2532"/>
                </a:lnTo>
                <a:lnTo>
                  <a:pt x="780" y="2532"/>
                </a:lnTo>
                <a:lnTo>
                  <a:pt x="786" y="2538"/>
                </a:lnTo>
                <a:lnTo>
                  <a:pt x="792" y="2538"/>
                </a:lnTo>
                <a:lnTo>
                  <a:pt x="792" y="2544"/>
                </a:lnTo>
                <a:lnTo>
                  <a:pt x="798" y="2550"/>
                </a:lnTo>
                <a:lnTo>
                  <a:pt x="798" y="2544"/>
                </a:lnTo>
                <a:lnTo>
                  <a:pt x="798" y="2550"/>
                </a:lnTo>
                <a:lnTo>
                  <a:pt x="810" y="2556"/>
                </a:lnTo>
                <a:lnTo>
                  <a:pt x="828" y="2562"/>
                </a:lnTo>
                <a:lnTo>
                  <a:pt x="846" y="2574"/>
                </a:lnTo>
                <a:lnTo>
                  <a:pt x="864" y="2586"/>
                </a:lnTo>
                <a:lnTo>
                  <a:pt x="870" y="2586"/>
                </a:lnTo>
                <a:lnTo>
                  <a:pt x="870" y="2592"/>
                </a:lnTo>
                <a:lnTo>
                  <a:pt x="876" y="2598"/>
                </a:lnTo>
                <a:lnTo>
                  <a:pt x="882" y="2604"/>
                </a:lnTo>
                <a:lnTo>
                  <a:pt x="882" y="2610"/>
                </a:lnTo>
                <a:lnTo>
                  <a:pt x="900" y="2616"/>
                </a:lnTo>
                <a:lnTo>
                  <a:pt x="906" y="2610"/>
                </a:lnTo>
                <a:lnTo>
                  <a:pt x="906" y="2604"/>
                </a:lnTo>
                <a:lnTo>
                  <a:pt x="912" y="2604"/>
                </a:lnTo>
                <a:lnTo>
                  <a:pt x="912" y="2610"/>
                </a:lnTo>
                <a:lnTo>
                  <a:pt x="906" y="2610"/>
                </a:lnTo>
                <a:lnTo>
                  <a:pt x="900" y="2610"/>
                </a:lnTo>
                <a:lnTo>
                  <a:pt x="900" y="2616"/>
                </a:lnTo>
                <a:lnTo>
                  <a:pt x="906" y="2616"/>
                </a:lnTo>
                <a:lnTo>
                  <a:pt x="912" y="2616"/>
                </a:lnTo>
                <a:lnTo>
                  <a:pt x="912" y="2610"/>
                </a:lnTo>
                <a:lnTo>
                  <a:pt x="918" y="2610"/>
                </a:lnTo>
                <a:lnTo>
                  <a:pt x="930" y="2622"/>
                </a:lnTo>
                <a:lnTo>
                  <a:pt x="942" y="2628"/>
                </a:lnTo>
                <a:lnTo>
                  <a:pt x="954" y="2634"/>
                </a:lnTo>
                <a:lnTo>
                  <a:pt x="960" y="2634"/>
                </a:lnTo>
                <a:lnTo>
                  <a:pt x="966" y="2634"/>
                </a:lnTo>
                <a:lnTo>
                  <a:pt x="972" y="2628"/>
                </a:lnTo>
                <a:lnTo>
                  <a:pt x="972" y="2622"/>
                </a:lnTo>
                <a:lnTo>
                  <a:pt x="972" y="2610"/>
                </a:lnTo>
                <a:lnTo>
                  <a:pt x="978" y="2604"/>
                </a:lnTo>
                <a:lnTo>
                  <a:pt x="996" y="2586"/>
                </a:lnTo>
                <a:lnTo>
                  <a:pt x="1014" y="2574"/>
                </a:lnTo>
                <a:lnTo>
                  <a:pt x="1056" y="2550"/>
                </a:lnTo>
                <a:lnTo>
                  <a:pt x="1050" y="2544"/>
                </a:lnTo>
                <a:lnTo>
                  <a:pt x="1050" y="2532"/>
                </a:lnTo>
                <a:lnTo>
                  <a:pt x="1056" y="2508"/>
                </a:lnTo>
                <a:lnTo>
                  <a:pt x="1068" y="2484"/>
                </a:lnTo>
                <a:lnTo>
                  <a:pt x="1074" y="2478"/>
                </a:lnTo>
                <a:lnTo>
                  <a:pt x="1080" y="2466"/>
                </a:lnTo>
                <a:lnTo>
                  <a:pt x="1080" y="2448"/>
                </a:lnTo>
                <a:lnTo>
                  <a:pt x="1092" y="2442"/>
                </a:lnTo>
                <a:lnTo>
                  <a:pt x="1092" y="2430"/>
                </a:lnTo>
                <a:lnTo>
                  <a:pt x="1098" y="2424"/>
                </a:lnTo>
                <a:lnTo>
                  <a:pt x="1104" y="2424"/>
                </a:lnTo>
                <a:lnTo>
                  <a:pt x="1104" y="2412"/>
                </a:lnTo>
                <a:lnTo>
                  <a:pt x="1116" y="2406"/>
                </a:lnTo>
                <a:lnTo>
                  <a:pt x="1128" y="2394"/>
                </a:lnTo>
                <a:lnTo>
                  <a:pt x="1128" y="2382"/>
                </a:lnTo>
                <a:lnTo>
                  <a:pt x="1128" y="2376"/>
                </a:lnTo>
                <a:lnTo>
                  <a:pt x="1134" y="2382"/>
                </a:lnTo>
                <a:lnTo>
                  <a:pt x="1146" y="2382"/>
                </a:lnTo>
                <a:lnTo>
                  <a:pt x="1152" y="2376"/>
                </a:lnTo>
                <a:lnTo>
                  <a:pt x="1158" y="2370"/>
                </a:lnTo>
                <a:lnTo>
                  <a:pt x="1164" y="2370"/>
                </a:lnTo>
                <a:lnTo>
                  <a:pt x="1170" y="2370"/>
                </a:lnTo>
                <a:lnTo>
                  <a:pt x="1182" y="2370"/>
                </a:lnTo>
                <a:lnTo>
                  <a:pt x="1188" y="2364"/>
                </a:lnTo>
                <a:lnTo>
                  <a:pt x="1194" y="2364"/>
                </a:lnTo>
                <a:lnTo>
                  <a:pt x="1194" y="2370"/>
                </a:lnTo>
                <a:lnTo>
                  <a:pt x="1200" y="2370"/>
                </a:lnTo>
                <a:lnTo>
                  <a:pt x="1206" y="2376"/>
                </a:lnTo>
                <a:lnTo>
                  <a:pt x="1212" y="2376"/>
                </a:lnTo>
                <a:lnTo>
                  <a:pt x="1212" y="2370"/>
                </a:lnTo>
                <a:lnTo>
                  <a:pt x="1218" y="2376"/>
                </a:lnTo>
                <a:lnTo>
                  <a:pt x="1212" y="2376"/>
                </a:lnTo>
                <a:lnTo>
                  <a:pt x="1218" y="2382"/>
                </a:lnTo>
                <a:lnTo>
                  <a:pt x="1218" y="2376"/>
                </a:lnTo>
                <a:lnTo>
                  <a:pt x="1218" y="2358"/>
                </a:lnTo>
                <a:lnTo>
                  <a:pt x="1224" y="2346"/>
                </a:lnTo>
                <a:lnTo>
                  <a:pt x="1236" y="2334"/>
                </a:lnTo>
                <a:lnTo>
                  <a:pt x="1242" y="2340"/>
                </a:lnTo>
                <a:lnTo>
                  <a:pt x="1254" y="2346"/>
                </a:lnTo>
                <a:lnTo>
                  <a:pt x="1254" y="2352"/>
                </a:lnTo>
                <a:lnTo>
                  <a:pt x="1260" y="2346"/>
                </a:lnTo>
                <a:lnTo>
                  <a:pt x="1260" y="2340"/>
                </a:lnTo>
                <a:lnTo>
                  <a:pt x="1260" y="2346"/>
                </a:lnTo>
                <a:lnTo>
                  <a:pt x="1266" y="2346"/>
                </a:lnTo>
                <a:lnTo>
                  <a:pt x="1266" y="2352"/>
                </a:lnTo>
                <a:lnTo>
                  <a:pt x="1272" y="2352"/>
                </a:lnTo>
                <a:lnTo>
                  <a:pt x="1278" y="2352"/>
                </a:lnTo>
                <a:lnTo>
                  <a:pt x="1290" y="2370"/>
                </a:lnTo>
                <a:lnTo>
                  <a:pt x="1296" y="2376"/>
                </a:lnTo>
                <a:lnTo>
                  <a:pt x="1302" y="2376"/>
                </a:lnTo>
                <a:lnTo>
                  <a:pt x="1320" y="2370"/>
                </a:lnTo>
                <a:lnTo>
                  <a:pt x="1338" y="2370"/>
                </a:lnTo>
                <a:lnTo>
                  <a:pt x="1344" y="2370"/>
                </a:lnTo>
                <a:lnTo>
                  <a:pt x="1356" y="2376"/>
                </a:lnTo>
                <a:lnTo>
                  <a:pt x="1362" y="2382"/>
                </a:lnTo>
                <a:lnTo>
                  <a:pt x="1368" y="2376"/>
                </a:lnTo>
                <a:lnTo>
                  <a:pt x="1374" y="2370"/>
                </a:lnTo>
                <a:lnTo>
                  <a:pt x="1380" y="2376"/>
                </a:lnTo>
                <a:lnTo>
                  <a:pt x="1386" y="2370"/>
                </a:lnTo>
                <a:lnTo>
                  <a:pt x="1392" y="2370"/>
                </a:lnTo>
                <a:lnTo>
                  <a:pt x="1398" y="2376"/>
                </a:lnTo>
                <a:lnTo>
                  <a:pt x="1416" y="2382"/>
                </a:lnTo>
                <a:lnTo>
                  <a:pt x="1428" y="2388"/>
                </a:lnTo>
                <a:lnTo>
                  <a:pt x="1440" y="2394"/>
                </a:lnTo>
                <a:lnTo>
                  <a:pt x="1446" y="2400"/>
                </a:lnTo>
                <a:lnTo>
                  <a:pt x="1452" y="2394"/>
                </a:lnTo>
                <a:lnTo>
                  <a:pt x="1464" y="2388"/>
                </a:lnTo>
                <a:lnTo>
                  <a:pt x="1464" y="2382"/>
                </a:lnTo>
                <a:lnTo>
                  <a:pt x="1464" y="2376"/>
                </a:lnTo>
                <a:lnTo>
                  <a:pt x="1470" y="2376"/>
                </a:lnTo>
                <a:lnTo>
                  <a:pt x="1476" y="2382"/>
                </a:lnTo>
                <a:lnTo>
                  <a:pt x="1470" y="2394"/>
                </a:lnTo>
                <a:lnTo>
                  <a:pt x="1482" y="2394"/>
                </a:lnTo>
                <a:lnTo>
                  <a:pt x="1482" y="2388"/>
                </a:lnTo>
                <a:lnTo>
                  <a:pt x="1488" y="2388"/>
                </a:lnTo>
                <a:lnTo>
                  <a:pt x="1494" y="2388"/>
                </a:lnTo>
                <a:lnTo>
                  <a:pt x="1500" y="2388"/>
                </a:lnTo>
                <a:lnTo>
                  <a:pt x="1500" y="2400"/>
                </a:lnTo>
                <a:lnTo>
                  <a:pt x="1512" y="2394"/>
                </a:lnTo>
                <a:lnTo>
                  <a:pt x="1512" y="2406"/>
                </a:lnTo>
                <a:lnTo>
                  <a:pt x="1518" y="2406"/>
                </a:lnTo>
                <a:lnTo>
                  <a:pt x="1512" y="2412"/>
                </a:lnTo>
                <a:lnTo>
                  <a:pt x="1524" y="2418"/>
                </a:lnTo>
                <a:lnTo>
                  <a:pt x="1524" y="2430"/>
                </a:lnTo>
                <a:lnTo>
                  <a:pt x="1524" y="2436"/>
                </a:lnTo>
                <a:lnTo>
                  <a:pt x="1530" y="2436"/>
                </a:lnTo>
                <a:lnTo>
                  <a:pt x="1536" y="2436"/>
                </a:lnTo>
                <a:lnTo>
                  <a:pt x="1542" y="2436"/>
                </a:lnTo>
                <a:lnTo>
                  <a:pt x="1542" y="2448"/>
                </a:lnTo>
                <a:lnTo>
                  <a:pt x="1536" y="2448"/>
                </a:lnTo>
                <a:lnTo>
                  <a:pt x="1536" y="2460"/>
                </a:lnTo>
                <a:lnTo>
                  <a:pt x="1542" y="2466"/>
                </a:lnTo>
                <a:lnTo>
                  <a:pt x="1548" y="2460"/>
                </a:lnTo>
                <a:lnTo>
                  <a:pt x="1548" y="2448"/>
                </a:lnTo>
                <a:lnTo>
                  <a:pt x="1554" y="2448"/>
                </a:lnTo>
                <a:lnTo>
                  <a:pt x="1560" y="2448"/>
                </a:lnTo>
                <a:lnTo>
                  <a:pt x="1560" y="2454"/>
                </a:lnTo>
                <a:lnTo>
                  <a:pt x="1554" y="2454"/>
                </a:lnTo>
                <a:lnTo>
                  <a:pt x="1560" y="2466"/>
                </a:lnTo>
                <a:lnTo>
                  <a:pt x="1554" y="2472"/>
                </a:lnTo>
                <a:lnTo>
                  <a:pt x="1554" y="2478"/>
                </a:lnTo>
                <a:lnTo>
                  <a:pt x="1560" y="2484"/>
                </a:lnTo>
                <a:lnTo>
                  <a:pt x="1572" y="2490"/>
                </a:lnTo>
                <a:lnTo>
                  <a:pt x="1614" y="2508"/>
                </a:lnTo>
                <a:lnTo>
                  <a:pt x="1632" y="2532"/>
                </a:lnTo>
                <a:lnTo>
                  <a:pt x="1668" y="2580"/>
                </a:lnTo>
                <a:lnTo>
                  <a:pt x="1728" y="2646"/>
                </a:lnTo>
                <a:lnTo>
                  <a:pt x="1728" y="2700"/>
                </a:lnTo>
                <a:lnTo>
                  <a:pt x="1740" y="2724"/>
                </a:lnTo>
                <a:lnTo>
                  <a:pt x="1764" y="2748"/>
                </a:lnTo>
                <a:lnTo>
                  <a:pt x="1764" y="2754"/>
                </a:lnTo>
                <a:lnTo>
                  <a:pt x="1758" y="2754"/>
                </a:lnTo>
                <a:lnTo>
                  <a:pt x="1758" y="2760"/>
                </a:lnTo>
                <a:lnTo>
                  <a:pt x="1758" y="2766"/>
                </a:lnTo>
                <a:lnTo>
                  <a:pt x="1764" y="2766"/>
                </a:lnTo>
                <a:lnTo>
                  <a:pt x="1770" y="2766"/>
                </a:lnTo>
                <a:lnTo>
                  <a:pt x="1770" y="2778"/>
                </a:lnTo>
                <a:lnTo>
                  <a:pt x="1764" y="2778"/>
                </a:lnTo>
                <a:lnTo>
                  <a:pt x="1770" y="2784"/>
                </a:lnTo>
                <a:lnTo>
                  <a:pt x="1770" y="2796"/>
                </a:lnTo>
                <a:lnTo>
                  <a:pt x="1794" y="2832"/>
                </a:lnTo>
                <a:lnTo>
                  <a:pt x="1806" y="2856"/>
                </a:lnTo>
                <a:lnTo>
                  <a:pt x="1812" y="2862"/>
                </a:lnTo>
                <a:lnTo>
                  <a:pt x="1806" y="2862"/>
                </a:lnTo>
                <a:lnTo>
                  <a:pt x="1812" y="2874"/>
                </a:lnTo>
                <a:lnTo>
                  <a:pt x="1818" y="2874"/>
                </a:lnTo>
                <a:lnTo>
                  <a:pt x="1818" y="2880"/>
                </a:lnTo>
                <a:lnTo>
                  <a:pt x="1812" y="2886"/>
                </a:lnTo>
                <a:lnTo>
                  <a:pt x="1806" y="2892"/>
                </a:lnTo>
                <a:lnTo>
                  <a:pt x="1812" y="2898"/>
                </a:lnTo>
                <a:lnTo>
                  <a:pt x="1824" y="2916"/>
                </a:lnTo>
                <a:lnTo>
                  <a:pt x="1824" y="2928"/>
                </a:lnTo>
                <a:lnTo>
                  <a:pt x="1830" y="2940"/>
                </a:lnTo>
                <a:lnTo>
                  <a:pt x="1836" y="2952"/>
                </a:lnTo>
                <a:lnTo>
                  <a:pt x="1842" y="2958"/>
                </a:lnTo>
                <a:lnTo>
                  <a:pt x="1854" y="2970"/>
                </a:lnTo>
                <a:lnTo>
                  <a:pt x="1872" y="2976"/>
                </a:lnTo>
                <a:lnTo>
                  <a:pt x="1890" y="2982"/>
                </a:lnTo>
                <a:lnTo>
                  <a:pt x="1896" y="3006"/>
                </a:lnTo>
                <a:lnTo>
                  <a:pt x="1902" y="3012"/>
                </a:lnTo>
                <a:lnTo>
                  <a:pt x="1908" y="3012"/>
                </a:lnTo>
                <a:lnTo>
                  <a:pt x="1908" y="3024"/>
                </a:lnTo>
                <a:lnTo>
                  <a:pt x="1914" y="3036"/>
                </a:lnTo>
                <a:lnTo>
                  <a:pt x="1932" y="3042"/>
                </a:lnTo>
                <a:lnTo>
                  <a:pt x="1932" y="3060"/>
                </a:lnTo>
                <a:lnTo>
                  <a:pt x="1944" y="3084"/>
                </a:lnTo>
                <a:lnTo>
                  <a:pt x="1956" y="3102"/>
                </a:lnTo>
                <a:lnTo>
                  <a:pt x="1968" y="3120"/>
                </a:lnTo>
                <a:lnTo>
                  <a:pt x="1968" y="3132"/>
                </a:lnTo>
                <a:lnTo>
                  <a:pt x="1974" y="3138"/>
                </a:lnTo>
                <a:lnTo>
                  <a:pt x="1986" y="3138"/>
                </a:lnTo>
                <a:lnTo>
                  <a:pt x="1986" y="3150"/>
                </a:lnTo>
                <a:lnTo>
                  <a:pt x="1992" y="3156"/>
                </a:lnTo>
                <a:lnTo>
                  <a:pt x="2004" y="3162"/>
                </a:lnTo>
                <a:lnTo>
                  <a:pt x="2004" y="3156"/>
                </a:lnTo>
                <a:lnTo>
                  <a:pt x="2010" y="3156"/>
                </a:lnTo>
                <a:lnTo>
                  <a:pt x="2016" y="3162"/>
                </a:lnTo>
                <a:lnTo>
                  <a:pt x="2010" y="3168"/>
                </a:lnTo>
                <a:lnTo>
                  <a:pt x="2010" y="3174"/>
                </a:lnTo>
                <a:lnTo>
                  <a:pt x="2016" y="3174"/>
                </a:lnTo>
                <a:lnTo>
                  <a:pt x="2022" y="3174"/>
                </a:lnTo>
                <a:lnTo>
                  <a:pt x="2022" y="3168"/>
                </a:lnTo>
                <a:lnTo>
                  <a:pt x="2028" y="3168"/>
                </a:lnTo>
                <a:lnTo>
                  <a:pt x="2034" y="3174"/>
                </a:lnTo>
                <a:lnTo>
                  <a:pt x="2040" y="3180"/>
                </a:lnTo>
                <a:lnTo>
                  <a:pt x="2052" y="3180"/>
                </a:lnTo>
                <a:lnTo>
                  <a:pt x="2058" y="3198"/>
                </a:lnTo>
                <a:lnTo>
                  <a:pt x="2058" y="3204"/>
                </a:lnTo>
                <a:lnTo>
                  <a:pt x="2052" y="3210"/>
                </a:lnTo>
                <a:lnTo>
                  <a:pt x="2052" y="3222"/>
                </a:lnTo>
                <a:lnTo>
                  <a:pt x="2058" y="3216"/>
                </a:lnTo>
                <a:lnTo>
                  <a:pt x="2064" y="3222"/>
                </a:lnTo>
                <a:lnTo>
                  <a:pt x="2070" y="3222"/>
                </a:lnTo>
                <a:lnTo>
                  <a:pt x="2070" y="3234"/>
                </a:lnTo>
                <a:lnTo>
                  <a:pt x="2070" y="3246"/>
                </a:lnTo>
                <a:lnTo>
                  <a:pt x="2070" y="3258"/>
                </a:lnTo>
                <a:lnTo>
                  <a:pt x="2064" y="3264"/>
                </a:lnTo>
                <a:lnTo>
                  <a:pt x="2052" y="3276"/>
                </a:lnTo>
                <a:lnTo>
                  <a:pt x="2046" y="3282"/>
                </a:lnTo>
                <a:lnTo>
                  <a:pt x="2046" y="3288"/>
                </a:lnTo>
                <a:lnTo>
                  <a:pt x="2052" y="3288"/>
                </a:lnTo>
                <a:lnTo>
                  <a:pt x="2076" y="3300"/>
                </a:lnTo>
                <a:lnTo>
                  <a:pt x="2082" y="3306"/>
                </a:lnTo>
                <a:lnTo>
                  <a:pt x="2082" y="3318"/>
                </a:lnTo>
                <a:lnTo>
                  <a:pt x="2082" y="3330"/>
                </a:lnTo>
                <a:lnTo>
                  <a:pt x="2082" y="3336"/>
                </a:lnTo>
                <a:lnTo>
                  <a:pt x="2070" y="3360"/>
                </a:lnTo>
                <a:lnTo>
                  <a:pt x="2070" y="3378"/>
                </a:lnTo>
                <a:lnTo>
                  <a:pt x="2070" y="3384"/>
                </a:lnTo>
                <a:lnTo>
                  <a:pt x="2082" y="3402"/>
                </a:lnTo>
                <a:lnTo>
                  <a:pt x="2100" y="3420"/>
                </a:lnTo>
                <a:lnTo>
                  <a:pt x="2118" y="3444"/>
                </a:lnTo>
                <a:lnTo>
                  <a:pt x="2118" y="3450"/>
                </a:lnTo>
                <a:lnTo>
                  <a:pt x="2124" y="3462"/>
                </a:lnTo>
                <a:lnTo>
                  <a:pt x="2130" y="3462"/>
                </a:lnTo>
                <a:lnTo>
                  <a:pt x="2130" y="3468"/>
                </a:lnTo>
                <a:lnTo>
                  <a:pt x="2130" y="3486"/>
                </a:lnTo>
                <a:lnTo>
                  <a:pt x="2142" y="3492"/>
                </a:lnTo>
                <a:lnTo>
                  <a:pt x="2142" y="3510"/>
                </a:lnTo>
                <a:lnTo>
                  <a:pt x="2148" y="3528"/>
                </a:lnTo>
                <a:lnTo>
                  <a:pt x="2148" y="3540"/>
                </a:lnTo>
                <a:lnTo>
                  <a:pt x="2154" y="3558"/>
                </a:lnTo>
                <a:lnTo>
                  <a:pt x="2166" y="3564"/>
                </a:lnTo>
                <a:lnTo>
                  <a:pt x="2166" y="3570"/>
                </a:lnTo>
                <a:lnTo>
                  <a:pt x="2166" y="3576"/>
                </a:lnTo>
                <a:lnTo>
                  <a:pt x="2172" y="3576"/>
                </a:lnTo>
                <a:lnTo>
                  <a:pt x="2178" y="3582"/>
                </a:lnTo>
                <a:lnTo>
                  <a:pt x="2172" y="3588"/>
                </a:lnTo>
                <a:lnTo>
                  <a:pt x="2172" y="3594"/>
                </a:lnTo>
                <a:lnTo>
                  <a:pt x="2166" y="3594"/>
                </a:lnTo>
                <a:lnTo>
                  <a:pt x="2166" y="3600"/>
                </a:lnTo>
                <a:lnTo>
                  <a:pt x="2172" y="3606"/>
                </a:lnTo>
                <a:lnTo>
                  <a:pt x="2190" y="3612"/>
                </a:lnTo>
                <a:lnTo>
                  <a:pt x="2208" y="3612"/>
                </a:lnTo>
                <a:lnTo>
                  <a:pt x="2220" y="3612"/>
                </a:lnTo>
                <a:lnTo>
                  <a:pt x="2232" y="3618"/>
                </a:lnTo>
                <a:lnTo>
                  <a:pt x="2250" y="3624"/>
                </a:lnTo>
                <a:lnTo>
                  <a:pt x="2268" y="3630"/>
                </a:lnTo>
                <a:lnTo>
                  <a:pt x="2286" y="3642"/>
                </a:lnTo>
                <a:lnTo>
                  <a:pt x="2286" y="3648"/>
                </a:lnTo>
                <a:lnTo>
                  <a:pt x="2280" y="3648"/>
                </a:lnTo>
                <a:lnTo>
                  <a:pt x="2280" y="3642"/>
                </a:lnTo>
                <a:lnTo>
                  <a:pt x="2280" y="3648"/>
                </a:lnTo>
                <a:lnTo>
                  <a:pt x="2286" y="3648"/>
                </a:lnTo>
                <a:lnTo>
                  <a:pt x="2292" y="3648"/>
                </a:lnTo>
                <a:lnTo>
                  <a:pt x="2292" y="3654"/>
                </a:lnTo>
                <a:lnTo>
                  <a:pt x="2298" y="3654"/>
                </a:lnTo>
                <a:lnTo>
                  <a:pt x="2292" y="3654"/>
                </a:lnTo>
                <a:lnTo>
                  <a:pt x="2292" y="3660"/>
                </a:lnTo>
                <a:lnTo>
                  <a:pt x="2298" y="3660"/>
                </a:lnTo>
                <a:lnTo>
                  <a:pt x="2304" y="3660"/>
                </a:lnTo>
                <a:lnTo>
                  <a:pt x="2304" y="3672"/>
                </a:lnTo>
                <a:lnTo>
                  <a:pt x="2310" y="3672"/>
                </a:lnTo>
                <a:lnTo>
                  <a:pt x="2316" y="3666"/>
                </a:lnTo>
                <a:lnTo>
                  <a:pt x="2322" y="3666"/>
                </a:lnTo>
                <a:lnTo>
                  <a:pt x="2328" y="3666"/>
                </a:lnTo>
                <a:lnTo>
                  <a:pt x="2334" y="3666"/>
                </a:lnTo>
                <a:lnTo>
                  <a:pt x="2334" y="3672"/>
                </a:lnTo>
                <a:lnTo>
                  <a:pt x="2340" y="3672"/>
                </a:lnTo>
                <a:lnTo>
                  <a:pt x="2340" y="3678"/>
                </a:lnTo>
                <a:lnTo>
                  <a:pt x="2340" y="3672"/>
                </a:lnTo>
                <a:lnTo>
                  <a:pt x="2340" y="3666"/>
                </a:lnTo>
                <a:lnTo>
                  <a:pt x="2346" y="3666"/>
                </a:lnTo>
                <a:lnTo>
                  <a:pt x="2346" y="3678"/>
                </a:lnTo>
                <a:lnTo>
                  <a:pt x="2352" y="3672"/>
                </a:lnTo>
                <a:lnTo>
                  <a:pt x="2358" y="3672"/>
                </a:lnTo>
                <a:lnTo>
                  <a:pt x="2352" y="3678"/>
                </a:lnTo>
                <a:lnTo>
                  <a:pt x="2352" y="3684"/>
                </a:lnTo>
                <a:lnTo>
                  <a:pt x="2358" y="3684"/>
                </a:lnTo>
                <a:lnTo>
                  <a:pt x="2364" y="3678"/>
                </a:lnTo>
                <a:lnTo>
                  <a:pt x="2364" y="3684"/>
                </a:lnTo>
                <a:lnTo>
                  <a:pt x="2364" y="3678"/>
                </a:lnTo>
                <a:lnTo>
                  <a:pt x="2370" y="3678"/>
                </a:lnTo>
                <a:lnTo>
                  <a:pt x="2376" y="3678"/>
                </a:lnTo>
                <a:lnTo>
                  <a:pt x="2388" y="3696"/>
                </a:lnTo>
                <a:lnTo>
                  <a:pt x="2394" y="3702"/>
                </a:lnTo>
                <a:lnTo>
                  <a:pt x="2400" y="3702"/>
                </a:lnTo>
                <a:lnTo>
                  <a:pt x="2406" y="3702"/>
                </a:lnTo>
                <a:lnTo>
                  <a:pt x="2412" y="3708"/>
                </a:lnTo>
                <a:lnTo>
                  <a:pt x="2424" y="3720"/>
                </a:lnTo>
                <a:lnTo>
                  <a:pt x="2424" y="3726"/>
                </a:lnTo>
                <a:lnTo>
                  <a:pt x="2436" y="3732"/>
                </a:lnTo>
                <a:lnTo>
                  <a:pt x="2454" y="3732"/>
                </a:lnTo>
                <a:lnTo>
                  <a:pt x="2454" y="3738"/>
                </a:lnTo>
                <a:lnTo>
                  <a:pt x="2454" y="3744"/>
                </a:lnTo>
                <a:lnTo>
                  <a:pt x="2460" y="3738"/>
                </a:lnTo>
                <a:lnTo>
                  <a:pt x="2460" y="3732"/>
                </a:lnTo>
                <a:lnTo>
                  <a:pt x="2460" y="3738"/>
                </a:lnTo>
                <a:lnTo>
                  <a:pt x="2466" y="3738"/>
                </a:lnTo>
                <a:lnTo>
                  <a:pt x="2472" y="3738"/>
                </a:lnTo>
                <a:lnTo>
                  <a:pt x="2472" y="3732"/>
                </a:lnTo>
                <a:lnTo>
                  <a:pt x="2478" y="3732"/>
                </a:lnTo>
                <a:lnTo>
                  <a:pt x="2472" y="3732"/>
                </a:lnTo>
                <a:lnTo>
                  <a:pt x="2466" y="3732"/>
                </a:lnTo>
                <a:lnTo>
                  <a:pt x="2472" y="3738"/>
                </a:lnTo>
                <a:lnTo>
                  <a:pt x="2508" y="3738"/>
                </a:lnTo>
                <a:lnTo>
                  <a:pt x="2538" y="3738"/>
                </a:lnTo>
                <a:lnTo>
                  <a:pt x="2544" y="3738"/>
                </a:lnTo>
                <a:lnTo>
                  <a:pt x="2550" y="3738"/>
                </a:lnTo>
                <a:lnTo>
                  <a:pt x="2562" y="3744"/>
                </a:lnTo>
                <a:lnTo>
                  <a:pt x="2568" y="3744"/>
                </a:lnTo>
                <a:lnTo>
                  <a:pt x="2574" y="3738"/>
                </a:lnTo>
                <a:lnTo>
                  <a:pt x="2580" y="3738"/>
                </a:lnTo>
                <a:lnTo>
                  <a:pt x="2580" y="3750"/>
                </a:lnTo>
                <a:lnTo>
                  <a:pt x="2586" y="3750"/>
                </a:lnTo>
                <a:lnTo>
                  <a:pt x="2586" y="3744"/>
                </a:lnTo>
                <a:lnTo>
                  <a:pt x="2592" y="3744"/>
                </a:lnTo>
                <a:lnTo>
                  <a:pt x="2592" y="3750"/>
                </a:lnTo>
                <a:lnTo>
                  <a:pt x="2598" y="3750"/>
                </a:lnTo>
                <a:lnTo>
                  <a:pt x="2598" y="3756"/>
                </a:lnTo>
                <a:lnTo>
                  <a:pt x="2604" y="3756"/>
                </a:lnTo>
                <a:lnTo>
                  <a:pt x="2604" y="3750"/>
                </a:lnTo>
                <a:lnTo>
                  <a:pt x="2598" y="3750"/>
                </a:lnTo>
                <a:lnTo>
                  <a:pt x="2604" y="3750"/>
                </a:lnTo>
                <a:lnTo>
                  <a:pt x="2604" y="3756"/>
                </a:lnTo>
                <a:lnTo>
                  <a:pt x="2610" y="3750"/>
                </a:lnTo>
                <a:lnTo>
                  <a:pt x="2610" y="3756"/>
                </a:lnTo>
                <a:lnTo>
                  <a:pt x="2616" y="3756"/>
                </a:lnTo>
                <a:lnTo>
                  <a:pt x="2610" y="3756"/>
                </a:lnTo>
                <a:lnTo>
                  <a:pt x="2604" y="3756"/>
                </a:lnTo>
                <a:lnTo>
                  <a:pt x="2610" y="3750"/>
                </a:lnTo>
                <a:lnTo>
                  <a:pt x="2616" y="3750"/>
                </a:lnTo>
                <a:lnTo>
                  <a:pt x="2616" y="3756"/>
                </a:lnTo>
                <a:lnTo>
                  <a:pt x="2616" y="3750"/>
                </a:lnTo>
                <a:lnTo>
                  <a:pt x="2622" y="3750"/>
                </a:lnTo>
                <a:lnTo>
                  <a:pt x="2628" y="3756"/>
                </a:lnTo>
                <a:lnTo>
                  <a:pt x="2628" y="3762"/>
                </a:lnTo>
                <a:lnTo>
                  <a:pt x="2634" y="3762"/>
                </a:lnTo>
                <a:lnTo>
                  <a:pt x="2634" y="3768"/>
                </a:lnTo>
                <a:lnTo>
                  <a:pt x="2640" y="3768"/>
                </a:lnTo>
                <a:lnTo>
                  <a:pt x="2640" y="3774"/>
                </a:lnTo>
                <a:lnTo>
                  <a:pt x="2640" y="3780"/>
                </a:lnTo>
                <a:lnTo>
                  <a:pt x="2646" y="3786"/>
                </a:lnTo>
                <a:lnTo>
                  <a:pt x="2652" y="3786"/>
                </a:lnTo>
                <a:lnTo>
                  <a:pt x="2658" y="3786"/>
                </a:lnTo>
                <a:lnTo>
                  <a:pt x="2658" y="3792"/>
                </a:lnTo>
                <a:lnTo>
                  <a:pt x="2664" y="3792"/>
                </a:lnTo>
                <a:lnTo>
                  <a:pt x="2664" y="3798"/>
                </a:lnTo>
                <a:lnTo>
                  <a:pt x="2664" y="3804"/>
                </a:lnTo>
                <a:lnTo>
                  <a:pt x="2670" y="3804"/>
                </a:lnTo>
                <a:lnTo>
                  <a:pt x="2670" y="3798"/>
                </a:lnTo>
                <a:lnTo>
                  <a:pt x="2676" y="3798"/>
                </a:lnTo>
                <a:lnTo>
                  <a:pt x="2688" y="3804"/>
                </a:lnTo>
                <a:lnTo>
                  <a:pt x="2688" y="3816"/>
                </a:lnTo>
                <a:lnTo>
                  <a:pt x="2694" y="3816"/>
                </a:lnTo>
                <a:lnTo>
                  <a:pt x="2694" y="3822"/>
                </a:lnTo>
                <a:lnTo>
                  <a:pt x="2700" y="3822"/>
                </a:lnTo>
                <a:lnTo>
                  <a:pt x="2700" y="3816"/>
                </a:lnTo>
                <a:lnTo>
                  <a:pt x="2700" y="3810"/>
                </a:lnTo>
                <a:lnTo>
                  <a:pt x="2700" y="3816"/>
                </a:lnTo>
                <a:lnTo>
                  <a:pt x="2706" y="3816"/>
                </a:lnTo>
                <a:lnTo>
                  <a:pt x="2706" y="3822"/>
                </a:lnTo>
                <a:lnTo>
                  <a:pt x="2712" y="3822"/>
                </a:lnTo>
                <a:lnTo>
                  <a:pt x="2712" y="3816"/>
                </a:lnTo>
                <a:lnTo>
                  <a:pt x="2712" y="3804"/>
                </a:lnTo>
                <a:lnTo>
                  <a:pt x="2712" y="3798"/>
                </a:lnTo>
                <a:lnTo>
                  <a:pt x="2712" y="3792"/>
                </a:lnTo>
                <a:lnTo>
                  <a:pt x="2724" y="3786"/>
                </a:lnTo>
                <a:lnTo>
                  <a:pt x="2730" y="3786"/>
                </a:lnTo>
                <a:lnTo>
                  <a:pt x="2754" y="3786"/>
                </a:lnTo>
                <a:lnTo>
                  <a:pt x="2766" y="3786"/>
                </a:lnTo>
                <a:lnTo>
                  <a:pt x="2772" y="3780"/>
                </a:lnTo>
                <a:lnTo>
                  <a:pt x="2778" y="3768"/>
                </a:lnTo>
                <a:lnTo>
                  <a:pt x="2784" y="3750"/>
                </a:lnTo>
                <a:lnTo>
                  <a:pt x="2760" y="3744"/>
                </a:lnTo>
                <a:lnTo>
                  <a:pt x="2748" y="3732"/>
                </a:lnTo>
                <a:lnTo>
                  <a:pt x="2742" y="3726"/>
                </a:lnTo>
                <a:lnTo>
                  <a:pt x="2736" y="3714"/>
                </a:lnTo>
                <a:lnTo>
                  <a:pt x="2730" y="3696"/>
                </a:lnTo>
                <a:lnTo>
                  <a:pt x="2730" y="3678"/>
                </a:lnTo>
                <a:lnTo>
                  <a:pt x="2730" y="3660"/>
                </a:lnTo>
                <a:lnTo>
                  <a:pt x="2730" y="3642"/>
                </a:lnTo>
                <a:lnTo>
                  <a:pt x="2718" y="3642"/>
                </a:lnTo>
                <a:lnTo>
                  <a:pt x="2712" y="3648"/>
                </a:lnTo>
                <a:lnTo>
                  <a:pt x="2706" y="3648"/>
                </a:lnTo>
                <a:lnTo>
                  <a:pt x="2706" y="3642"/>
                </a:lnTo>
                <a:lnTo>
                  <a:pt x="2712" y="3636"/>
                </a:lnTo>
                <a:lnTo>
                  <a:pt x="2718" y="3630"/>
                </a:lnTo>
                <a:lnTo>
                  <a:pt x="2712" y="3624"/>
                </a:lnTo>
                <a:lnTo>
                  <a:pt x="2706" y="3618"/>
                </a:lnTo>
                <a:lnTo>
                  <a:pt x="2700" y="3618"/>
                </a:lnTo>
                <a:lnTo>
                  <a:pt x="2694" y="3606"/>
                </a:lnTo>
                <a:lnTo>
                  <a:pt x="2706" y="3594"/>
                </a:lnTo>
                <a:lnTo>
                  <a:pt x="2706" y="3588"/>
                </a:lnTo>
                <a:lnTo>
                  <a:pt x="2700" y="3588"/>
                </a:lnTo>
                <a:lnTo>
                  <a:pt x="2700" y="3576"/>
                </a:lnTo>
                <a:lnTo>
                  <a:pt x="2706" y="3570"/>
                </a:lnTo>
                <a:lnTo>
                  <a:pt x="2700" y="3570"/>
                </a:lnTo>
                <a:lnTo>
                  <a:pt x="2700" y="3558"/>
                </a:lnTo>
                <a:lnTo>
                  <a:pt x="2694" y="3546"/>
                </a:lnTo>
                <a:lnTo>
                  <a:pt x="2688" y="3528"/>
                </a:lnTo>
                <a:lnTo>
                  <a:pt x="2688" y="3498"/>
                </a:lnTo>
                <a:lnTo>
                  <a:pt x="2676" y="3492"/>
                </a:lnTo>
                <a:lnTo>
                  <a:pt x="2670" y="3480"/>
                </a:lnTo>
                <a:lnTo>
                  <a:pt x="2664" y="3462"/>
                </a:lnTo>
                <a:lnTo>
                  <a:pt x="2664" y="3450"/>
                </a:lnTo>
                <a:lnTo>
                  <a:pt x="2658" y="3438"/>
                </a:lnTo>
                <a:lnTo>
                  <a:pt x="2658" y="3426"/>
                </a:lnTo>
                <a:lnTo>
                  <a:pt x="2664" y="3414"/>
                </a:lnTo>
                <a:lnTo>
                  <a:pt x="2688" y="3414"/>
                </a:lnTo>
                <a:lnTo>
                  <a:pt x="2682" y="3396"/>
                </a:lnTo>
                <a:lnTo>
                  <a:pt x="2682" y="3378"/>
                </a:lnTo>
                <a:lnTo>
                  <a:pt x="2694" y="3378"/>
                </a:lnTo>
                <a:lnTo>
                  <a:pt x="2700" y="3372"/>
                </a:lnTo>
                <a:lnTo>
                  <a:pt x="2700" y="3360"/>
                </a:lnTo>
                <a:lnTo>
                  <a:pt x="2700" y="3348"/>
                </a:lnTo>
                <a:lnTo>
                  <a:pt x="2706" y="3324"/>
                </a:lnTo>
                <a:lnTo>
                  <a:pt x="2682" y="3330"/>
                </a:lnTo>
                <a:lnTo>
                  <a:pt x="2676" y="3330"/>
                </a:lnTo>
                <a:lnTo>
                  <a:pt x="2670" y="3336"/>
                </a:lnTo>
                <a:lnTo>
                  <a:pt x="2652" y="3330"/>
                </a:lnTo>
                <a:lnTo>
                  <a:pt x="2640" y="3330"/>
                </a:lnTo>
                <a:lnTo>
                  <a:pt x="2640" y="3312"/>
                </a:lnTo>
                <a:lnTo>
                  <a:pt x="2652" y="3312"/>
                </a:lnTo>
                <a:lnTo>
                  <a:pt x="2658" y="3306"/>
                </a:lnTo>
                <a:lnTo>
                  <a:pt x="2670" y="3300"/>
                </a:lnTo>
                <a:lnTo>
                  <a:pt x="2670" y="3294"/>
                </a:lnTo>
                <a:lnTo>
                  <a:pt x="2676" y="3288"/>
                </a:lnTo>
                <a:lnTo>
                  <a:pt x="2688" y="3288"/>
                </a:lnTo>
                <a:lnTo>
                  <a:pt x="2688" y="3294"/>
                </a:lnTo>
                <a:lnTo>
                  <a:pt x="2676" y="3306"/>
                </a:lnTo>
                <a:lnTo>
                  <a:pt x="2670" y="3312"/>
                </a:lnTo>
                <a:lnTo>
                  <a:pt x="2670" y="3318"/>
                </a:lnTo>
                <a:lnTo>
                  <a:pt x="2676" y="3318"/>
                </a:lnTo>
                <a:lnTo>
                  <a:pt x="2682" y="3312"/>
                </a:lnTo>
                <a:lnTo>
                  <a:pt x="2700" y="3306"/>
                </a:lnTo>
                <a:lnTo>
                  <a:pt x="2706" y="3300"/>
                </a:lnTo>
                <a:lnTo>
                  <a:pt x="2718" y="3294"/>
                </a:lnTo>
                <a:lnTo>
                  <a:pt x="2724" y="3270"/>
                </a:lnTo>
                <a:lnTo>
                  <a:pt x="2730" y="3240"/>
                </a:lnTo>
                <a:lnTo>
                  <a:pt x="2742" y="3222"/>
                </a:lnTo>
                <a:lnTo>
                  <a:pt x="2742" y="3216"/>
                </a:lnTo>
                <a:lnTo>
                  <a:pt x="2748" y="3198"/>
                </a:lnTo>
                <a:lnTo>
                  <a:pt x="2754" y="3180"/>
                </a:lnTo>
                <a:lnTo>
                  <a:pt x="2760" y="3168"/>
                </a:lnTo>
                <a:lnTo>
                  <a:pt x="2748" y="3168"/>
                </a:lnTo>
                <a:lnTo>
                  <a:pt x="2742" y="3162"/>
                </a:lnTo>
                <a:lnTo>
                  <a:pt x="2730" y="3162"/>
                </a:lnTo>
                <a:lnTo>
                  <a:pt x="2724" y="3156"/>
                </a:lnTo>
                <a:lnTo>
                  <a:pt x="2724" y="3150"/>
                </a:lnTo>
                <a:lnTo>
                  <a:pt x="2718" y="3144"/>
                </a:lnTo>
                <a:lnTo>
                  <a:pt x="2718" y="3132"/>
                </a:lnTo>
                <a:lnTo>
                  <a:pt x="2724" y="3126"/>
                </a:lnTo>
                <a:lnTo>
                  <a:pt x="2730" y="3120"/>
                </a:lnTo>
                <a:lnTo>
                  <a:pt x="2742" y="3114"/>
                </a:lnTo>
                <a:lnTo>
                  <a:pt x="2742" y="3108"/>
                </a:lnTo>
                <a:lnTo>
                  <a:pt x="2760" y="3114"/>
                </a:lnTo>
                <a:lnTo>
                  <a:pt x="2766" y="3120"/>
                </a:lnTo>
                <a:lnTo>
                  <a:pt x="2772" y="3126"/>
                </a:lnTo>
                <a:lnTo>
                  <a:pt x="2784" y="3126"/>
                </a:lnTo>
                <a:lnTo>
                  <a:pt x="2790" y="3114"/>
                </a:lnTo>
                <a:lnTo>
                  <a:pt x="2796" y="3114"/>
                </a:lnTo>
                <a:lnTo>
                  <a:pt x="2802" y="3102"/>
                </a:lnTo>
                <a:lnTo>
                  <a:pt x="2820" y="3072"/>
                </a:lnTo>
                <a:lnTo>
                  <a:pt x="2826" y="3072"/>
                </a:lnTo>
                <a:lnTo>
                  <a:pt x="2832" y="3072"/>
                </a:lnTo>
                <a:lnTo>
                  <a:pt x="2838" y="3054"/>
                </a:lnTo>
                <a:lnTo>
                  <a:pt x="2832" y="3048"/>
                </a:lnTo>
                <a:lnTo>
                  <a:pt x="2832" y="3030"/>
                </a:lnTo>
                <a:lnTo>
                  <a:pt x="2850" y="3018"/>
                </a:lnTo>
                <a:lnTo>
                  <a:pt x="2868" y="3012"/>
                </a:lnTo>
                <a:lnTo>
                  <a:pt x="2886" y="3006"/>
                </a:lnTo>
                <a:lnTo>
                  <a:pt x="2910" y="2988"/>
                </a:lnTo>
                <a:lnTo>
                  <a:pt x="2910" y="2970"/>
                </a:lnTo>
                <a:lnTo>
                  <a:pt x="2916" y="2958"/>
                </a:lnTo>
                <a:lnTo>
                  <a:pt x="2916" y="2940"/>
                </a:lnTo>
                <a:lnTo>
                  <a:pt x="2916" y="2922"/>
                </a:lnTo>
                <a:lnTo>
                  <a:pt x="2934" y="2928"/>
                </a:lnTo>
                <a:lnTo>
                  <a:pt x="2934" y="2934"/>
                </a:lnTo>
                <a:lnTo>
                  <a:pt x="2934" y="2946"/>
                </a:lnTo>
                <a:lnTo>
                  <a:pt x="2946" y="2952"/>
                </a:lnTo>
                <a:lnTo>
                  <a:pt x="2952" y="2958"/>
                </a:lnTo>
                <a:lnTo>
                  <a:pt x="2964" y="2958"/>
                </a:lnTo>
                <a:lnTo>
                  <a:pt x="2976" y="2946"/>
                </a:lnTo>
                <a:lnTo>
                  <a:pt x="3000" y="2934"/>
                </a:lnTo>
                <a:lnTo>
                  <a:pt x="3030" y="2910"/>
                </a:lnTo>
                <a:lnTo>
                  <a:pt x="3024" y="2904"/>
                </a:lnTo>
                <a:lnTo>
                  <a:pt x="3018" y="2904"/>
                </a:lnTo>
                <a:lnTo>
                  <a:pt x="3006" y="2892"/>
                </a:lnTo>
                <a:lnTo>
                  <a:pt x="3000" y="2886"/>
                </a:lnTo>
                <a:lnTo>
                  <a:pt x="2994" y="2886"/>
                </a:lnTo>
                <a:lnTo>
                  <a:pt x="2994" y="2874"/>
                </a:lnTo>
                <a:lnTo>
                  <a:pt x="2982" y="2868"/>
                </a:lnTo>
                <a:lnTo>
                  <a:pt x="2970" y="2868"/>
                </a:lnTo>
                <a:lnTo>
                  <a:pt x="2964" y="2862"/>
                </a:lnTo>
                <a:lnTo>
                  <a:pt x="2964" y="2844"/>
                </a:lnTo>
                <a:lnTo>
                  <a:pt x="2958" y="2832"/>
                </a:lnTo>
                <a:lnTo>
                  <a:pt x="2952" y="2826"/>
                </a:lnTo>
                <a:lnTo>
                  <a:pt x="2952" y="2820"/>
                </a:lnTo>
                <a:lnTo>
                  <a:pt x="2958" y="2820"/>
                </a:lnTo>
                <a:lnTo>
                  <a:pt x="2964" y="2820"/>
                </a:lnTo>
                <a:lnTo>
                  <a:pt x="2970" y="2814"/>
                </a:lnTo>
                <a:lnTo>
                  <a:pt x="2976" y="2814"/>
                </a:lnTo>
                <a:lnTo>
                  <a:pt x="2976" y="2826"/>
                </a:lnTo>
                <a:lnTo>
                  <a:pt x="2976" y="2838"/>
                </a:lnTo>
                <a:lnTo>
                  <a:pt x="2982" y="2844"/>
                </a:lnTo>
                <a:lnTo>
                  <a:pt x="3000" y="2844"/>
                </a:lnTo>
                <a:lnTo>
                  <a:pt x="3000" y="2850"/>
                </a:lnTo>
                <a:lnTo>
                  <a:pt x="3000" y="2856"/>
                </a:lnTo>
                <a:lnTo>
                  <a:pt x="3006" y="2862"/>
                </a:lnTo>
                <a:lnTo>
                  <a:pt x="3006" y="2868"/>
                </a:lnTo>
                <a:lnTo>
                  <a:pt x="3024" y="2856"/>
                </a:lnTo>
                <a:lnTo>
                  <a:pt x="3054" y="2844"/>
                </a:lnTo>
                <a:lnTo>
                  <a:pt x="3078" y="2832"/>
                </a:lnTo>
                <a:lnTo>
                  <a:pt x="3090" y="2826"/>
                </a:lnTo>
                <a:lnTo>
                  <a:pt x="3096" y="2826"/>
                </a:lnTo>
                <a:lnTo>
                  <a:pt x="3096" y="2838"/>
                </a:lnTo>
                <a:lnTo>
                  <a:pt x="3090" y="2844"/>
                </a:lnTo>
                <a:lnTo>
                  <a:pt x="3084" y="2844"/>
                </a:lnTo>
                <a:lnTo>
                  <a:pt x="3084" y="2862"/>
                </a:lnTo>
                <a:lnTo>
                  <a:pt x="3084" y="2868"/>
                </a:lnTo>
                <a:lnTo>
                  <a:pt x="3090" y="2868"/>
                </a:lnTo>
                <a:lnTo>
                  <a:pt x="3108" y="2856"/>
                </a:lnTo>
                <a:lnTo>
                  <a:pt x="3126" y="2856"/>
                </a:lnTo>
                <a:lnTo>
                  <a:pt x="3144" y="2844"/>
                </a:lnTo>
                <a:lnTo>
                  <a:pt x="3150" y="2844"/>
                </a:lnTo>
                <a:lnTo>
                  <a:pt x="3150" y="2856"/>
                </a:lnTo>
                <a:lnTo>
                  <a:pt x="3156" y="2862"/>
                </a:lnTo>
                <a:lnTo>
                  <a:pt x="3102" y="2880"/>
                </a:lnTo>
                <a:lnTo>
                  <a:pt x="3090" y="2892"/>
                </a:lnTo>
                <a:lnTo>
                  <a:pt x="3084" y="2898"/>
                </a:lnTo>
                <a:lnTo>
                  <a:pt x="3090" y="2898"/>
                </a:lnTo>
                <a:lnTo>
                  <a:pt x="3216" y="2832"/>
                </a:lnTo>
                <a:lnTo>
                  <a:pt x="3300" y="2790"/>
                </a:lnTo>
                <a:lnTo>
                  <a:pt x="3348" y="2772"/>
                </a:lnTo>
                <a:lnTo>
                  <a:pt x="3348" y="2766"/>
                </a:lnTo>
                <a:lnTo>
                  <a:pt x="3354" y="2760"/>
                </a:lnTo>
                <a:lnTo>
                  <a:pt x="3366" y="2748"/>
                </a:lnTo>
                <a:lnTo>
                  <a:pt x="3372" y="2748"/>
                </a:lnTo>
                <a:lnTo>
                  <a:pt x="3396" y="2724"/>
                </a:lnTo>
                <a:lnTo>
                  <a:pt x="3408" y="2712"/>
                </a:lnTo>
                <a:lnTo>
                  <a:pt x="3426" y="2700"/>
                </a:lnTo>
                <a:lnTo>
                  <a:pt x="3426" y="2694"/>
                </a:lnTo>
                <a:lnTo>
                  <a:pt x="3432" y="2688"/>
                </a:lnTo>
                <a:lnTo>
                  <a:pt x="3438" y="2688"/>
                </a:lnTo>
                <a:lnTo>
                  <a:pt x="3462" y="2664"/>
                </a:lnTo>
                <a:lnTo>
                  <a:pt x="3486" y="2646"/>
                </a:lnTo>
                <a:lnTo>
                  <a:pt x="3516" y="2628"/>
                </a:lnTo>
                <a:lnTo>
                  <a:pt x="3534" y="2616"/>
                </a:lnTo>
                <a:lnTo>
                  <a:pt x="3546" y="2604"/>
                </a:lnTo>
                <a:lnTo>
                  <a:pt x="3528" y="2604"/>
                </a:lnTo>
                <a:lnTo>
                  <a:pt x="3516" y="2604"/>
                </a:lnTo>
                <a:lnTo>
                  <a:pt x="3516" y="2616"/>
                </a:lnTo>
                <a:lnTo>
                  <a:pt x="3510" y="2616"/>
                </a:lnTo>
                <a:lnTo>
                  <a:pt x="3504" y="2622"/>
                </a:lnTo>
                <a:lnTo>
                  <a:pt x="3498" y="2622"/>
                </a:lnTo>
                <a:lnTo>
                  <a:pt x="3498" y="2574"/>
                </a:lnTo>
                <a:lnTo>
                  <a:pt x="3486" y="2568"/>
                </a:lnTo>
                <a:lnTo>
                  <a:pt x="3486" y="2556"/>
                </a:lnTo>
                <a:lnTo>
                  <a:pt x="3474" y="2544"/>
                </a:lnTo>
                <a:lnTo>
                  <a:pt x="3456" y="2532"/>
                </a:lnTo>
                <a:lnTo>
                  <a:pt x="3456" y="2526"/>
                </a:lnTo>
                <a:lnTo>
                  <a:pt x="3456" y="2514"/>
                </a:lnTo>
                <a:lnTo>
                  <a:pt x="3456" y="2502"/>
                </a:lnTo>
                <a:lnTo>
                  <a:pt x="3462" y="2490"/>
                </a:lnTo>
                <a:lnTo>
                  <a:pt x="3462" y="2484"/>
                </a:lnTo>
                <a:lnTo>
                  <a:pt x="3468" y="2484"/>
                </a:lnTo>
                <a:lnTo>
                  <a:pt x="3474" y="2484"/>
                </a:lnTo>
                <a:lnTo>
                  <a:pt x="3486" y="2490"/>
                </a:lnTo>
                <a:lnTo>
                  <a:pt x="3504" y="2490"/>
                </a:lnTo>
                <a:lnTo>
                  <a:pt x="3504" y="2478"/>
                </a:lnTo>
                <a:lnTo>
                  <a:pt x="3516" y="2466"/>
                </a:lnTo>
                <a:lnTo>
                  <a:pt x="3522" y="2460"/>
                </a:lnTo>
                <a:lnTo>
                  <a:pt x="3528" y="2454"/>
                </a:lnTo>
                <a:lnTo>
                  <a:pt x="3534" y="2454"/>
                </a:lnTo>
                <a:lnTo>
                  <a:pt x="3534" y="2448"/>
                </a:lnTo>
                <a:lnTo>
                  <a:pt x="3546" y="2448"/>
                </a:lnTo>
                <a:lnTo>
                  <a:pt x="3546" y="2460"/>
                </a:lnTo>
                <a:lnTo>
                  <a:pt x="3552" y="2478"/>
                </a:lnTo>
                <a:lnTo>
                  <a:pt x="3558" y="2484"/>
                </a:lnTo>
                <a:lnTo>
                  <a:pt x="3558" y="2496"/>
                </a:lnTo>
                <a:lnTo>
                  <a:pt x="3552" y="2508"/>
                </a:lnTo>
                <a:lnTo>
                  <a:pt x="3546" y="2520"/>
                </a:lnTo>
                <a:lnTo>
                  <a:pt x="3540" y="2520"/>
                </a:lnTo>
                <a:lnTo>
                  <a:pt x="3540" y="2526"/>
                </a:lnTo>
                <a:lnTo>
                  <a:pt x="3528" y="2532"/>
                </a:lnTo>
                <a:lnTo>
                  <a:pt x="3522" y="2538"/>
                </a:lnTo>
                <a:lnTo>
                  <a:pt x="3528" y="2538"/>
                </a:lnTo>
                <a:lnTo>
                  <a:pt x="3534" y="2538"/>
                </a:lnTo>
                <a:lnTo>
                  <a:pt x="3552" y="2538"/>
                </a:lnTo>
                <a:lnTo>
                  <a:pt x="3558" y="2532"/>
                </a:lnTo>
                <a:lnTo>
                  <a:pt x="3570" y="2532"/>
                </a:lnTo>
                <a:lnTo>
                  <a:pt x="3576" y="2532"/>
                </a:lnTo>
                <a:lnTo>
                  <a:pt x="3582" y="2526"/>
                </a:lnTo>
                <a:lnTo>
                  <a:pt x="3594" y="2526"/>
                </a:lnTo>
                <a:lnTo>
                  <a:pt x="3594" y="2520"/>
                </a:lnTo>
                <a:lnTo>
                  <a:pt x="3600" y="2526"/>
                </a:lnTo>
                <a:lnTo>
                  <a:pt x="3606" y="2532"/>
                </a:lnTo>
                <a:lnTo>
                  <a:pt x="3606" y="2538"/>
                </a:lnTo>
                <a:lnTo>
                  <a:pt x="3582" y="2550"/>
                </a:lnTo>
                <a:lnTo>
                  <a:pt x="3564" y="2562"/>
                </a:lnTo>
                <a:lnTo>
                  <a:pt x="3552" y="2568"/>
                </a:lnTo>
                <a:lnTo>
                  <a:pt x="3540" y="2574"/>
                </a:lnTo>
                <a:lnTo>
                  <a:pt x="3534" y="2586"/>
                </a:lnTo>
                <a:lnTo>
                  <a:pt x="3528" y="2598"/>
                </a:lnTo>
                <a:lnTo>
                  <a:pt x="3534" y="2598"/>
                </a:lnTo>
                <a:lnTo>
                  <a:pt x="3594" y="2562"/>
                </a:lnTo>
                <a:lnTo>
                  <a:pt x="3654" y="2526"/>
                </a:lnTo>
                <a:lnTo>
                  <a:pt x="3696" y="2508"/>
                </a:lnTo>
                <a:lnTo>
                  <a:pt x="3738" y="2490"/>
                </a:lnTo>
                <a:lnTo>
                  <a:pt x="3756" y="2484"/>
                </a:lnTo>
                <a:lnTo>
                  <a:pt x="3816" y="2484"/>
                </a:lnTo>
                <a:lnTo>
                  <a:pt x="3816" y="2478"/>
                </a:lnTo>
                <a:lnTo>
                  <a:pt x="3810" y="2472"/>
                </a:lnTo>
                <a:lnTo>
                  <a:pt x="3798" y="2460"/>
                </a:lnTo>
                <a:lnTo>
                  <a:pt x="3792" y="2442"/>
                </a:lnTo>
                <a:lnTo>
                  <a:pt x="3786" y="2436"/>
                </a:lnTo>
                <a:lnTo>
                  <a:pt x="3792" y="2430"/>
                </a:lnTo>
                <a:lnTo>
                  <a:pt x="3828" y="2388"/>
                </a:lnTo>
                <a:lnTo>
                  <a:pt x="3858" y="2352"/>
                </a:lnTo>
                <a:lnTo>
                  <a:pt x="3858" y="2346"/>
                </a:lnTo>
                <a:lnTo>
                  <a:pt x="3852" y="2346"/>
                </a:lnTo>
                <a:lnTo>
                  <a:pt x="3852" y="2340"/>
                </a:lnTo>
                <a:lnTo>
                  <a:pt x="3846" y="2340"/>
                </a:lnTo>
                <a:lnTo>
                  <a:pt x="3852" y="2340"/>
                </a:lnTo>
                <a:lnTo>
                  <a:pt x="3852" y="2334"/>
                </a:lnTo>
                <a:lnTo>
                  <a:pt x="3858" y="2334"/>
                </a:lnTo>
                <a:lnTo>
                  <a:pt x="3858" y="2322"/>
                </a:lnTo>
                <a:lnTo>
                  <a:pt x="3864" y="2322"/>
                </a:lnTo>
                <a:lnTo>
                  <a:pt x="3858" y="2316"/>
                </a:lnTo>
                <a:lnTo>
                  <a:pt x="3858" y="2310"/>
                </a:lnTo>
                <a:lnTo>
                  <a:pt x="3852" y="2310"/>
                </a:lnTo>
                <a:lnTo>
                  <a:pt x="3846" y="2304"/>
                </a:lnTo>
                <a:lnTo>
                  <a:pt x="3852" y="2304"/>
                </a:lnTo>
                <a:lnTo>
                  <a:pt x="3858" y="2304"/>
                </a:lnTo>
                <a:lnTo>
                  <a:pt x="3852" y="2304"/>
                </a:lnTo>
                <a:lnTo>
                  <a:pt x="3858" y="2304"/>
                </a:lnTo>
                <a:lnTo>
                  <a:pt x="3858" y="2286"/>
                </a:lnTo>
                <a:lnTo>
                  <a:pt x="3852" y="2286"/>
                </a:lnTo>
                <a:lnTo>
                  <a:pt x="3858" y="2286"/>
                </a:lnTo>
                <a:lnTo>
                  <a:pt x="3852" y="2286"/>
                </a:lnTo>
                <a:lnTo>
                  <a:pt x="3858" y="2280"/>
                </a:lnTo>
                <a:lnTo>
                  <a:pt x="3852" y="2280"/>
                </a:lnTo>
                <a:lnTo>
                  <a:pt x="3846" y="2280"/>
                </a:lnTo>
                <a:lnTo>
                  <a:pt x="3852" y="2274"/>
                </a:lnTo>
                <a:lnTo>
                  <a:pt x="3846" y="2268"/>
                </a:lnTo>
                <a:lnTo>
                  <a:pt x="3852" y="2268"/>
                </a:lnTo>
                <a:lnTo>
                  <a:pt x="3858" y="2268"/>
                </a:lnTo>
                <a:lnTo>
                  <a:pt x="3852" y="2268"/>
                </a:lnTo>
                <a:lnTo>
                  <a:pt x="3846" y="2268"/>
                </a:lnTo>
                <a:lnTo>
                  <a:pt x="3840" y="2262"/>
                </a:lnTo>
                <a:lnTo>
                  <a:pt x="3846" y="2262"/>
                </a:lnTo>
                <a:lnTo>
                  <a:pt x="3840" y="2262"/>
                </a:lnTo>
                <a:lnTo>
                  <a:pt x="3840" y="2256"/>
                </a:lnTo>
                <a:lnTo>
                  <a:pt x="3840" y="2250"/>
                </a:lnTo>
                <a:lnTo>
                  <a:pt x="3840" y="2232"/>
                </a:lnTo>
                <a:lnTo>
                  <a:pt x="3846" y="2232"/>
                </a:lnTo>
                <a:lnTo>
                  <a:pt x="3846" y="2226"/>
                </a:lnTo>
                <a:lnTo>
                  <a:pt x="3852" y="2226"/>
                </a:lnTo>
                <a:lnTo>
                  <a:pt x="3852" y="2220"/>
                </a:lnTo>
                <a:lnTo>
                  <a:pt x="3846" y="2220"/>
                </a:lnTo>
                <a:lnTo>
                  <a:pt x="3852" y="2220"/>
                </a:lnTo>
                <a:lnTo>
                  <a:pt x="3858" y="2220"/>
                </a:lnTo>
                <a:lnTo>
                  <a:pt x="3858" y="2214"/>
                </a:lnTo>
                <a:lnTo>
                  <a:pt x="3852" y="2214"/>
                </a:lnTo>
                <a:lnTo>
                  <a:pt x="3858" y="2214"/>
                </a:lnTo>
                <a:lnTo>
                  <a:pt x="3852" y="2214"/>
                </a:lnTo>
                <a:lnTo>
                  <a:pt x="3846" y="2214"/>
                </a:lnTo>
                <a:lnTo>
                  <a:pt x="3852" y="2208"/>
                </a:lnTo>
                <a:lnTo>
                  <a:pt x="3852" y="2196"/>
                </a:lnTo>
                <a:lnTo>
                  <a:pt x="3846" y="2184"/>
                </a:lnTo>
                <a:lnTo>
                  <a:pt x="3846" y="2178"/>
                </a:lnTo>
                <a:lnTo>
                  <a:pt x="3846" y="2172"/>
                </a:lnTo>
                <a:lnTo>
                  <a:pt x="3858" y="2154"/>
                </a:lnTo>
                <a:lnTo>
                  <a:pt x="3876" y="2118"/>
                </a:lnTo>
                <a:lnTo>
                  <a:pt x="3894" y="2082"/>
                </a:lnTo>
                <a:lnTo>
                  <a:pt x="3900" y="2052"/>
                </a:lnTo>
                <a:lnTo>
                  <a:pt x="3900" y="2004"/>
                </a:lnTo>
                <a:lnTo>
                  <a:pt x="3906" y="1956"/>
                </a:lnTo>
                <a:lnTo>
                  <a:pt x="3900" y="1956"/>
                </a:lnTo>
                <a:lnTo>
                  <a:pt x="3894" y="1956"/>
                </a:lnTo>
                <a:lnTo>
                  <a:pt x="3888" y="1962"/>
                </a:lnTo>
                <a:lnTo>
                  <a:pt x="3882" y="1956"/>
                </a:lnTo>
                <a:lnTo>
                  <a:pt x="3876" y="1944"/>
                </a:lnTo>
                <a:lnTo>
                  <a:pt x="3876" y="1938"/>
                </a:lnTo>
                <a:lnTo>
                  <a:pt x="3870" y="1932"/>
                </a:lnTo>
                <a:lnTo>
                  <a:pt x="3858" y="1914"/>
                </a:lnTo>
                <a:lnTo>
                  <a:pt x="3852" y="1908"/>
                </a:lnTo>
                <a:lnTo>
                  <a:pt x="3858" y="1908"/>
                </a:lnTo>
                <a:lnTo>
                  <a:pt x="3864" y="1908"/>
                </a:lnTo>
                <a:lnTo>
                  <a:pt x="3858" y="1908"/>
                </a:lnTo>
                <a:lnTo>
                  <a:pt x="3852" y="1908"/>
                </a:lnTo>
                <a:lnTo>
                  <a:pt x="3858" y="1902"/>
                </a:lnTo>
                <a:lnTo>
                  <a:pt x="3864" y="1902"/>
                </a:lnTo>
                <a:lnTo>
                  <a:pt x="3864" y="1896"/>
                </a:lnTo>
                <a:lnTo>
                  <a:pt x="3870" y="1890"/>
                </a:lnTo>
                <a:lnTo>
                  <a:pt x="3864" y="1890"/>
                </a:lnTo>
                <a:lnTo>
                  <a:pt x="3858" y="1890"/>
                </a:lnTo>
                <a:lnTo>
                  <a:pt x="3864" y="1890"/>
                </a:lnTo>
                <a:lnTo>
                  <a:pt x="3864" y="1884"/>
                </a:lnTo>
                <a:lnTo>
                  <a:pt x="3864" y="1878"/>
                </a:lnTo>
                <a:lnTo>
                  <a:pt x="3852" y="1860"/>
                </a:lnTo>
                <a:lnTo>
                  <a:pt x="3840" y="1860"/>
                </a:lnTo>
                <a:lnTo>
                  <a:pt x="3834" y="1854"/>
                </a:lnTo>
                <a:lnTo>
                  <a:pt x="3828" y="1854"/>
                </a:lnTo>
                <a:lnTo>
                  <a:pt x="3834" y="1848"/>
                </a:lnTo>
                <a:lnTo>
                  <a:pt x="3840" y="1848"/>
                </a:lnTo>
                <a:lnTo>
                  <a:pt x="3846" y="1848"/>
                </a:lnTo>
                <a:lnTo>
                  <a:pt x="3846" y="1842"/>
                </a:lnTo>
                <a:lnTo>
                  <a:pt x="3852" y="1842"/>
                </a:lnTo>
                <a:lnTo>
                  <a:pt x="3846" y="1842"/>
                </a:lnTo>
                <a:lnTo>
                  <a:pt x="3840" y="1842"/>
                </a:lnTo>
                <a:lnTo>
                  <a:pt x="3840" y="1836"/>
                </a:lnTo>
                <a:lnTo>
                  <a:pt x="3834" y="1836"/>
                </a:lnTo>
                <a:lnTo>
                  <a:pt x="3822" y="1836"/>
                </a:lnTo>
                <a:lnTo>
                  <a:pt x="3810" y="1818"/>
                </a:lnTo>
                <a:lnTo>
                  <a:pt x="3810" y="1812"/>
                </a:lnTo>
                <a:lnTo>
                  <a:pt x="3816" y="1806"/>
                </a:lnTo>
                <a:lnTo>
                  <a:pt x="3816" y="1794"/>
                </a:lnTo>
                <a:lnTo>
                  <a:pt x="3816" y="1788"/>
                </a:lnTo>
                <a:lnTo>
                  <a:pt x="3816" y="1782"/>
                </a:lnTo>
                <a:lnTo>
                  <a:pt x="3822" y="1782"/>
                </a:lnTo>
                <a:lnTo>
                  <a:pt x="3822" y="1776"/>
                </a:lnTo>
                <a:lnTo>
                  <a:pt x="3816" y="1776"/>
                </a:lnTo>
                <a:lnTo>
                  <a:pt x="3810" y="1770"/>
                </a:lnTo>
                <a:lnTo>
                  <a:pt x="3810" y="1752"/>
                </a:lnTo>
                <a:lnTo>
                  <a:pt x="3816" y="1752"/>
                </a:lnTo>
                <a:lnTo>
                  <a:pt x="3810" y="1752"/>
                </a:lnTo>
                <a:lnTo>
                  <a:pt x="3816" y="1752"/>
                </a:lnTo>
                <a:lnTo>
                  <a:pt x="3816" y="1746"/>
                </a:lnTo>
                <a:lnTo>
                  <a:pt x="3774" y="1704"/>
                </a:lnTo>
                <a:lnTo>
                  <a:pt x="3762" y="1680"/>
                </a:lnTo>
                <a:lnTo>
                  <a:pt x="3756" y="1656"/>
                </a:lnTo>
                <a:lnTo>
                  <a:pt x="3750" y="1632"/>
                </a:lnTo>
                <a:lnTo>
                  <a:pt x="3744" y="1596"/>
                </a:lnTo>
                <a:lnTo>
                  <a:pt x="3744" y="1500"/>
                </a:lnTo>
                <a:lnTo>
                  <a:pt x="3744" y="1416"/>
                </a:lnTo>
                <a:lnTo>
                  <a:pt x="3744" y="1296"/>
                </a:lnTo>
                <a:lnTo>
                  <a:pt x="3744" y="1188"/>
                </a:lnTo>
                <a:lnTo>
                  <a:pt x="3738" y="1146"/>
                </a:lnTo>
                <a:lnTo>
                  <a:pt x="3732" y="1134"/>
                </a:lnTo>
                <a:lnTo>
                  <a:pt x="3732" y="1128"/>
                </a:lnTo>
                <a:lnTo>
                  <a:pt x="3726" y="1122"/>
                </a:lnTo>
                <a:lnTo>
                  <a:pt x="3732" y="1122"/>
                </a:lnTo>
                <a:lnTo>
                  <a:pt x="3738" y="1122"/>
                </a:lnTo>
                <a:lnTo>
                  <a:pt x="3738" y="1116"/>
                </a:lnTo>
                <a:lnTo>
                  <a:pt x="3732" y="1116"/>
                </a:lnTo>
                <a:lnTo>
                  <a:pt x="3732" y="1122"/>
                </a:lnTo>
                <a:lnTo>
                  <a:pt x="3732" y="1116"/>
                </a:lnTo>
                <a:lnTo>
                  <a:pt x="3726" y="1116"/>
                </a:lnTo>
                <a:lnTo>
                  <a:pt x="3726" y="1122"/>
                </a:lnTo>
                <a:lnTo>
                  <a:pt x="3720" y="1122"/>
                </a:lnTo>
                <a:lnTo>
                  <a:pt x="3720" y="1128"/>
                </a:lnTo>
                <a:lnTo>
                  <a:pt x="3714" y="1128"/>
                </a:lnTo>
                <a:lnTo>
                  <a:pt x="3714" y="1122"/>
                </a:lnTo>
                <a:lnTo>
                  <a:pt x="3714" y="1116"/>
                </a:lnTo>
                <a:lnTo>
                  <a:pt x="3702" y="1116"/>
                </a:lnTo>
                <a:lnTo>
                  <a:pt x="3702" y="1110"/>
                </a:lnTo>
                <a:lnTo>
                  <a:pt x="3702" y="1116"/>
                </a:lnTo>
                <a:lnTo>
                  <a:pt x="3696" y="1116"/>
                </a:lnTo>
                <a:lnTo>
                  <a:pt x="3690" y="1116"/>
                </a:lnTo>
                <a:lnTo>
                  <a:pt x="3696" y="1122"/>
                </a:lnTo>
                <a:lnTo>
                  <a:pt x="3702" y="1122"/>
                </a:lnTo>
                <a:lnTo>
                  <a:pt x="3696" y="1122"/>
                </a:lnTo>
                <a:lnTo>
                  <a:pt x="3690" y="1122"/>
                </a:lnTo>
                <a:lnTo>
                  <a:pt x="3690" y="1128"/>
                </a:lnTo>
                <a:lnTo>
                  <a:pt x="3684" y="1128"/>
                </a:lnTo>
                <a:lnTo>
                  <a:pt x="3684" y="1122"/>
                </a:lnTo>
                <a:lnTo>
                  <a:pt x="3678" y="1116"/>
                </a:lnTo>
                <a:lnTo>
                  <a:pt x="3678" y="1122"/>
                </a:lnTo>
                <a:lnTo>
                  <a:pt x="3672" y="1122"/>
                </a:lnTo>
                <a:lnTo>
                  <a:pt x="3672" y="1128"/>
                </a:lnTo>
                <a:lnTo>
                  <a:pt x="3672" y="1122"/>
                </a:lnTo>
                <a:lnTo>
                  <a:pt x="3672" y="1116"/>
                </a:lnTo>
                <a:lnTo>
                  <a:pt x="3666" y="1116"/>
                </a:lnTo>
                <a:lnTo>
                  <a:pt x="3666" y="1122"/>
                </a:lnTo>
                <a:lnTo>
                  <a:pt x="3666" y="1128"/>
                </a:lnTo>
                <a:lnTo>
                  <a:pt x="3660" y="1134"/>
                </a:lnTo>
                <a:lnTo>
                  <a:pt x="3648" y="1134"/>
                </a:lnTo>
                <a:lnTo>
                  <a:pt x="3642" y="1134"/>
                </a:lnTo>
                <a:lnTo>
                  <a:pt x="3636" y="1128"/>
                </a:lnTo>
                <a:lnTo>
                  <a:pt x="3630" y="1128"/>
                </a:lnTo>
                <a:lnTo>
                  <a:pt x="3630" y="1122"/>
                </a:lnTo>
                <a:lnTo>
                  <a:pt x="3642" y="1122"/>
                </a:lnTo>
                <a:lnTo>
                  <a:pt x="3648" y="1122"/>
                </a:lnTo>
                <a:lnTo>
                  <a:pt x="3648" y="1116"/>
                </a:lnTo>
                <a:lnTo>
                  <a:pt x="3642" y="1116"/>
                </a:lnTo>
                <a:lnTo>
                  <a:pt x="3636" y="1116"/>
                </a:lnTo>
                <a:lnTo>
                  <a:pt x="3624" y="1116"/>
                </a:lnTo>
                <a:lnTo>
                  <a:pt x="3624" y="1110"/>
                </a:lnTo>
                <a:lnTo>
                  <a:pt x="3618" y="1110"/>
                </a:lnTo>
                <a:lnTo>
                  <a:pt x="3612" y="1104"/>
                </a:lnTo>
                <a:lnTo>
                  <a:pt x="3618" y="1104"/>
                </a:lnTo>
                <a:lnTo>
                  <a:pt x="3624" y="1104"/>
                </a:lnTo>
                <a:lnTo>
                  <a:pt x="3618" y="1104"/>
                </a:lnTo>
                <a:lnTo>
                  <a:pt x="3612" y="1098"/>
                </a:lnTo>
                <a:lnTo>
                  <a:pt x="3618" y="1098"/>
                </a:lnTo>
                <a:lnTo>
                  <a:pt x="3624" y="1098"/>
                </a:lnTo>
                <a:lnTo>
                  <a:pt x="3624" y="1092"/>
                </a:lnTo>
                <a:lnTo>
                  <a:pt x="3618" y="1092"/>
                </a:lnTo>
                <a:lnTo>
                  <a:pt x="3612" y="1098"/>
                </a:lnTo>
                <a:lnTo>
                  <a:pt x="3606" y="1104"/>
                </a:lnTo>
                <a:lnTo>
                  <a:pt x="3606" y="1098"/>
                </a:lnTo>
                <a:lnTo>
                  <a:pt x="3606" y="1104"/>
                </a:lnTo>
                <a:lnTo>
                  <a:pt x="3600" y="1104"/>
                </a:lnTo>
                <a:lnTo>
                  <a:pt x="3600" y="1098"/>
                </a:lnTo>
                <a:lnTo>
                  <a:pt x="3606" y="1098"/>
                </a:lnTo>
                <a:lnTo>
                  <a:pt x="3600" y="1098"/>
                </a:lnTo>
                <a:lnTo>
                  <a:pt x="3594" y="1098"/>
                </a:lnTo>
                <a:lnTo>
                  <a:pt x="3594" y="1104"/>
                </a:lnTo>
                <a:lnTo>
                  <a:pt x="3588" y="1104"/>
                </a:lnTo>
                <a:lnTo>
                  <a:pt x="3582" y="1104"/>
                </a:lnTo>
                <a:lnTo>
                  <a:pt x="3588" y="1098"/>
                </a:lnTo>
                <a:lnTo>
                  <a:pt x="3594" y="1092"/>
                </a:lnTo>
                <a:lnTo>
                  <a:pt x="3588" y="1092"/>
                </a:lnTo>
                <a:lnTo>
                  <a:pt x="3588" y="1098"/>
                </a:lnTo>
                <a:lnTo>
                  <a:pt x="3582" y="1098"/>
                </a:lnTo>
                <a:lnTo>
                  <a:pt x="3582" y="1092"/>
                </a:lnTo>
                <a:lnTo>
                  <a:pt x="3588" y="1092"/>
                </a:lnTo>
                <a:lnTo>
                  <a:pt x="3588" y="1086"/>
                </a:lnTo>
                <a:lnTo>
                  <a:pt x="3594" y="1086"/>
                </a:lnTo>
                <a:lnTo>
                  <a:pt x="3588" y="1086"/>
                </a:lnTo>
                <a:lnTo>
                  <a:pt x="3588" y="1080"/>
                </a:lnTo>
                <a:lnTo>
                  <a:pt x="3582" y="1080"/>
                </a:lnTo>
                <a:lnTo>
                  <a:pt x="3576" y="1086"/>
                </a:lnTo>
                <a:lnTo>
                  <a:pt x="3576" y="1080"/>
                </a:lnTo>
                <a:lnTo>
                  <a:pt x="3570" y="1080"/>
                </a:lnTo>
                <a:lnTo>
                  <a:pt x="3570" y="1086"/>
                </a:lnTo>
                <a:lnTo>
                  <a:pt x="3564" y="1086"/>
                </a:lnTo>
                <a:lnTo>
                  <a:pt x="3558" y="1086"/>
                </a:lnTo>
                <a:lnTo>
                  <a:pt x="3570" y="1086"/>
                </a:lnTo>
                <a:lnTo>
                  <a:pt x="3564" y="1086"/>
                </a:lnTo>
                <a:lnTo>
                  <a:pt x="3558" y="1086"/>
                </a:lnTo>
                <a:lnTo>
                  <a:pt x="3564" y="1080"/>
                </a:lnTo>
                <a:lnTo>
                  <a:pt x="3570" y="1074"/>
                </a:lnTo>
                <a:lnTo>
                  <a:pt x="3564" y="1074"/>
                </a:lnTo>
                <a:lnTo>
                  <a:pt x="3558" y="1080"/>
                </a:lnTo>
                <a:lnTo>
                  <a:pt x="3552" y="1080"/>
                </a:lnTo>
                <a:lnTo>
                  <a:pt x="3546" y="1080"/>
                </a:lnTo>
                <a:lnTo>
                  <a:pt x="3540" y="1074"/>
                </a:lnTo>
                <a:lnTo>
                  <a:pt x="3546" y="1074"/>
                </a:lnTo>
                <a:lnTo>
                  <a:pt x="3552" y="1074"/>
                </a:lnTo>
                <a:lnTo>
                  <a:pt x="3546" y="1074"/>
                </a:lnTo>
                <a:lnTo>
                  <a:pt x="3546" y="1068"/>
                </a:lnTo>
                <a:lnTo>
                  <a:pt x="3540" y="1068"/>
                </a:lnTo>
                <a:lnTo>
                  <a:pt x="3540" y="1074"/>
                </a:lnTo>
                <a:lnTo>
                  <a:pt x="3546" y="1080"/>
                </a:lnTo>
                <a:lnTo>
                  <a:pt x="3540" y="1080"/>
                </a:lnTo>
                <a:lnTo>
                  <a:pt x="3540" y="1074"/>
                </a:lnTo>
                <a:lnTo>
                  <a:pt x="3534" y="1074"/>
                </a:lnTo>
                <a:lnTo>
                  <a:pt x="3540" y="1074"/>
                </a:lnTo>
                <a:lnTo>
                  <a:pt x="3540" y="1068"/>
                </a:lnTo>
                <a:lnTo>
                  <a:pt x="3534" y="1068"/>
                </a:lnTo>
                <a:lnTo>
                  <a:pt x="3540" y="1068"/>
                </a:lnTo>
                <a:lnTo>
                  <a:pt x="3534" y="1062"/>
                </a:lnTo>
                <a:lnTo>
                  <a:pt x="3534" y="1068"/>
                </a:lnTo>
                <a:lnTo>
                  <a:pt x="3528" y="1068"/>
                </a:lnTo>
                <a:lnTo>
                  <a:pt x="3534" y="1062"/>
                </a:lnTo>
                <a:lnTo>
                  <a:pt x="3534" y="1056"/>
                </a:lnTo>
                <a:lnTo>
                  <a:pt x="3528" y="1056"/>
                </a:lnTo>
                <a:lnTo>
                  <a:pt x="3522" y="1062"/>
                </a:lnTo>
                <a:lnTo>
                  <a:pt x="3516" y="1062"/>
                </a:lnTo>
                <a:lnTo>
                  <a:pt x="3516" y="1056"/>
                </a:lnTo>
                <a:lnTo>
                  <a:pt x="3516" y="1050"/>
                </a:lnTo>
                <a:lnTo>
                  <a:pt x="3510" y="1056"/>
                </a:lnTo>
                <a:lnTo>
                  <a:pt x="3516" y="1056"/>
                </a:lnTo>
                <a:lnTo>
                  <a:pt x="3516" y="1062"/>
                </a:lnTo>
                <a:lnTo>
                  <a:pt x="3504" y="1062"/>
                </a:lnTo>
                <a:lnTo>
                  <a:pt x="3492" y="1050"/>
                </a:lnTo>
                <a:lnTo>
                  <a:pt x="3486" y="1044"/>
                </a:lnTo>
                <a:lnTo>
                  <a:pt x="3486" y="1038"/>
                </a:lnTo>
                <a:lnTo>
                  <a:pt x="3480" y="1038"/>
                </a:lnTo>
                <a:lnTo>
                  <a:pt x="3480" y="1032"/>
                </a:lnTo>
                <a:lnTo>
                  <a:pt x="3474" y="1026"/>
                </a:lnTo>
                <a:lnTo>
                  <a:pt x="3468" y="1020"/>
                </a:lnTo>
                <a:lnTo>
                  <a:pt x="3456" y="1020"/>
                </a:lnTo>
                <a:lnTo>
                  <a:pt x="3450" y="1020"/>
                </a:lnTo>
                <a:lnTo>
                  <a:pt x="3450" y="1014"/>
                </a:lnTo>
                <a:lnTo>
                  <a:pt x="3444" y="1008"/>
                </a:lnTo>
                <a:lnTo>
                  <a:pt x="3444" y="1002"/>
                </a:lnTo>
                <a:lnTo>
                  <a:pt x="3444" y="1008"/>
                </a:lnTo>
                <a:lnTo>
                  <a:pt x="3444" y="1002"/>
                </a:lnTo>
                <a:lnTo>
                  <a:pt x="3438" y="1002"/>
                </a:lnTo>
                <a:lnTo>
                  <a:pt x="3438" y="1008"/>
                </a:lnTo>
                <a:lnTo>
                  <a:pt x="3438" y="1014"/>
                </a:lnTo>
                <a:lnTo>
                  <a:pt x="3432" y="1008"/>
                </a:lnTo>
                <a:lnTo>
                  <a:pt x="3438" y="1008"/>
                </a:lnTo>
                <a:lnTo>
                  <a:pt x="3438" y="1002"/>
                </a:lnTo>
                <a:lnTo>
                  <a:pt x="3444" y="1002"/>
                </a:lnTo>
                <a:lnTo>
                  <a:pt x="3438" y="1002"/>
                </a:lnTo>
                <a:lnTo>
                  <a:pt x="3438" y="996"/>
                </a:lnTo>
                <a:lnTo>
                  <a:pt x="3432" y="1002"/>
                </a:lnTo>
                <a:lnTo>
                  <a:pt x="3426" y="1002"/>
                </a:lnTo>
                <a:lnTo>
                  <a:pt x="3426" y="990"/>
                </a:lnTo>
                <a:lnTo>
                  <a:pt x="3408" y="990"/>
                </a:lnTo>
                <a:lnTo>
                  <a:pt x="3402" y="984"/>
                </a:lnTo>
                <a:lnTo>
                  <a:pt x="3396" y="984"/>
                </a:lnTo>
                <a:lnTo>
                  <a:pt x="3390" y="990"/>
                </a:lnTo>
                <a:lnTo>
                  <a:pt x="3390" y="996"/>
                </a:lnTo>
                <a:lnTo>
                  <a:pt x="3390" y="1002"/>
                </a:lnTo>
                <a:lnTo>
                  <a:pt x="3390" y="1008"/>
                </a:lnTo>
                <a:lnTo>
                  <a:pt x="3384" y="1008"/>
                </a:lnTo>
                <a:lnTo>
                  <a:pt x="3378" y="1002"/>
                </a:lnTo>
                <a:lnTo>
                  <a:pt x="3372" y="1008"/>
                </a:lnTo>
                <a:lnTo>
                  <a:pt x="3378" y="1008"/>
                </a:lnTo>
                <a:lnTo>
                  <a:pt x="3384" y="1008"/>
                </a:lnTo>
                <a:lnTo>
                  <a:pt x="3384" y="1014"/>
                </a:lnTo>
                <a:lnTo>
                  <a:pt x="3372" y="1020"/>
                </a:lnTo>
                <a:lnTo>
                  <a:pt x="3366" y="1020"/>
                </a:lnTo>
                <a:lnTo>
                  <a:pt x="3354" y="1020"/>
                </a:lnTo>
                <a:lnTo>
                  <a:pt x="3348" y="1020"/>
                </a:lnTo>
                <a:lnTo>
                  <a:pt x="3342" y="1020"/>
                </a:lnTo>
                <a:lnTo>
                  <a:pt x="3342" y="1014"/>
                </a:lnTo>
                <a:lnTo>
                  <a:pt x="3330" y="1008"/>
                </a:lnTo>
                <a:lnTo>
                  <a:pt x="3324" y="1008"/>
                </a:lnTo>
                <a:lnTo>
                  <a:pt x="3318" y="1014"/>
                </a:lnTo>
                <a:lnTo>
                  <a:pt x="3318" y="1008"/>
                </a:lnTo>
                <a:lnTo>
                  <a:pt x="3312" y="1008"/>
                </a:lnTo>
                <a:lnTo>
                  <a:pt x="3312" y="1014"/>
                </a:lnTo>
                <a:lnTo>
                  <a:pt x="3306" y="1014"/>
                </a:lnTo>
                <a:lnTo>
                  <a:pt x="3306" y="1008"/>
                </a:lnTo>
                <a:lnTo>
                  <a:pt x="3300" y="1008"/>
                </a:lnTo>
                <a:lnTo>
                  <a:pt x="3306" y="1008"/>
                </a:lnTo>
                <a:lnTo>
                  <a:pt x="3306" y="1002"/>
                </a:lnTo>
                <a:lnTo>
                  <a:pt x="3300" y="1002"/>
                </a:lnTo>
                <a:lnTo>
                  <a:pt x="3294" y="996"/>
                </a:lnTo>
                <a:lnTo>
                  <a:pt x="3288" y="990"/>
                </a:lnTo>
                <a:lnTo>
                  <a:pt x="3276" y="996"/>
                </a:lnTo>
                <a:lnTo>
                  <a:pt x="3264" y="1002"/>
                </a:lnTo>
                <a:lnTo>
                  <a:pt x="3252" y="1002"/>
                </a:lnTo>
                <a:lnTo>
                  <a:pt x="3240" y="1008"/>
                </a:lnTo>
                <a:lnTo>
                  <a:pt x="3234" y="1014"/>
                </a:lnTo>
                <a:lnTo>
                  <a:pt x="3240" y="1014"/>
                </a:lnTo>
                <a:lnTo>
                  <a:pt x="3240" y="1020"/>
                </a:lnTo>
                <a:lnTo>
                  <a:pt x="3240" y="1026"/>
                </a:lnTo>
                <a:lnTo>
                  <a:pt x="3216" y="1026"/>
                </a:lnTo>
                <a:lnTo>
                  <a:pt x="3210" y="1026"/>
                </a:lnTo>
                <a:lnTo>
                  <a:pt x="3204" y="1020"/>
                </a:lnTo>
                <a:lnTo>
                  <a:pt x="3198" y="1014"/>
                </a:lnTo>
                <a:lnTo>
                  <a:pt x="3192" y="1008"/>
                </a:lnTo>
                <a:lnTo>
                  <a:pt x="3180" y="1014"/>
                </a:lnTo>
                <a:lnTo>
                  <a:pt x="3174" y="1020"/>
                </a:lnTo>
                <a:lnTo>
                  <a:pt x="3162" y="1020"/>
                </a:lnTo>
                <a:lnTo>
                  <a:pt x="3132" y="1026"/>
                </a:lnTo>
                <a:lnTo>
                  <a:pt x="3126" y="1026"/>
                </a:lnTo>
                <a:lnTo>
                  <a:pt x="3120" y="1032"/>
                </a:lnTo>
                <a:lnTo>
                  <a:pt x="3120" y="1044"/>
                </a:lnTo>
                <a:lnTo>
                  <a:pt x="3120" y="1050"/>
                </a:lnTo>
                <a:lnTo>
                  <a:pt x="3120" y="1056"/>
                </a:lnTo>
                <a:lnTo>
                  <a:pt x="3108" y="1056"/>
                </a:lnTo>
                <a:lnTo>
                  <a:pt x="3102" y="1056"/>
                </a:lnTo>
                <a:lnTo>
                  <a:pt x="3090" y="1050"/>
                </a:lnTo>
                <a:lnTo>
                  <a:pt x="3084" y="1050"/>
                </a:lnTo>
                <a:lnTo>
                  <a:pt x="3084" y="1068"/>
                </a:lnTo>
                <a:lnTo>
                  <a:pt x="3078" y="1068"/>
                </a:lnTo>
                <a:lnTo>
                  <a:pt x="3072" y="1080"/>
                </a:lnTo>
                <a:lnTo>
                  <a:pt x="3066" y="1080"/>
                </a:lnTo>
                <a:lnTo>
                  <a:pt x="3054" y="1062"/>
                </a:lnTo>
                <a:lnTo>
                  <a:pt x="3048" y="1044"/>
                </a:lnTo>
                <a:lnTo>
                  <a:pt x="3030" y="1038"/>
                </a:lnTo>
                <a:lnTo>
                  <a:pt x="3006" y="1032"/>
                </a:lnTo>
                <a:lnTo>
                  <a:pt x="2994" y="1026"/>
                </a:lnTo>
                <a:lnTo>
                  <a:pt x="2994" y="1020"/>
                </a:lnTo>
                <a:lnTo>
                  <a:pt x="3000" y="1014"/>
                </a:lnTo>
                <a:lnTo>
                  <a:pt x="3000" y="1008"/>
                </a:lnTo>
                <a:lnTo>
                  <a:pt x="2994" y="1002"/>
                </a:lnTo>
                <a:lnTo>
                  <a:pt x="2982" y="996"/>
                </a:lnTo>
                <a:lnTo>
                  <a:pt x="2976" y="996"/>
                </a:lnTo>
                <a:lnTo>
                  <a:pt x="2976" y="1014"/>
                </a:lnTo>
                <a:lnTo>
                  <a:pt x="2964" y="1026"/>
                </a:lnTo>
                <a:lnTo>
                  <a:pt x="2952" y="1032"/>
                </a:lnTo>
                <a:lnTo>
                  <a:pt x="2946" y="1032"/>
                </a:lnTo>
                <a:lnTo>
                  <a:pt x="2946" y="1026"/>
                </a:lnTo>
                <a:lnTo>
                  <a:pt x="2946" y="1020"/>
                </a:lnTo>
                <a:lnTo>
                  <a:pt x="2940" y="1014"/>
                </a:lnTo>
                <a:lnTo>
                  <a:pt x="2934" y="1008"/>
                </a:lnTo>
                <a:lnTo>
                  <a:pt x="2928" y="1008"/>
                </a:lnTo>
                <a:lnTo>
                  <a:pt x="2928" y="1014"/>
                </a:lnTo>
                <a:lnTo>
                  <a:pt x="2928" y="1020"/>
                </a:lnTo>
                <a:lnTo>
                  <a:pt x="2922" y="1020"/>
                </a:lnTo>
                <a:lnTo>
                  <a:pt x="2910" y="1008"/>
                </a:lnTo>
                <a:lnTo>
                  <a:pt x="2910" y="990"/>
                </a:lnTo>
                <a:lnTo>
                  <a:pt x="2910" y="978"/>
                </a:lnTo>
                <a:lnTo>
                  <a:pt x="2904" y="978"/>
                </a:lnTo>
                <a:lnTo>
                  <a:pt x="2898" y="984"/>
                </a:lnTo>
                <a:lnTo>
                  <a:pt x="2892" y="984"/>
                </a:lnTo>
                <a:lnTo>
                  <a:pt x="2892" y="990"/>
                </a:lnTo>
                <a:lnTo>
                  <a:pt x="2886" y="990"/>
                </a:lnTo>
                <a:lnTo>
                  <a:pt x="2886" y="984"/>
                </a:lnTo>
                <a:lnTo>
                  <a:pt x="2886" y="978"/>
                </a:lnTo>
                <a:lnTo>
                  <a:pt x="2886" y="984"/>
                </a:lnTo>
                <a:lnTo>
                  <a:pt x="2880" y="984"/>
                </a:lnTo>
                <a:lnTo>
                  <a:pt x="2880" y="990"/>
                </a:lnTo>
                <a:lnTo>
                  <a:pt x="2886" y="996"/>
                </a:lnTo>
                <a:lnTo>
                  <a:pt x="2886" y="1002"/>
                </a:lnTo>
                <a:lnTo>
                  <a:pt x="2886" y="1008"/>
                </a:lnTo>
                <a:lnTo>
                  <a:pt x="2874" y="1020"/>
                </a:lnTo>
                <a:lnTo>
                  <a:pt x="2862" y="1020"/>
                </a:lnTo>
                <a:lnTo>
                  <a:pt x="2856" y="1020"/>
                </a:lnTo>
                <a:lnTo>
                  <a:pt x="2856" y="1038"/>
                </a:lnTo>
                <a:lnTo>
                  <a:pt x="2856" y="1050"/>
                </a:lnTo>
                <a:lnTo>
                  <a:pt x="2850" y="1062"/>
                </a:lnTo>
                <a:lnTo>
                  <a:pt x="2838" y="1062"/>
                </a:lnTo>
                <a:lnTo>
                  <a:pt x="2832" y="1062"/>
                </a:lnTo>
                <a:lnTo>
                  <a:pt x="2826" y="1056"/>
                </a:lnTo>
                <a:lnTo>
                  <a:pt x="2820" y="1044"/>
                </a:lnTo>
                <a:lnTo>
                  <a:pt x="2820" y="1032"/>
                </a:lnTo>
                <a:lnTo>
                  <a:pt x="2826" y="1014"/>
                </a:lnTo>
                <a:lnTo>
                  <a:pt x="2832" y="1002"/>
                </a:lnTo>
                <a:lnTo>
                  <a:pt x="2820" y="996"/>
                </a:lnTo>
                <a:lnTo>
                  <a:pt x="2814" y="996"/>
                </a:lnTo>
                <a:lnTo>
                  <a:pt x="2808" y="996"/>
                </a:lnTo>
                <a:lnTo>
                  <a:pt x="2808" y="1008"/>
                </a:lnTo>
                <a:lnTo>
                  <a:pt x="2802" y="1014"/>
                </a:lnTo>
                <a:lnTo>
                  <a:pt x="2796" y="1002"/>
                </a:lnTo>
                <a:lnTo>
                  <a:pt x="2790" y="1002"/>
                </a:lnTo>
                <a:lnTo>
                  <a:pt x="2790" y="1008"/>
                </a:lnTo>
                <a:lnTo>
                  <a:pt x="2790" y="1014"/>
                </a:lnTo>
                <a:lnTo>
                  <a:pt x="2784" y="1020"/>
                </a:lnTo>
                <a:lnTo>
                  <a:pt x="2784" y="1014"/>
                </a:lnTo>
                <a:lnTo>
                  <a:pt x="2778" y="1008"/>
                </a:lnTo>
                <a:lnTo>
                  <a:pt x="2784" y="1008"/>
                </a:lnTo>
                <a:lnTo>
                  <a:pt x="2790" y="1008"/>
                </a:lnTo>
                <a:lnTo>
                  <a:pt x="2790" y="1002"/>
                </a:lnTo>
                <a:lnTo>
                  <a:pt x="2784" y="1002"/>
                </a:lnTo>
                <a:lnTo>
                  <a:pt x="2784" y="1008"/>
                </a:lnTo>
                <a:lnTo>
                  <a:pt x="2778" y="1014"/>
                </a:lnTo>
                <a:lnTo>
                  <a:pt x="2772" y="1026"/>
                </a:lnTo>
                <a:lnTo>
                  <a:pt x="2760" y="1032"/>
                </a:lnTo>
                <a:lnTo>
                  <a:pt x="2754" y="1032"/>
                </a:lnTo>
                <a:lnTo>
                  <a:pt x="2748" y="1026"/>
                </a:lnTo>
                <a:lnTo>
                  <a:pt x="2748" y="996"/>
                </a:lnTo>
                <a:lnTo>
                  <a:pt x="2736" y="990"/>
                </a:lnTo>
                <a:lnTo>
                  <a:pt x="2724" y="996"/>
                </a:lnTo>
                <a:lnTo>
                  <a:pt x="2718" y="996"/>
                </a:lnTo>
                <a:lnTo>
                  <a:pt x="2712" y="996"/>
                </a:lnTo>
                <a:lnTo>
                  <a:pt x="2706" y="990"/>
                </a:lnTo>
                <a:lnTo>
                  <a:pt x="2706" y="984"/>
                </a:lnTo>
                <a:lnTo>
                  <a:pt x="2706" y="978"/>
                </a:lnTo>
                <a:lnTo>
                  <a:pt x="2700" y="966"/>
                </a:lnTo>
                <a:lnTo>
                  <a:pt x="2688" y="966"/>
                </a:lnTo>
                <a:lnTo>
                  <a:pt x="2682" y="972"/>
                </a:lnTo>
                <a:lnTo>
                  <a:pt x="2652" y="990"/>
                </a:lnTo>
                <a:lnTo>
                  <a:pt x="2640" y="1002"/>
                </a:lnTo>
                <a:lnTo>
                  <a:pt x="2628" y="1008"/>
                </a:lnTo>
                <a:lnTo>
                  <a:pt x="2610" y="1014"/>
                </a:lnTo>
                <a:lnTo>
                  <a:pt x="2604" y="1008"/>
                </a:lnTo>
                <a:lnTo>
                  <a:pt x="2598" y="1002"/>
                </a:lnTo>
                <a:lnTo>
                  <a:pt x="2592" y="990"/>
                </a:lnTo>
                <a:lnTo>
                  <a:pt x="2604" y="990"/>
                </a:lnTo>
                <a:lnTo>
                  <a:pt x="2604" y="984"/>
                </a:lnTo>
                <a:lnTo>
                  <a:pt x="2604" y="978"/>
                </a:lnTo>
                <a:lnTo>
                  <a:pt x="2598" y="978"/>
                </a:lnTo>
                <a:lnTo>
                  <a:pt x="2604" y="978"/>
                </a:lnTo>
                <a:lnTo>
                  <a:pt x="2604" y="966"/>
                </a:lnTo>
                <a:lnTo>
                  <a:pt x="2604" y="960"/>
                </a:lnTo>
                <a:lnTo>
                  <a:pt x="2610" y="960"/>
                </a:lnTo>
                <a:lnTo>
                  <a:pt x="2604" y="960"/>
                </a:lnTo>
                <a:lnTo>
                  <a:pt x="2598" y="960"/>
                </a:lnTo>
                <a:lnTo>
                  <a:pt x="2598" y="954"/>
                </a:lnTo>
                <a:lnTo>
                  <a:pt x="2598" y="960"/>
                </a:lnTo>
                <a:lnTo>
                  <a:pt x="2592" y="960"/>
                </a:lnTo>
                <a:lnTo>
                  <a:pt x="2586" y="960"/>
                </a:lnTo>
                <a:lnTo>
                  <a:pt x="2580" y="960"/>
                </a:lnTo>
                <a:lnTo>
                  <a:pt x="2574" y="960"/>
                </a:lnTo>
                <a:lnTo>
                  <a:pt x="2568" y="954"/>
                </a:lnTo>
                <a:lnTo>
                  <a:pt x="2562" y="948"/>
                </a:lnTo>
                <a:lnTo>
                  <a:pt x="2562" y="942"/>
                </a:lnTo>
                <a:lnTo>
                  <a:pt x="2568" y="942"/>
                </a:lnTo>
                <a:lnTo>
                  <a:pt x="2562" y="942"/>
                </a:lnTo>
                <a:lnTo>
                  <a:pt x="2562" y="936"/>
                </a:lnTo>
                <a:lnTo>
                  <a:pt x="2556" y="936"/>
                </a:lnTo>
                <a:lnTo>
                  <a:pt x="2556" y="930"/>
                </a:lnTo>
                <a:lnTo>
                  <a:pt x="2562" y="924"/>
                </a:lnTo>
                <a:lnTo>
                  <a:pt x="2562" y="918"/>
                </a:lnTo>
                <a:lnTo>
                  <a:pt x="2562" y="912"/>
                </a:lnTo>
                <a:lnTo>
                  <a:pt x="2562" y="906"/>
                </a:lnTo>
                <a:lnTo>
                  <a:pt x="2562" y="900"/>
                </a:lnTo>
                <a:lnTo>
                  <a:pt x="2556" y="900"/>
                </a:lnTo>
                <a:lnTo>
                  <a:pt x="2550" y="906"/>
                </a:lnTo>
                <a:lnTo>
                  <a:pt x="2544" y="912"/>
                </a:lnTo>
                <a:lnTo>
                  <a:pt x="2532" y="918"/>
                </a:lnTo>
                <a:lnTo>
                  <a:pt x="2526" y="912"/>
                </a:lnTo>
                <a:lnTo>
                  <a:pt x="2514" y="906"/>
                </a:lnTo>
                <a:lnTo>
                  <a:pt x="2502" y="906"/>
                </a:lnTo>
                <a:lnTo>
                  <a:pt x="2484" y="906"/>
                </a:lnTo>
                <a:lnTo>
                  <a:pt x="2478" y="906"/>
                </a:lnTo>
                <a:lnTo>
                  <a:pt x="2466" y="924"/>
                </a:lnTo>
                <a:lnTo>
                  <a:pt x="2460" y="930"/>
                </a:lnTo>
                <a:lnTo>
                  <a:pt x="2448" y="930"/>
                </a:lnTo>
                <a:lnTo>
                  <a:pt x="2436" y="924"/>
                </a:lnTo>
                <a:lnTo>
                  <a:pt x="2430" y="912"/>
                </a:lnTo>
                <a:lnTo>
                  <a:pt x="2430" y="906"/>
                </a:lnTo>
                <a:lnTo>
                  <a:pt x="2424" y="894"/>
                </a:lnTo>
                <a:lnTo>
                  <a:pt x="2412" y="894"/>
                </a:lnTo>
                <a:lnTo>
                  <a:pt x="2400" y="894"/>
                </a:lnTo>
                <a:lnTo>
                  <a:pt x="2394" y="906"/>
                </a:lnTo>
                <a:lnTo>
                  <a:pt x="2388" y="906"/>
                </a:lnTo>
                <a:lnTo>
                  <a:pt x="2358" y="900"/>
                </a:lnTo>
                <a:lnTo>
                  <a:pt x="2340" y="894"/>
                </a:lnTo>
                <a:lnTo>
                  <a:pt x="2328" y="888"/>
                </a:lnTo>
                <a:lnTo>
                  <a:pt x="2316" y="882"/>
                </a:lnTo>
                <a:lnTo>
                  <a:pt x="2304" y="876"/>
                </a:lnTo>
                <a:lnTo>
                  <a:pt x="2280" y="876"/>
                </a:lnTo>
                <a:lnTo>
                  <a:pt x="2262" y="876"/>
                </a:lnTo>
                <a:lnTo>
                  <a:pt x="2250" y="870"/>
                </a:lnTo>
                <a:lnTo>
                  <a:pt x="2244" y="858"/>
                </a:lnTo>
                <a:lnTo>
                  <a:pt x="2238" y="840"/>
                </a:lnTo>
                <a:lnTo>
                  <a:pt x="2226" y="816"/>
                </a:lnTo>
                <a:lnTo>
                  <a:pt x="2214" y="798"/>
                </a:lnTo>
                <a:lnTo>
                  <a:pt x="2202" y="780"/>
                </a:lnTo>
                <a:lnTo>
                  <a:pt x="2196" y="780"/>
                </a:lnTo>
                <a:lnTo>
                  <a:pt x="2190" y="786"/>
                </a:lnTo>
                <a:lnTo>
                  <a:pt x="2190" y="792"/>
                </a:lnTo>
                <a:lnTo>
                  <a:pt x="2190" y="798"/>
                </a:lnTo>
                <a:lnTo>
                  <a:pt x="2190" y="804"/>
                </a:lnTo>
                <a:lnTo>
                  <a:pt x="2190" y="810"/>
                </a:lnTo>
                <a:lnTo>
                  <a:pt x="2184" y="816"/>
                </a:lnTo>
                <a:lnTo>
                  <a:pt x="2184" y="810"/>
                </a:lnTo>
                <a:lnTo>
                  <a:pt x="2184" y="804"/>
                </a:lnTo>
                <a:lnTo>
                  <a:pt x="2184" y="810"/>
                </a:lnTo>
                <a:lnTo>
                  <a:pt x="2178" y="816"/>
                </a:lnTo>
                <a:lnTo>
                  <a:pt x="2178" y="810"/>
                </a:lnTo>
                <a:lnTo>
                  <a:pt x="2178" y="804"/>
                </a:lnTo>
                <a:lnTo>
                  <a:pt x="2172" y="804"/>
                </a:lnTo>
                <a:lnTo>
                  <a:pt x="2172" y="810"/>
                </a:lnTo>
                <a:lnTo>
                  <a:pt x="2172" y="804"/>
                </a:lnTo>
                <a:lnTo>
                  <a:pt x="2166" y="804"/>
                </a:lnTo>
                <a:lnTo>
                  <a:pt x="2166" y="798"/>
                </a:lnTo>
                <a:lnTo>
                  <a:pt x="2160" y="798"/>
                </a:lnTo>
                <a:lnTo>
                  <a:pt x="2154" y="798"/>
                </a:lnTo>
                <a:lnTo>
                  <a:pt x="2148" y="792"/>
                </a:lnTo>
                <a:lnTo>
                  <a:pt x="2136" y="792"/>
                </a:lnTo>
                <a:lnTo>
                  <a:pt x="2136" y="810"/>
                </a:lnTo>
                <a:lnTo>
                  <a:pt x="2124" y="816"/>
                </a:lnTo>
                <a:lnTo>
                  <a:pt x="2112" y="810"/>
                </a:lnTo>
                <a:lnTo>
                  <a:pt x="2076" y="774"/>
                </a:lnTo>
                <a:lnTo>
                  <a:pt x="2052" y="738"/>
                </a:lnTo>
                <a:lnTo>
                  <a:pt x="2040" y="732"/>
                </a:lnTo>
                <a:lnTo>
                  <a:pt x="2034" y="732"/>
                </a:lnTo>
                <a:lnTo>
                  <a:pt x="2028" y="738"/>
                </a:lnTo>
                <a:lnTo>
                  <a:pt x="2022" y="738"/>
                </a:lnTo>
                <a:lnTo>
                  <a:pt x="2022" y="726"/>
                </a:lnTo>
                <a:lnTo>
                  <a:pt x="2022" y="654"/>
                </a:lnTo>
                <a:lnTo>
                  <a:pt x="2028" y="576"/>
                </a:lnTo>
                <a:lnTo>
                  <a:pt x="2028" y="504"/>
                </a:lnTo>
                <a:lnTo>
                  <a:pt x="2034" y="432"/>
                </a:lnTo>
                <a:lnTo>
                  <a:pt x="2034" y="342"/>
                </a:lnTo>
                <a:lnTo>
                  <a:pt x="2040" y="252"/>
                </a:lnTo>
                <a:lnTo>
                  <a:pt x="2046" y="168"/>
                </a:lnTo>
                <a:lnTo>
                  <a:pt x="2052" y="72"/>
                </a:lnTo>
                <a:lnTo>
                  <a:pt x="2052" y="60"/>
                </a:lnTo>
                <a:lnTo>
                  <a:pt x="2022" y="54"/>
                </a:lnTo>
                <a:lnTo>
                  <a:pt x="1956" y="54"/>
                </a:lnTo>
                <a:lnTo>
                  <a:pt x="1848" y="48"/>
                </a:lnTo>
                <a:lnTo>
                  <a:pt x="1818" y="48"/>
                </a:lnTo>
                <a:lnTo>
                  <a:pt x="1740" y="42"/>
                </a:lnTo>
                <a:lnTo>
                  <a:pt x="1572" y="30"/>
                </a:lnTo>
                <a:lnTo>
                  <a:pt x="1398" y="18"/>
                </a:lnTo>
                <a:lnTo>
                  <a:pt x="1296" y="12"/>
                </a:lnTo>
                <a:lnTo>
                  <a:pt x="1290" y="12"/>
                </a:lnTo>
                <a:lnTo>
                  <a:pt x="1284" y="6"/>
                </a:lnTo>
                <a:lnTo>
                  <a:pt x="1260" y="6"/>
                </a:lnTo>
                <a:lnTo>
                  <a:pt x="1236" y="6"/>
                </a:lnTo>
                <a:lnTo>
                  <a:pt x="1224" y="6"/>
                </a:lnTo>
                <a:lnTo>
                  <a:pt x="1218" y="0"/>
                </a:lnTo>
                <a:lnTo>
                  <a:pt x="1206" y="0"/>
                </a:lnTo>
                <a:lnTo>
                  <a:pt x="1200" y="0"/>
                </a:lnTo>
                <a:lnTo>
                  <a:pt x="1194" y="48"/>
                </a:lnTo>
                <a:lnTo>
                  <a:pt x="1194" y="102"/>
                </a:lnTo>
                <a:lnTo>
                  <a:pt x="1188" y="138"/>
                </a:lnTo>
                <a:lnTo>
                  <a:pt x="1182" y="210"/>
                </a:lnTo>
                <a:lnTo>
                  <a:pt x="1176" y="324"/>
                </a:lnTo>
                <a:lnTo>
                  <a:pt x="1170" y="330"/>
                </a:lnTo>
                <a:lnTo>
                  <a:pt x="1164" y="408"/>
                </a:lnTo>
                <a:lnTo>
                  <a:pt x="1164" y="480"/>
                </a:lnTo>
                <a:lnTo>
                  <a:pt x="1146" y="624"/>
                </a:lnTo>
                <a:lnTo>
                  <a:pt x="1134" y="768"/>
                </a:lnTo>
                <a:lnTo>
                  <a:pt x="1128" y="840"/>
                </a:lnTo>
                <a:lnTo>
                  <a:pt x="1128" y="912"/>
                </a:lnTo>
                <a:lnTo>
                  <a:pt x="1122" y="918"/>
                </a:lnTo>
                <a:lnTo>
                  <a:pt x="1116" y="1008"/>
                </a:lnTo>
                <a:lnTo>
                  <a:pt x="1098" y="1158"/>
                </a:lnTo>
                <a:lnTo>
                  <a:pt x="1080" y="1380"/>
                </a:lnTo>
                <a:lnTo>
                  <a:pt x="1074" y="1416"/>
                </a:lnTo>
                <a:lnTo>
                  <a:pt x="1074" y="1482"/>
                </a:lnTo>
                <a:lnTo>
                  <a:pt x="1068" y="1548"/>
                </a:lnTo>
                <a:lnTo>
                  <a:pt x="1068" y="1566"/>
                </a:lnTo>
                <a:lnTo>
                  <a:pt x="1068" y="1578"/>
                </a:lnTo>
                <a:lnTo>
                  <a:pt x="1056" y="1578"/>
                </a:lnTo>
                <a:lnTo>
                  <a:pt x="1020" y="1578"/>
                </a:lnTo>
                <a:lnTo>
                  <a:pt x="978" y="1572"/>
                </a:lnTo>
                <a:lnTo>
                  <a:pt x="942" y="1566"/>
                </a:lnTo>
                <a:lnTo>
                  <a:pt x="906" y="1566"/>
                </a:lnTo>
                <a:lnTo>
                  <a:pt x="894" y="1560"/>
                </a:lnTo>
                <a:lnTo>
                  <a:pt x="888" y="1560"/>
                </a:lnTo>
                <a:lnTo>
                  <a:pt x="822" y="1560"/>
                </a:lnTo>
                <a:lnTo>
                  <a:pt x="762" y="1554"/>
                </a:lnTo>
                <a:lnTo>
                  <a:pt x="702" y="1548"/>
                </a:lnTo>
                <a:lnTo>
                  <a:pt x="642" y="1542"/>
                </a:lnTo>
                <a:lnTo>
                  <a:pt x="624" y="1536"/>
                </a:lnTo>
                <a:lnTo>
                  <a:pt x="582" y="1536"/>
                </a:lnTo>
                <a:lnTo>
                  <a:pt x="462" y="1524"/>
                </a:lnTo>
                <a:lnTo>
                  <a:pt x="342" y="1518"/>
                </a:lnTo>
                <a:lnTo>
                  <a:pt x="300" y="1512"/>
                </a:lnTo>
                <a:lnTo>
                  <a:pt x="282" y="1506"/>
                </a:lnTo>
                <a:lnTo>
                  <a:pt x="162" y="1488"/>
                </a:lnTo>
                <a:lnTo>
                  <a:pt x="78" y="1482"/>
                </a:lnTo>
                <a:lnTo>
                  <a:pt x="24" y="1476"/>
                </a:lnTo>
                <a:lnTo>
                  <a:pt x="12" y="1476"/>
                </a:lnTo>
                <a:lnTo>
                  <a:pt x="6" y="1482"/>
                </a:lnTo>
                <a:lnTo>
                  <a:pt x="12" y="1482"/>
                </a:lnTo>
                <a:lnTo>
                  <a:pt x="18" y="1482"/>
                </a:lnTo>
                <a:lnTo>
                  <a:pt x="18" y="1488"/>
                </a:lnTo>
                <a:lnTo>
                  <a:pt x="12" y="1488"/>
                </a:lnTo>
                <a:lnTo>
                  <a:pt x="18" y="1488"/>
                </a:lnTo>
                <a:lnTo>
                  <a:pt x="18" y="1494"/>
                </a:lnTo>
                <a:lnTo>
                  <a:pt x="12" y="1494"/>
                </a:lnTo>
                <a:lnTo>
                  <a:pt x="6" y="1494"/>
                </a:lnTo>
                <a:lnTo>
                  <a:pt x="6" y="1500"/>
                </a:lnTo>
                <a:lnTo>
                  <a:pt x="12" y="1500"/>
                </a:lnTo>
                <a:lnTo>
                  <a:pt x="18" y="1500"/>
                </a:lnTo>
                <a:lnTo>
                  <a:pt x="18" y="1506"/>
                </a:lnTo>
                <a:lnTo>
                  <a:pt x="12" y="1512"/>
                </a:lnTo>
                <a:lnTo>
                  <a:pt x="0" y="1518"/>
                </a:lnTo>
                <a:lnTo>
                  <a:pt x="6" y="1524"/>
                </a:lnTo>
                <a:lnTo>
                  <a:pt x="24" y="1542"/>
                </a:lnTo>
                <a:lnTo>
                  <a:pt x="48" y="1560"/>
                </a:lnTo>
                <a:lnTo>
                  <a:pt x="72" y="1578"/>
                </a:lnTo>
                <a:lnTo>
                  <a:pt x="84" y="1590"/>
                </a:lnTo>
                <a:lnTo>
                  <a:pt x="90" y="1596"/>
                </a:lnTo>
                <a:lnTo>
                  <a:pt x="114" y="1656"/>
                </a:lnTo>
                <a:lnTo>
                  <a:pt x="126" y="1686"/>
                </a:lnTo>
                <a:lnTo>
                  <a:pt x="138" y="1698"/>
                </a:lnTo>
                <a:lnTo>
                  <a:pt x="156" y="1704"/>
                </a:lnTo>
                <a:lnTo>
                  <a:pt x="174" y="1704"/>
                </a:lnTo>
                <a:lnTo>
                  <a:pt x="180" y="1716"/>
                </a:lnTo>
                <a:lnTo>
                  <a:pt x="192" y="1716"/>
                </a:lnTo>
                <a:lnTo>
                  <a:pt x="192" y="1722"/>
                </a:lnTo>
                <a:lnTo>
                  <a:pt x="192" y="1728"/>
                </a:lnTo>
                <a:lnTo>
                  <a:pt x="192" y="1734"/>
                </a:lnTo>
                <a:lnTo>
                  <a:pt x="198" y="1740"/>
                </a:lnTo>
                <a:close/>
                <a:moveTo>
                  <a:pt x="2760" y="3210"/>
                </a:moveTo>
                <a:lnTo>
                  <a:pt x="2772" y="3192"/>
                </a:lnTo>
                <a:lnTo>
                  <a:pt x="2772" y="3186"/>
                </a:lnTo>
                <a:lnTo>
                  <a:pt x="2778" y="3174"/>
                </a:lnTo>
                <a:lnTo>
                  <a:pt x="2784" y="3174"/>
                </a:lnTo>
                <a:lnTo>
                  <a:pt x="2784" y="3168"/>
                </a:lnTo>
                <a:lnTo>
                  <a:pt x="2790" y="3162"/>
                </a:lnTo>
                <a:lnTo>
                  <a:pt x="2790" y="3156"/>
                </a:lnTo>
                <a:lnTo>
                  <a:pt x="2790" y="3150"/>
                </a:lnTo>
                <a:lnTo>
                  <a:pt x="2784" y="3150"/>
                </a:lnTo>
                <a:lnTo>
                  <a:pt x="2790" y="3150"/>
                </a:lnTo>
                <a:lnTo>
                  <a:pt x="2796" y="3144"/>
                </a:lnTo>
                <a:lnTo>
                  <a:pt x="2808" y="3138"/>
                </a:lnTo>
                <a:lnTo>
                  <a:pt x="2808" y="3132"/>
                </a:lnTo>
                <a:lnTo>
                  <a:pt x="2802" y="3132"/>
                </a:lnTo>
                <a:lnTo>
                  <a:pt x="2796" y="3132"/>
                </a:lnTo>
                <a:lnTo>
                  <a:pt x="2802" y="3126"/>
                </a:lnTo>
                <a:lnTo>
                  <a:pt x="2808" y="3126"/>
                </a:lnTo>
                <a:lnTo>
                  <a:pt x="2814" y="3120"/>
                </a:lnTo>
                <a:lnTo>
                  <a:pt x="2826" y="3120"/>
                </a:lnTo>
                <a:lnTo>
                  <a:pt x="2826" y="3114"/>
                </a:lnTo>
                <a:lnTo>
                  <a:pt x="2838" y="3102"/>
                </a:lnTo>
                <a:lnTo>
                  <a:pt x="2838" y="3090"/>
                </a:lnTo>
                <a:lnTo>
                  <a:pt x="2850" y="3072"/>
                </a:lnTo>
                <a:lnTo>
                  <a:pt x="2868" y="3036"/>
                </a:lnTo>
                <a:lnTo>
                  <a:pt x="2874" y="3030"/>
                </a:lnTo>
                <a:lnTo>
                  <a:pt x="2880" y="3030"/>
                </a:lnTo>
                <a:lnTo>
                  <a:pt x="2880" y="3024"/>
                </a:lnTo>
                <a:lnTo>
                  <a:pt x="2892" y="3030"/>
                </a:lnTo>
                <a:lnTo>
                  <a:pt x="2898" y="3030"/>
                </a:lnTo>
                <a:lnTo>
                  <a:pt x="2898" y="3024"/>
                </a:lnTo>
                <a:lnTo>
                  <a:pt x="2904" y="3012"/>
                </a:lnTo>
                <a:lnTo>
                  <a:pt x="2910" y="3000"/>
                </a:lnTo>
                <a:lnTo>
                  <a:pt x="2928" y="3000"/>
                </a:lnTo>
                <a:lnTo>
                  <a:pt x="2940" y="2994"/>
                </a:lnTo>
                <a:lnTo>
                  <a:pt x="2970" y="2964"/>
                </a:lnTo>
                <a:lnTo>
                  <a:pt x="2976" y="2964"/>
                </a:lnTo>
                <a:lnTo>
                  <a:pt x="2982" y="2964"/>
                </a:lnTo>
                <a:lnTo>
                  <a:pt x="2988" y="2958"/>
                </a:lnTo>
                <a:lnTo>
                  <a:pt x="3006" y="2952"/>
                </a:lnTo>
                <a:lnTo>
                  <a:pt x="3024" y="2946"/>
                </a:lnTo>
                <a:lnTo>
                  <a:pt x="3024" y="2940"/>
                </a:lnTo>
                <a:lnTo>
                  <a:pt x="3030" y="2940"/>
                </a:lnTo>
                <a:lnTo>
                  <a:pt x="3030" y="2952"/>
                </a:lnTo>
                <a:lnTo>
                  <a:pt x="3024" y="2958"/>
                </a:lnTo>
                <a:lnTo>
                  <a:pt x="2988" y="2976"/>
                </a:lnTo>
                <a:lnTo>
                  <a:pt x="2958" y="2994"/>
                </a:lnTo>
                <a:lnTo>
                  <a:pt x="2928" y="3012"/>
                </a:lnTo>
                <a:lnTo>
                  <a:pt x="2904" y="3036"/>
                </a:lnTo>
                <a:lnTo>
                  <a:pt x="2880" y="3054"/>
                </a:lnTo>
                <a:lnTo>
                  <a:pt x="2862" y="3084"/>
                </a:lnTo>
                <a:lnTo>
                  <a:pt x="2820" y="3138"/>
                </a:lnTo>
                <a:lnTo>
                  <a:pt x="2808" y="3144"/>
                </a:lnTo>
                <a:lnTo>
                  <a:pt x="2766" y="3222"/>
                </a:lnTo>
                <a:lnTo>
                  <a:pt x="2742" y="3282"/>
                </a:lnTo>
                <a:lnTo>
                  <a:pt x="2724" y="3336"/>
                </a:lnTo>
                <a:lnTo>
                  <a:pt x="2724" y="3360"/>
                </a:lnTo>
                <a:lnTo>
                  <a:pt x="2718" y="3384"/>
                </a:lnTo>
                <a:lnTo>
                  <a:pt x="2718" y="3402"/>
                </a:lnTo>
                <a:lnTo>
                  <a:pt x="2718" y="3426"/>
                </a:lnTo>
                <a:lnTo>
                  <a:pt x="2730" y="3480"/>
                </a:lnTo>
                <a:lnTo>
                  <a:pt x="2742" y="3546"/>
                </a:lnTo>
                <a:lnTo>
                  <a:pt x="2766" y="3624"/>
                </a:lnTo>
                <a:lnTo>
                  <a:pt x="2772" y="3690"/>
                </a:lnTo>
                <a:lnTo>
                  <a:pt x="2778" y="3726"/>
                </a:lnTo>
                <a:lnTo>
                  <a:pt x="2784" y="3744"/>
                </a:lnTo>
                <a:lnTo>
                  <a:pt x="2778" y="3744"/>
                </a:lnTo>
                <a:lnTo>
                  <a:pt x="2778" y="3732"/>
                </a:lnTo>
                <a:lnTo>
                  <a:pt x="2778" y="3708"/>
                </a:lnTo>
                <a:lnTo>
                  <a:pt x="2772" y="3690"/>
                </a:lnTo>
                <a:lnTo>
                  <a:pt x="2766" y="3672"/>
                </a:lnTo>
                <a:lnTo>
                  <a:pt x="2766" y="3654"/>
                </a:lnTo>
                <a:lnTo>
                  <a:pt x="2766" y="3636"/>
                </a:lnTo>
                <a:lnTo>
                  <a:pt x="2760" y="3630"/>
                </a:lnTo>
                <a:lnTo>
                  <a:pt x="2754" y="3624"/>
                </a:lnTo>
                <a:lnTo>
                  <a:pt x="2754" y="3600"/>
                </a:lnTo>
                <a:lnTo>
                  <a:pt x="2748" y="3582"/>
                </a:lnTo>
                <a:lnTo>
                  <a:pt x="2742" y="3582"/>
                </a:lnTo>
                <a:lnTo>
                  <a:pt x="2730" y="3552"/>
                </a:lnTo>
                <a:lnTo>
                  <a:pt x="2718" y="3510"/>
                </a:lnTo>
                <a:lnTo>
                  <a:pt x="2712" y="3462"/>
                </a:lnTo>
                <a:lnTo>
                  <a:pt x="2712" y="3438"/>
                </a:lnTo>
                <a:lnTo>
                  <a:pt x="2718" y="3426"/>
                </a:lnTo>
                <a:lnTo>
                  <a:pt x="2712" y="3420"/>
                </a:lnTo>
                <a:lnTo>
                  <a:pt x="2712" y="3408"/>
                </a:lnTo>
                <a:lnTo>
                  <a:pt x="2712" y="3384"/>
                </a:lnTo>
                <a:lnTo>
                  <a:pt x="2718" y="3330"/>
                </a:lnTo>
                <a:lnTo>
                  <a:pt x="2724" y="3312"/>
                </a:lnTo>
                <a:lnTo>
                  <a:pt x="2724" y="3288"/>
                </a:lnTo>
                <a:lnTo>
                  <a:pt x="2736" y="3252"/>
                </a:lnTo>
                <a:lnTo>
                  <a:pt x="2742" y="3246"/>
                </a:lnTo>
                <a:lnTo>
                  <a:pt x="2748" y="3240"/>
                </a:lnTo>
                <a:lnTo>
                  <a:pt x="2754" y="3234"/>
                </a:lnTo>
                <a:lnTo>
                  <a:pt x="2754" y="3222"/>
                </a:lnTo>
                <a:lnTo>
                  <a:pt x="2760" y="3216"/>
                </a:lnTo>
                <a:lnTo>
                  <a:pt x="2760" y="3210"/>
                </a:lnTo>
                <a:lnTo>
                  <a:pt x="2766" y="3210"/>
                </a:lnTo>
                <a:lnTo>
                  <a:pt x="2760" y="3210"/>
                </a:lnTo>
                <a:close/>
              </a:path>
            </a:pathLst>
          </a:custGeom>
          <a:solidFill>
            <a:schemeClr val="accent1"/>
          </a:solidFill>
          <a:ln w="6350" cmpd="sng">
            <a:solidFill>
              <a:schemeClr val="accent1"/>
            </a:solidFill>
            <a:round/>
            <a:headEnd/>
            <a:tailEnd/>
          </a:ln>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99" name="Oval 198">
            <a:extLst>
              <a:ext uri="{FF2B5EF4-FFF2-40B4-BE49-F238E27FC236}">
                <a16:creationId xmlns:a16="http://schemas.microsoft.com/office/drawing/2014/main" id="{58BE1362-AAA0-4C72-A054-29069448856E}"/>
              </a:ext>
            </a:extLst>
          </p:cNvPr>
          <p:cNvSpPr/>
          <p:nvPr/>
        </p:nvSpPr>
        <p:spPr>
          <a:xfrm>
            <a:off x="1967685" y="4244575"/>
            <a:ext cx="554688" cy="554688"/>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algn="ctr">
              <a:spcBef>
                <a:spcPts val="600"/>
              </a:spcBef>
            </a:pPr>
            <a:r>
              <a:rPr lang="en-GB">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t>
            </a:r>
            <a:r>
              <a:rPr lang="en-GB" baseline="-250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lang="en-GB">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7" name="Group 26">
            <a:extLst>
              <a:ext uri="{FF2B5EF4-FFF2-40B4-BE49-F238E27FC236}">
                <a16:creationId xmlns:a16="http://schemas.microsoft.com/office/drawing/2014/main" id="{D1AB7663-44B6-43A0-B1C5-FC426240BE34}"/>
              </a:ext>
            </a:extLst>
          </p:cNvPr>
          <p:cNvGrpSpPr/>
          <p:nvPr/>
        </p:nvGrpSpPr>
        <p:grpSpPr>
          <a:xfrm>
            <a:off x="1997788" y="2163801"/>
            <a:ext cx="554688" cy="554688"/>
            <a:chOff x="4773343" y="5688380"/>
            <a:chExt cx="720000" cy="720000"/>
          </a:xfrm>
        </p:grpSpPr>
        <p:sp>
          <p:nvSpPr>
            <p:cNvPr id="198" name="Oval 197">
              <a:extLst>
                <a:ext uri="{FF2B5EF4-FFF2-40B4-BE49-F238E27FC236}">
                  <a16:creationId xmlns:a16="http://schemas.microsoft.com/office/drawing/2014/main" id="{D628E450-2B17-4719-8B64-435389958640}"/>
                </a:ext>
              </a:extLst>
            </p:cNvPr>
            <p:cNvSpPr/>
            <p:nvPr/>
          </p:nvSpPr>
          <p:spPr>
            <a:xfrm>
              <a:off x="4773343" y="5688380"/>
              <a:ext cx="720000" cy="720000"/>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202" name="Picture 2" descr="Image result for icon renewables">
              <a:extLst>
                <a:ext uri="{FF2B5EF4-FFF2-40B4-BE49-F238E27FC236}">
                  <a16:creationId xmlns:a16="http://schemas.microsoft.com/office/drawing/2014/main" id="{CABC4870-64A8-4F4E-AB64-FFDACB5DDA3A}"/>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4838776" y="5796380"/>
              <a:ext cx="589135" cy="50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AC25EA64-817F-4C8E-8043-9DCC5EEE78AA}"/>
              </a:ext>
            </a:extLst>
          </p:cNvPr>
          <p:cNvGrpSpPr/>
          <p:nvPr/>
        </p:nvGrpSpPr>
        <p:grpSpPr>
          <a:xfrm>
            <a:off x="1989913" y="2857916"/>
            <a:ext cx="554688" cy="554688"/>
            <a:chOff x="3706158" y="5688380"/>
            <a:chExt cx="720000" cy="720000"/>
          </a:xfrm>
        </p:grpSpPr>
        <p:sp>
          <p:nvSpPr>
            <p:cNvPr id="200" name="Oval 199">
              <a:extLst>
                <a:ext uri="{FF2B5EF4-FFF2-40B4-BE49-F238E27FC236}">
                  <a16:creationId xmlns:a16="http://schemas.microsoft.com/office/drawing/2014/main" id="{297ABF48-CD24-463B-8BA5-37AB1C30ABFC}"/>
                </a:ext>
              </a:extLst>
            </p:cNvPr>
            <p:cNvSpPr/>
            <p:nvPr/>
          </p:nvSpPr>
          <p:spPr>
            <a:xfrm>
              <a:off x="3706158" y="5688380"/>
              <a:ext cx="720000" cy="720000"/>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03" name="Group 205">
              <a:extLst>
                <a:ext uri="{FF2B5EF4-FFF2-40B4-BE49-F238E27FC236}">
                  <a16:creationId xmlns:a16="http://schemas.microsoft.com/office/drawing/2014/main" id="{1370D140-583E-4116-8C52-3D11B94906E8}"/>
                </a:ext>
              </a:extLst>
            </p:cNvPr>
            <p:cNvGrpSpPr>
              <a:grpSpLocks noChangeAspect="1"/>
            </p:cNvGrpSpPr>
            <p:nvPr/>
          </p:nvGrpSpPr>
          <p:grpSpPr>
            <a:xfrm>
              <a:off x="3807994" y="5886380"/>
              <a:ext cx="516328" cy="324000"/>
              <a:chOff x="7907519" y="3112412"/>
              <a:chExt cx="673884" cy="422883"/>
            </a:xfrm>
            <a:solidFill>
              <a:schemeClr val="tx1"/>
            </a:solidFill>
          </p:grpSpPr>
          <p:sp>
            <p:nvSpPr>
              <p:cNvPr id="204" name="Freeform 175">
                <a:extLst>
                  <a:ext uri="{FF2B5EF4-FFF2-40B4-BE49-F238E27FC236}">
                    <a16:creationId xmlns:a16="http://schemas.microsoft.com/office/drawing/2014/main" id="{EA8C9166-A40D-4334-8A09-1A691A086E63}"/>
                  </a:ext>
                </a:extLst>
              </p:cNvPr>
              <p:cNvSpPr>
                <a:spLocks noEditPoints="1"/>
              </p:cNvSpPr>
              <p:nvPr/>
            </p:nvSpPr>
            <p:spPr bwMode="auto">
              <a:xfrm>
                <a:off x="7930692" y="3237935"/>
                <a:ext cx="627543" cy="297360"/>
              </a:xfrm>
              <a:custGeom>
                <a:avLst/>
                <a:gdLst/>
                <a:ahLst/>
                <a:cxnLst>
                  <a:cxn ang="0">
                    <a:pos x="0" y="117"/>
                  </a:cxn>
                  <a:cxn ang="0">
                    <a:pos x="7" y="124"/>
                  </a:cxn>
                  <a:cxn ang="0">
                    <a:pos x="17" y="124"/>
                  </a:cxn>
                  <a:cxn ang="0">
                    <a:pos x="17" y="140"/>
                  </a:cxn>
                  <a:cxn ang="0">
                    <a:pos x="7" y="140"/>
                  </a:cxn>
                  <a:cxn ang="0">
                    <a:pos x="0" y="147"/>
                  </a:cxn>
                  <a:cxn ang="0">
                    <a:pos x="0" y="148"/>
                  </a:cxn>
                  <a:cxn ang="0">
                    <a:pos x="7" y="155"/>
                  </a:cxn>
                  <a:cxn ang="0">
                    <a:pos x="322" y="155"/>
                  </a:cxn>
                  <a:cxn ang="0">
                    <a:pos x="329" y="148"/>
                  </a:cxn>
                  <a:cxn ang="0">
                    <a:pos x="329" y="147"/>
                  </a:cxn>
                  <a:cxn ang="0">
                    <a:pos x="322" y="140"/>
                  </a:cxn>
                  <a:cxn ang="0">
                    <a:pos x="312" y="140"/>
                  </a:cxn>
                  <a:cxn ang="0">
                    <a:pos x="312" y="124"/>
                  </a:cxn>
                  <a:cxn ang="0">
                    <a:pos x="322" y="124"/>
                  </a:cxn>
                  <a:cxn ang="0">
                    <a:pos x="329" y="117"/>
                  </a:cxn>
                  <a:cxn ang="0">
                    <a:pos x="329" y="0"/>
                  </a:cxn>
                  <a:cxn ang="0">
                    <a:pos x="0" y="0"/>
                  </a:cxn>
                  <a:cxn ang="0">
                    <a:pos x="0" y="117"/>
                  </a:cxn>
                  <a:cxn ang="0">
                    <a:pos x="253" y="30"/>
                  </a:cxn>
                  <a:cxn ang="0">
                    <a:pos x="270" y="30"/>
                  </a:cxn>
                  <a:cxn ang="0">
                    <a:pos x="270" y="12"/>
                  </a:cxn>
                  <a:cxn ang="0">
                    <a:pos x="282" y="12"/>
                  </a:cxn>
                  <a:cxn ang="0">
                    <a:pos x="282" y="30"/>
                  </a:cxn>
                  <a:cxn ang="0">
                    <a:pos x="300" y="30"/>
                  </a:cxn>
                  <a:cxn ang="0">
                    <a:pos x="300" y="42"/>
                  </a:cxn>
                  <a:cxn ang="0">
                    <a:pos x="282" y="42"/>
                  </a:cxn>
                  <a:cxn ang="0">
                    <a:pos x="282" y="59"/>
                  </a:cxn>
                  <a:cxn ang="0">
                    <a:pos x="270" y="59"/>
                  </a:cxn>
                  <a:cxn ang="0">
                    <a:pos x="270" y="42"/>
                  </a:cxn>
                  <a:cxn ang="0">
                    <a:pos x="253" y="42"/>
                  </a:cxn>
                  <a:cxn ang="0">
                    <a:pos x="253" y="30"/>
                  </a:cxn>
                  <a:cxn ang="0">
                    <a:pos x="134" y="65"/>
                  </a:cxn>
                  <a:cxn ang="0">
                    <a:pos x="139" y="56"/>
                  </a:cxn>
                  <a:cxn ang="0">
                    <a:pos x="159" y="25"/>
                  </a:cxn>
                  <a:cxn ang="0">
                    <a:pos x="161" y="24"/>
                  </a:cxn>
                  <a:cxn ang="0">
                    <a:pos x="183" y="42"/>
                  </a:cxn>
                  <a:cxn ang="0">
                    <a:pos x="183" y="44"/>
                  </a:cxn>
                  <a:cxn ang="0">
                    <a:pos x="165" y="63"/>
                  </a:cxn>
                  <a:cxn ang="0">
                    <a:pos x="165" y="64"/>
                  </a:cxn>
                  <a:cxn ang="0">
                    <a:pos x="176" y="77"/>
                  </a:cxn>
                  <a:cxn ang="0">
                    <a:pos x="181" y="82"/>
                  </a:cxn>
                  <a:cxn ang="0">
                    <a:pos x="181" y="85"/>
                  </a:cxn>
                  <a:cxn ang="0">
                    <a:pos x="176" y="88"/>
                  </a:cxn>
                  <a:cxn ang="0">
                    <a:pos x="141" y="114"/>
                  </a:cxn>
                  <a:cxn ang="0">
                    <a:pos x="139" y="114"/>
                  </a:cxn>
                  <a:cxn ang="0">
                    <a:pos x="139" y="112"/>
                  </a:cxn>
                  <a:cxn ang="0">
                    <a:pos x="160" y="85"/>
                  </a:cxn>
                  <a:cxn ang="0">
                    <a:pos x="159" y="84"/>
                  </a:cxn>
                  <a:cxn ang="0">
                    <a:pos x="141" y="72"/>
                  </a:cxn>
                  <a:cxn ang="0">
                    <a:pos x="134" y="67"/>
                  </a:cxn>
                  <a:cxn ang="0">
                    <a:pos x="134" y="65"/>
                  </a:cxn>
                  <a:cxn ang="0">
                    <a:pos x="37" y="36"/>
                  </a:cxn>
                  <a:cxn ang="0">
                    <a:pos x="63" y="36"/>
                  </a:cxn>
                  <a:cxn ang="0">
                    <a:pos x="63" y="50"/>
                  </a:cxn>
                  <a:cxn ang="0">
                    <a:pos x="37" y="50"/>
                  </a:cxn>
                  <a:cxn ang="0">
                    <a:pos x="37" y="36"/>
                  </a:cxn>
                </a:cxnLst>
                <a:rect l="0" t="0" r="r" b="b"/>
                <a:pathLst>
                  <a:path w="329" h="155">
                    <a:moveTo>
                      <a:pt x="0" y="117"/>
                    </a:moveTo>
                    <a:cubicBezTo>
                      <a:pt x="0" y="121"/>
                      <a:pt x="4" y="124"/>
                      <a:pt x="7" y="124"/>
                    </a:cubicBezTo>
                    <a:cubicBezTo>
                      <a:pt x="17" y="124"/>
                      <a:pt x="17" y="124"/>
                      <a:pt x="17" y="124"/>
                    </a:cubicBezTo>
                    <a:cubicBezTo>
                      <a:pt x="17" y="140"/>
                      <a:pt x="17" y="140"/>
                      <a:pt x="17" y="140"/>
                    </a:cubicBezTo>
                    <a:cubicBezTo>
                      <a:pt x="7" y="140"/>
                      <a:pt x="7" y="140"/>
                      <a:pt x="7" y="140"/>
                    </a:cubicBezTo>
                    <a:cubicBezTo>
                      <a:pt x="4" y="140"/>
                      <a:pt x="0" y="143"/>
                      <a:pt x="0" y="147"/>
                    </a:cubicBezTo>
                    <a:cubicBezTo>
                      <a:pt x="0" y="148"/>
                      <a:pt x="0" y="148"/>
                      <a:pt x="0" y="148"/>
                    </a:cubicBezTo>
                    <a:cubicBezTo>
                      <a:pt x="0" y="152"/>
                      <a:pt x="4" y="155"/>
                      <a:pt x="7" y="155"/>
                    </a:cubicBezTo>
                    <a:cubicBezTo>
                      <a:pt x="322" y="155"/>
                      <a:pt x="322" y="155"/>
                      <a:pt x="322" y="155"/>
                    </a:cubicBezTo>
                    <a:cubicBezTo>
                      <a:pt x="326" y="155"/>
                      <a:pt x="329" y="152"/>
                      <a:pt x="329" y="148"/>
                    </a:cubicBezTo>
                    <a:cubicBezTo>
                      <a:pt x="329" y="147"/>
                      <a:pt x="329" y="147"/>
                      <a:pt x="329" y="147"/>
                    </a:cubicBezTo>
                    <a:cubicBezTo>
                      <a:pt x="329" y="143"/>
                      <a:pt x="326" y="140"/>
                      <a:pt x="322" y="140"/>
                    </a:cubicBezTo>
                    <a:cubicBezTo>
                      <a:pt x="312" y="140"/>
                      <a:pt x="312" y="140"/>
                      <a:pt x="312" y="140"/>
                    </a:cubicBezTo>
                    <a:cubicBezTo>
                      <a:pt x="312" y="124"/>
                      <a:pt x="312" y="124"/>
                      <a:pt x="312" y="124"/>
                    </a:cubicBezTo>
                    <a:cubicBezTo>
                      <a:pt x="322" y="124"/>
                      <a:pt x="322" y="124"/>
                      <a:pt x="322" y="124"/>
                    </a:cubicBezTo>
                    <a:cubicBezTo>
                      <a:pt x="326" y="124"/>
                      <a:pt x="329" y="121"/>
                      <a:pt x="329" y="117"/>
                    </a:cubicBezTo>
                    <a:cubicBezTo>
                      <a:pt x="329" y="0"/>
                      <a:pt x="329" y="0"/>
                      <a:pt x="329" y="0"/>
                    </a:cubicBezTo>
                    <a:cubicBezTo>
                      <a:pt x="0" y="0"/>
                      <a:pt x="0" y="0"/>
                      <a:pt x="0" y="0"/>
                    </a:cubicBezTo>
                    <a:lnTo>
                      <a:pt x="0" y="117"/>
                    </a:lnTo>
                    <a:close/>
                    <a:moveTo>
                      <a:pt x="253" y="30"/>
                    </a:moveTo>
                    <a:cubicBezTo>
                      <a:pt x="270" y="30"/>
                      <a:pt x="270" y="30"/>
                      <a:pt x="270" y="30"/>
                    </a:cubicBezTo>
                    <a:cubicBezTo>
                      <a:pt x="270" y="12"/>
                      <a:pt x="270" y="12"/>
                      <a:pt x="270" y="12"/>
                    </a:cubicBezTo>
                    <a:cubicBezTo>
                      <a:pt x="282" y="12"/>
                      <a:pt x="282" y="12"/>
                      <a:pt x="282" y="12"/>
                    </a:cubicBezTo>
                    <a:cubicBezTo>
                      <a:pt x="282" y="30"/>
                      <a:pt x="282" y="30"/>
                      <a:pt x="282" y="30"/>
                    </a:cubicBezTo>
                    <a:cubicBezTo>
                      <a:pt x="300" y="30"/>
                      <a:pt x="300" y="30"/>
                      <a:pt x="300" y="30"/>
                    </a:cubicBezTo>
                    <a:cubicBezTo>
                      <a:pt x="300" y="42"/>
                      <a:pt x="300" y="42"/>
                      <a:pt x="300" y="42"/>
                    </a:cubicBezTo>
                    <a:cubicBezTo>
                      <a:pt x="282" y="42"/>
                      <a:pt x="282" y="42"/>
                      <a:pt x="282" y="42"/>
                    </a:cubicBezTo>
                    <a:cubicBezTo>
                      <a:pt x="282" y="59"/>
                      <a:pt x="282" y="59"/>
                      <a:pt x="282" y="59"/>
                    </a:cubicBezTo>
                    <a:cubicBezTo>
                      <a:pt x="270" y="59"/>
                      <a:pt x="270" y="59"/>
                      <a:pt x="270" y="59"/>
                    </a:cubicBezTo>
                    <a:cubicBezTo>
                      <a:pt x="270" y="42"/>
                      <a:pt x="270" y="42"/>
                      <a:pt x="270" y="42"/>
                    </a:cubicBezTo>
                    <a:cubicBezTo>
                      <a:pt x="253" y="42"/>
                      <a:pt x="253" y="42"/>
                      <a:pt x="253" y="42"/>
                    </a:cubicBezTo>
                    <a:lnTo>
                      <a:pt x="253" y="30"/>
                    </a:lnTo>
                    <a:close/>
                    <a:moveTo>
                      <a:pt x="134" y="65"/>
                    </a:moveTo>
                    <a:cubicBezTo>
                      <a:pt x="139" y="56"/>
                      <a:pt x="139" y="56"/>
                      <a:pt x="139" y="56"/>
                    </a:cubicBezTo>
                    <a:cubicBezTo>
                      <a:pt x="159" y="25"/>
                      <a:pt x="159" y="25"/>
                      <a:pt x="159" y="25"/>
                    </a:cubicBezTo>
                    <a:cubicBezTo>
                      <a:pt x="160" y="24"/>
                      <a:pt x="161" y="24"/>
                      <a:pt x="161" y="24"/>
                    </a:cubicBezTo>
                    <a:cubicBezTo>
                      <a:pt x="183" y="42"/>
                      <a:pt x="183" y="42"/>
                      <a:pt x="183" y="42"/>
                    </a:cubicBezTo>
                    <a:cubicBezTo>
                      <a:pt x="184" y="42"/>
                      <a:pt x="184" y="43"/>
                      <a:pt x="183" y="44"/>
                    </a:cubicBezTo>
                    <a:cubicBezTo>
                      <a:pt x="165" y="63"/>
                      <a:pt x="165" y="63"/>
                      <a:pt x="165" y="63"/>
                    </a:cubicBezTo>
                    <a:cubicBezTo>
                      <a:pt x="165" y="63"/>
                      <a:pt x="165" y="64"/>
                      <a:pt x="165" y="64"/>
                    </a:cubicBezTo>
                    <a:cubicBezTo>
                      <a:pt x="176" y="77"/>
                      <a:pt x="176" y="77"/>
                      <a:pt x="176" y="77"/>
                    </a:cubicBezTo>
                    <a:cubicBezTo>
                      <a:pt x="181" y="82"/>
                      <a:pt x="181" y="82"/>
                      <a:pt x="181" y="82"/>
                    </a:cubicBezTo>
                    <a:cubicBezTo>
                      <a:pt x="181" y="83"/>
                      <a:pt x="181" y="84"/>
                      <a:pt x="181" y="85"/>
                    </a:cubicBezTo>
                    <a:cubicBezTo>
                      <a:pt x="176" y="88"/>
                      <a:pt x="176" y="88"/>
                      <a:pt x="176" y="88"/>
                    </a:cubicBezTo>
                    <a:cubicBezTo>
                      <a:pt x="141" y="114"/>
                      <a:pt x="141" y="114"/>
                      <a:pt x="141" y="114"/>
                    </a:cubicBezTo>
                    <a:cubicBezTo>
                      <a:pt x="141" y="115"/>
                      <a:pt x="140" y="115"/>
                      <a:pt x="139" y="114"/>
                    </a:cubicBezTo>
                    <a:cubicBezTo>
                      <a:pt x="139" y="114"/>
                      <a:pt x="139" y="113"/>
                      <a:pt x="139" y="112"/>
                    </a:cubicBezTo>
                    <a:cubicBezTo>
                      <a:pt x="160" y="85"/>
                      <a:pt x="160" y="85"/>
                      <a:pt x="160" y="85"/>
                    </a:cubicBezTo>
                    <a:cubicBezTo>
                      <a:pt x="160" y="85"/>
                      <a:pt x="160" y="84"/>
                      <a:pt x="159" y="84"/>
                    </a:cubicBezTo>
                    <a:cubicBezTo>
                      <a:pt x="141" y="72"/>
                      <a:pt x="141" y="72"/>
                      <a:pt x="141" y="72"/>
                    </a:cubicBezTo>
                    <a:cubicBezTo>
                      <a:pt x="134" y="67"/>
                      <a:pt x="134" y="67"/>
                      <a:pt x="134" y="67"/>
                    </a:cubicBezTo>
                    <a:cubicBezTo>
                      <a:pt x="133" y="67"/>
                      <a:pt x="133" y="66"/>
                      <a:pt x="134" y="65"/>
                    </a:cubicBezTo>
                    <a:close/>
                    <a:moveTo>
                      <a:pt x="37" y="36"/>
                    </a:moveTo>
                    <a:cubicBezTo>
                      <a:pt x="63" y="36"/>
                      <a:pt x="63" y="36"/>
                      <a:pt x="63" y="36"/>
                    </a:cubicBezTo>
                    <a:cubicBezTo>
                      <a:pt x="63" y="50"/>
                      <a:pt x="63" y="50"/>
                      <a:pt x="63" y="50"/>
                    </a:cubicBezTo>
                    <a:cubicBezTo>
                      <a:pt x="37" y="50"/>
                      <a:pt x="37" y="50"/>
                      <a:pt x="37" y="50"/>
                    </a:cubicBezTo>
                    <a:lnTo>
                      <a:pt x="37" y="36"/>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205" name="Freeform 176">
                <a:extLst>
                  <a:ext uri="{FF2B5EF4-FFF2-40B4-BE49-F238E27FC236}">
                    <a16:creationId xmlns:a16="http://schemas.microsoft.com/office/drawing/2014/main" id="{686682AE-F607-49B8-8697-426E722AE3FD}"/>
                  </a:ext>
                </a:extLst>
              </p:cNvPr>
              <p:cNvSpPr>
                <a:spLocks/>
              </p:cNvSpPr>
              <p:nvPr/>
            </p:nvSpPr>
            <p:spPr bwMode="auto">
              <a:xfrm>
                <a:off x="7907519" y="3145252"/>
                <a:ext cx="673884" cy="83030"/>
              </a:xfrm>
              <a:custGeom>
                <a:avLst/>
                <a:gdLst/>
                <a:ahLst/>
                <a:cxnLst>
                  <a:cxn ang="0">
                    <a:pos x="346" y="19"/>
                  </a:cxn>
                  <a:cxn ang="0">
                    <a:pos x="329" y="19"/>
                  </a:cxn>
                  <a:cxn ang="0">
                    <a:pos x="329" y="16"/>
                  </a:cxn>
                  <a:cxn ang="0">
                    <a:pos x="329" y="14"/>
                  </a:cxn>
                  <a:cxn ang="0">
                    <a:pos x="329" y="1"/>
                  </a:cxn>
                  <a:cxn ang="0">
                    <a:pos x="327" y="0"/>
                  </a:cxn>
                  <a:cxn ang="0">
                    <a:pos x="240" y="0"/>
                  </a:cxn>
                  <a:cxn ang="0">
                    <a:pos x="238" y="1"/>
                  </a:cxn>
                  <a:cxn ang="0">
                    <a:pos x="238" y="14"/>
                  </a:cxn>
                  <a:cxn ang="0">
                    <a:pos x="238" y="16"/>
                  </a:cxn>
                  <a:cxn ang="0">
                    <a:pos x="238" y="19"/>
                  </a:cxn>
                  <a:cxn ang="0">
                    <a:pos x="112" y="19"/>
                  </a:cxn>
                  <a:cxn ang="0">
                    <a:pos x="112" y="16"/>
                  </a:cxn>
                  <a:cxn ang="0">
                    <a:pos x="112" y="14"/>
                  </a:cxn>
                  <a:cxn ang="0">
                    <a:pos x="112" y="1"/>
                  </a:cxn>
                  <a:cxn ang="0">
                    <a:pos x="110" y="0"/>
                  </a:cxn>
                  <a:cxn ang="0">
                    <a:pos x="23" y="0"/>
                  </a:cxn>
                  <a:cxn ang="0">
                    <a:pos x="21" y="1"/>
                  </a:cxn>
                  <a:cxn ang="0">
                    <a:pos x="21" y="14"/>
                  </a:cxn>
                  <a:cxn ang="0">
                    <a:pos x="21" y="16"/>
                  </a:cxn>
                  <a:cxn ang="0">
                    <a:pos x="21" y="19"/>
                  </a:cxn>
                  <a:cxn ang="0">
                    <a:pos x="7" y="19"/>
                  </a:cxn>
                  <a:cxn ang="0">
                    <a:pos x="0" y="26"/>
                  </a:cxn>
                  <a:cxn ang="0">
                    <a:pos x="0" y="37"/>
                  </a:cxn>
                  <a:cxn ang="0">
                    <a:pos x="7" y="44"/>
                  </a:cxn>
                  <a:cxn ang="0">
                    <a:pos x="12" y="44"/>
                  </a:cxn>
                  <a:cxn ang="0">
                    <a:pos x="341" y="44"/>
                  </a:cxn>
                  <a:cxn ang="0">
                    <a:pos x="346" y="44"/>
                  </a:cxn>
                  <a:cxn ang="0">
                    <a:pos x="353" y="37"/>
                  </a:cxn>
                  <a:cxn ang="0">
                    <a:pos x="353" y="26"/>
                  </a:cxn>
                  <a:cxn ang="0">
                    <a:pos x="346" y="19"/>
                  </a:cxn>
                </a:cxnLst>
                <a:rect l="0" t="0" r="r" b="b"/>
                <a:pathLst>
                  <a:path w="353" h="44">
                    <a:moveTo>
                      <a:pt x="346" y="19"/>
                    </a:moveTo>
                    <a:cubicBezTo>
                      <a:pt x="329" y="19"/>
                      <a:pt x="329" y="19"/>
                      <a:pt x="329" y="19"/>
                    </a:cubicBezTo>
                    <a:cubicBezTo>
                      <a:pt x="329" y="16"/>
                      <a:pt x="329" y="16"/>
                      <a:pt x="329" y="16"/>
                    </a:cubicBezTo>
                    <a:cubicBezTo>
                      <a:pt x="329" y="14"/>
                      <a:pt x="329" y="14"/>
                      <a:pt x="329" y="14"/>
                    </a:cubicBezTo>
                    <a:cubicBezTo>
                      <a:pt x="329" y="1"/>
                      <a:pt x="329" y="1"/>
                      <a:pt x="329" y="1"/>
                    </a:cubicBezTo>
                    <a:cubicBezTo>
                      <a:pt x="329" y="0"/>
                      <a:pt x="328" y="0"/>
                      <a:pt x="327" y="0"/>
                    </a:cubicBezTo>
                    <a:cubicBezTo>
                      <a:pt x="240" y="0"/>
                      <a:pt x="240" y="0"/>
                      <a:pt x="240" y="0"/>
                    </a:cubicBezTo>
                    <a:cubicBezTo>
                      <a:pt x="239" y="0"/>
                      <a:pt x="238" y="0"/>
                      <a:pt x="238" y="1"/>
                    </a:cubicBezTo>
                    <a:cubicBezTo>
                      <a:pt x="238" y="14"/>
                      <a:pt x="238" y="14"/>
                      <a:pt x="238" y="14"/>
                    </a:cubicBezTo>
                    <a:cubicBezTo>
                      <a:pt x="238" y="16"/>
                      <a:pt x="238" y="16"/>
                      <a:pt x="238" y="16"/>
                    </a:cubicBezTo>
                    <a:cubicBezTo>
                      <a:pt x="238" y="19"/>
                      <a:pt x="238" y="19"/>
                      <a:pt x="238" y="19"/>
                    </a:cubicBezTo>
                    <a:cubicBezTo>
                      <a:pt x="112" y="19"/>
                      <a:pt x="112" y="19"/>
                      <a:pt x="112" y="19"/>
                    </a:cubicBezTo>
                    <a:cubicBezTo>
                      <a:pt x="112" y="16"/>
                      <a:pt x="112" y="16"/>
                      <a:pt x="112" y="16"/>
                    </a:cubicBezTo>
                    <a:cubicBezTo>
                      <a:pt x="112" y="14"/>
                      <a:pt x="112" y="14"/>
                      <a:pt x="112" y="14"/>
                    </a:cubicBezTo>
                    <a:cubicBezTo>
                      <a:pt x="112" y="1"/>
                      <a:pt x="112" y="1"/>
                      <a:pt x="112" y="1"/>
                    </a:cubicBezTo>
                    <a:cubicBezTo>
                      <a:pt x="112" y="0"/>
                      <a:pt x="111" y="0"/>
                      <a:pt x="110" y="0"/>
                    </a:cubicBezTo>
                    <a:cubicBezTo>
                      <a:pt x="23" y="0"/>
                      <a:pt x="23" y="0"/>
                      <a:pt x="23" y="0"/>
                    </a:cubicBezTo>
                    <a:cubicBezTo>
                      <a:pt x="22" y="0"/>
                      <a:pt x="21" y="0"/>
                      <a:pt x="21" y="1"/>
                    </a:cubicBezTo>
                    <a:cubicBezTo>
                      <a:pt x="21" y="14"/>
                      <a:pt x="21" y="14"/>
                      <a:pt x="21" y="14"/>
                    </a:cubicBezTo>
                    <a:cubicBezTo>
                      <a:pt x="21" y="16"/>
                      <a:pt x="21" y="16"/>
                      <a:pt x="21" y="16"/>
                    </a:cubicBezTo>
                    <a:cubicBezTo>
                      <a:pt x="21" y="19"/>
                      <a:pt x="21" y="19"/>
                      <a:pt x="21" y="19"/>
                    </a:cubicBezTo>
                    <a:cubicBezTo>
                      <a:pt x="7" y="19"/>
                      <a:pt x="7" y="19"/>
                      <a:pt x="7" y="19"/>
                    </a:cubicBezTo>
                    <a:cubicBezTo>
                      <a:pt x="4" y="19"/>
                      <a:pt x="0" y="22"/>
                      <a:pt x="0" y="26"/>
                    </a:cubicBezTo>
                    <a:cubicBezTo>
                      <a:pt x="0" y="37"/>
                      <a:pt x="0" y="37"/>
                      <a:pt x="0" y="37"/>
                    </a:cubicBezTo>
                    <a:cubicBezTo>
                      <a:pt x="0" y="41"/>
                      <a:pt x="4" y="44"/>
                      <a:pt x="7" y="44"/>
                    </a:cubicBezTo>
                    <a:cubicBezTo>
                      <a:pt x="12" y="44"/>
                      <a:pt x="12" y="44"/>
                      <a:pt x="12" y="44"/>
                    </a:cubicBezTo>
                    <a:cubicBezTo>
                      <a:pt x="341" y="44"/>
                      <a:pt x="341" y="44"/>
                      <a:pt x="341" y="44"/>
                    </a:cubicBezTo>
                    <a:cubicBezTo>
                      <a:pt x="346" y="44"/>
                      <a:pt x="346" y="44"/>
                      <a:pt x="346" y="44"/>
                    </a:cubicBezTo>
                    <a:cubicBezTo>
                      <a:pt x="350" y="44"/>
                      <a:pt x="353" y="41"/>
                      <a:pt x="353" y="37"/>
                    </a:cubicBezTo>
                    <a:cubicBezTo>
                      <a:pt x="353" y="26"/>
                      <a:pt x="353" y="26"/>
                      <a:pt x="353" y="26"/>
                    </a:cubicBezTo>
                    <a:cubicBezTo>
                      <a:pt x="353" y="22"/>
                      <a:pt x="350" y="19"/>
                      <a:pt x="346" y="19"/>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206" name="Freeform 177">
                <a:extLst>
                  <a:ext uri="{FF2B5EF4-FFF2-40B4-BE49-F238E27FC236}">
                    <a16:creationId xmlns:a16="http://schemas.microsoft.com/office/drawing/2014/main" id="{4BF1BB78-3FEC-4E64-9216-91E04AEB48CA}"/>
                  </a:ext>
                </a:extLst>
              </p:cNvPr>
              <p:cNvSpPr>
                <a:spLocks/>
              </p:cNvSpPr>
              <p:nvPr/>
            </p:nvSpPr>
            <p:spPr bwMode="auto">
              <a:xfrm>
                <a:off x="7998266" y="3112473"/>
                <a:ext cx="73374" cy="23172"/>
              </a:xfrm>
              <a:custGeom>
                <a:avLst/>
                <a:gdLst/>
                <a:ahLst/>
                <a:cxnLst>
                  <a:cxn ang="0">
                    <a:pos x="2" y="0"/>
                  </a:cxn>
                  <a:cxn ang="0">
                    <a:pos x="0" y="1"/>
                  </a:cxn>
                  <a:cxn ang="0">
                    <a:pos x="0" y="10"/>
                  </a:cxn>
                  <a:cxn ang="0">
                    <a:pos x="2" y="12"/>
                  </a:cxn>
                  <a:cxn ang="0">
                    <a:pos x="37" y="12"/>
                  </a:cxn>
                  <a:cxn ang="0">
                    <a:pos x="39" y="10"/>
                  </a:cxn>
                  <a:cxn ang="0">
                    <a:pos x="39" y="1"/>
                  </a:cxn>
                  <a:cxn ang="0">
                    <a:pos x="37" y="0"/>
                  </a:cxn>
                  <a:cxn ang="0">
                    <a:pos x="2" y="0"/>
                  </a:cxn>
                </a:cxnLst>
                <a:rect l="0" t="0" r="r" b="b"/>
                <a:pathLst>
                  <a:path w="39"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9" y="11"/>
                      <a:pt x="39" y="10"/>
                    </a:cubicBezTo>
                    <a:cubicBezTo>
                      <a:pt x="39" y="1"/>
                      <a:pt x="39" y="1"/>
                      <a:pt x="39" y="1"/>
                    </a:cubicBezTo>
                    <a:cubicBezTo>
                      <a:pt x="39"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207" name="Freeform 178">
                <a:extLst>
                  <a:ext uri="{FF2B5EF4-FFF2-40B4-BE49-F238E27FC236}">
                    <a16:creationId xmlns:a16="http://schemas.microsoft.com/office/drawing/2014/main" id="{4A3DD45C-8048-4587-B374-FE0DCC477639}"/>
                  </a:ext>
                </a:extLst>
              </p:cNvPr>
              <p:cNvSpPr>
                <a:spLocks/>
              </p:cNvSpPr>
              <p:nvPr/>
            </p:nvSpPr>
            <p:spPr bwMode="auto">
              <a:xfrm>
                <a:off x="8411486" y="3112412"/>
                <a:ext cx="73374" cy="23172"/>
              </a:xfrm>
              <a:custGeom>
                <a:avLst/>
                <a:gdLst/>
                <a:ahLst/>
                <a:cxnLst>
                  <a:cxn ang="0">
                    <a:pos x="2" y="0"/>
                  </a:cxn>
                  <a:cxn ang="0">
                    <a:pos x="0" y="1"/>
                  </a:cxn>
                  <a:cxn ang="0">
                    <a:pos x="0" y="10"/>
                  </a:cxn>
                  <a:cxn ang="0">
                    <a:pos x="2" y="12"/>
                  </a:cxn>
                  <a:cxn ang="0">
                    <a:pos x="37" y="12"/>
                  </a:cxn>
                  <a:cxn ang="0">
                    <a:pos x="38" y="10"/>
                  </a:cxn>
                  <a:cxn ang="0">
                    <a:pos x="38" y="1"/>
                  </a:cxn>
                  <a:cxn ang="0">
                    <a:pos x="37" y="0"/>
                  </a:cxn>
                  <a:cxn ang="0">
                    <a:pos x="2" y="0"/>
                  </a:cxn>
                </a:cxnLst>
                <a:rect l="0" t="0" r="r" b="b"/>
                <a:pathLst>
                  <a:path w="38" h="12">
                    <a:moveTo>
                      <a:pt x="2" y="0"/>
                    </a:moveTo>
                    <a:cubicBezTo>
                      <a:pt x="1" y="0"/>
                      <a:pt x="0" y="0"/>
                      <a:pt x="0" y="1"/>
                    </a:cubicBezTo>
                    <a:cubicBezTo>
                      <a:pt x="0" y="10"/>
                      <a:pt x="0" y="10"/>
                      <a:pt x="0" y="10"/>
                    </a:cubicBezTo>
                    <a:cubicBezTo>
                      <a:pt x="0" y="11"/>
                      <a:pt x="1" y="12"/>
                      <a:pt x="2" y="12"/>
                    </a:cubicBezTo>
                    <a:cubicBezTo>
                      <a:pt x="37" y="12"/>
                      <a:pt x="37" y="12"/>
                      <a:pt x="37" y="12"/>
                    </a:cubicBezTo>
                    <a:cubicBezTo>
                      <a:pt x="38" y="12"/>
                      <a:pt x="38" y="11"/>
                      <a:pt x="38" y="10"/>
                    </a:cubicBezTo>
                    <a:cubicBezTo>
                      <a:pt x="38" y="1"/>
                      <a:pt x="38" y="1"/>
                      <a:pt x="38" y="1"/>
                    </a:cubicBezTo>
                    <a:cubicBezTo>
                      <a:pt x="38" y="0"/>
                      <a:pt x="38" y="0"/>
                      <a:pt x="37" y="0"/>
                    </a:cubicBezTo>
                    <a:lnTo>
                      <a:pt x="2" y="0"/>
                    </a:ln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endParaRPr lang="en-GB" sz="1662"/>
              </a:p>
            </p:txBody>
          </p:sp>
        </p:grpSp>
      </p:grpSp>
      <p:grpSp>
        <p:nvGrpSpPr>
          <p:cNvPr id="30" name="Group 29">
            <a:extLst>
              <a:ext uri="{FF2B5EF4-FFF2-40B4-BE49-F238E27FC236}">
                <a16:creationId xmlns:a16="http://schemas.microsoft.com/office/drawing/2014/main" id="{DDF7C628-218D-4182-808E-0337B2D3A429}"/>
              </a:ext>
            </a:extLst>
          </p:cNvPr>
          <p:cNvGrpSpPr/>
          <p:nvPr/>
        </p:nvGrpSpPr>
        <p:grpSpPr>
          <a:xfrm>
            <a:off x="1934226" y="5638799"/>
            <a:ext cx="554688" cy="554688"/>
            <a:chOff x="1571788" y="5688380"/>
            <a:chExt cx="720000" cy="720000"/>
          </a:xfrm>
        </p:grpSpPr>
        <p:sp>
          <p:nvSpPr>
            <p:cNvPr id="188" name="Oval 187">
              <a:extLst>
                <a:ext uri="{FF2B5EF4-FFF2-40B4-BE49-F238E27FC236}">
                  <a16:creationId xmlns:a16="http://schemas.microsoft.com/office/drawing/2014/main" id="{2998845A-4DBC-4340-8FA4-6B5CBE4156FE}"/>
                </a:ext>
              </a:extLst>
            </p:cNvPr>
            <p:cNvSpPr/>
            <p:nvPr/>
          </p:nvSpPr>
          <p:spPr>
            <a:xfrm>
              <a:off x="1571788" y="5688380"/>
              <a:ext cx="720000" cy="720000"/>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29" name="Picture 28" descr="Shape&#10;&#10;Description automatically generated with low confidence">
              <a:extLst>
                <a:ext uri="{FF2B5EF4-FFF2-40B4-BE49-F238E27FC236}">
                  <a16:creationId xmlns:a16="http://schemas.microsoft.com/office/drawing/2014/main" id="{351D8883-D31B-4448-AC2C-A6B489D6B3C3}"/>
                </a:ext>
              </a:extLst>
            </p:cNvPr>
            <p:cNvPicPr>
              <a:picLocks noChangeAspect="1"/>
            </p:cNvPicPr>
            <p:nvPr/>
          </p:nvPicPr>
          <p:blipFill>
            <a:blip r:embed="rId49"/>
            <a:stretch>
              <a:fillRect/>
            </a:stretch>
          </p:blipFill>
          <p:spPr>
            <a:xfrm>
              <a:off x="1661788" y="5778380"/>
              <a:ext cx="540000" cy="540000"/>
            </a:xfrm>
            <a:prstGeom prst="rect">
              <a:avLst/>
            </a:prstGeom>
          </p:spPr>
        </p:pic>
      </p:grpSp>
      <p:sp>
        <p:nvSpPr>
          <p:cNvPr id="197" name="Oval 196">
            <a:extLst>
              <a:ext uri="{FF2B5EF4-FFF2-40B4-BE49-F238E27FC236}">
                <a16:creationId xmlns:a16="http://schemas.microsoft.com/office/drawing/2014/main" id="{681FBB32-DE04-4214-9F34-A7241A43AB65}"/>
              </a:ext>
            </a:extLst>
          </p:cNvPr>
          <p:cNvSpPr/>
          <p:nvPr/>
        </p:nvSpPr>
        <p:spPr>
          <a:xfrm>
            <a:off x="1997788" y="1467763"/>
            <a:ext cx="554688" cy="554688"/>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40" name="Group 39">
            <a:extLst>
              <a:ext uri="{FF2B5EF4-FFF2-40B4-BE49-F238E27FC236}">
                <a16:creationId xmlns:a16="http://schemas.microsoft.com/office/drawing/2014/main" id="{8E597D99-89C7-40A3-82EE-723A233010BA}"/>
              </a:ext>
            </a:extLst>
          </p:cNvPr>
          <p:cNvGrpSpPr>
            <a:grpSpLocks noChangeAspect="1"/>
          </p:cNvGrpSpPr>
          <p:nvPr/>
        </p:nvGrpSpPr>
        <p:grpSpPr>
          <a:xfrm rot="900000">
            <a:off x="2205643" y="1550966"/>
            <a:ext cx="138979" cy="388282"/>
            <a:chOff x="6096000" y="1037602"/>
            <a:chExt cx="838738" cy="2343262"/>
          </a:xfrm>
        </p:grpSpPr>
        <p:sp>
          <p:nvSpPr>
            <p:cNvPr id="37" name="Parallelogram 36">
              <a:extLst>
                <a:ext uri="{FF2B5EF4-FFF2-40B4-BE49-F238E27FC236}">
                  <a16:creationId xmlns:a16="http://schemas.microsoft.com/office/drawing/2014/main" id="{593DED28-93A4-429D-9717-37F91E9975CC}"/>
                </a:ext>
              </a:extLst>
            </p:cNvPr>
            <p:cNvSpPr/>
            <p:nvPr/>
          </p:nvSpPr>
          <p:spPr>
            <a:xfrm>
              <a:off x="6096000" y="2023639"/>
              <a:ext cx="838738" cy="370569"/>
            </a:xfrm>
            <a:prstGeom prst="parallelogram">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9" name="Isosceles Triangle 38">
              <a:extLst>
                <a:ext uri="{FF2B5EF4-FFF2-40B4-BE49-F238E27FC236}">
                  <a16:creationId xmlns:a16="http://schemas.microsoft.com/office/drawing/2014/main" id="{F111F1B5-D091-4576-9EB0-A3EE74801804}"/>
                </a:ext>
              </a:extLst>
            </p:cNvPr>
            <p:cNvSpPr/>
            <p:nvPr/>
          </p:nvSpPr>
          <p:spPr>
            <a:xfrm>
              <a:off x="6188063" y="1037602"/>
              <a:ext cx="378944" cy="986037"/>
            </a:xfrm>
            <a:prstGeom prst="triangle">
              <a:avLst>
                <a:gd name="adj" fmla="val 83913"/>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271" name="Isosceles Triangle 270">
              <a:extLst>
                <a:ext uri="{FF2B5EF4-FFF2-40B4-BE49-F238E27FC236}">
                  <a16:creationId xmlns:a16="http://schemas.microsoft.com/office/drawing/2014/main" id="{9822A4DF-8949-4185-953C-9B67A39DDDF8}"/>
                </a:ext>
              </a:extLst>
            </p:cNvPr>
            <p:cNvSpPr/>
            <p:nvPr/>
          </p:nvSpPr>
          <p:spPr>
            <a:xfrm rot="10800000">
              <a:off x="6461950" y="2394827"/>
              <a:ext cx="378944" cy="986037"/>
            </a:xfrm>
            <a:prstGeom prst="triangle">
              <a:avLst>
                <a:gd name="adj" fmla="val 83913"/>
              </a:avLst>
            </a:prstGeom>
            <a:solidFill>
              <a:schemeClr val="tx2"/>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grpSp>
        <p:nvGrpSpPr>
          <p:cNvPr id="44" name="Group 43">
            <a:extLst>
              <a:ext uri="{FF2B5EF4-FFF2-40B4-BE49-F238E27FC236}">
                <a16:creationId xmlns:a16="http://schemas.microsoft.com/office/drawing/2014/main" id="{A0B8DC9A-97E1-4FB7-BE77-15FBC31CBBA9}"/>
              </a:ext>
            </a:extLst>
          </p:cNvPr>
          <p:cNvGrpSpPr/>
          <p:nvPr/>
        </p:nvGrpSpPr>
        <p:grpSpPr>
          <a:xfrm>
            <a:off x="3491541" y="1704886"/>
            <a:ext cx="3626995" cy="3807415"/>
            <a:chOff x="3128237" y="1704886"/>
            <a:chExt cx="3626995" cy="3807415"/>
          </a:xfrm>
        </p:grpSpPr>
        <p:sp>
          <p:nvSpPr>
            <p:cNvPr id="208" name="Freeform 2577">
              <a:extLst>
                <a:ext uri="{FF2B5EF4-FFF2-40B4-BE49-F238E27FC236}">
                  <a16:creationId xmlns:a16="http://schemas.microsoft.com/office/drawing/2014/main" id="{1D5D5736-ADB4-4A5C-ACD0-C9B5FB63DBA5}"/>
                </a:ext>
              </a:extLst>
            </p:cNvPr>
            <p:cNvSpPr>
              <a:spLocks/>
            </p:cNvSpPr>
            <p:nvPr>
              <p:custDataLst>
                <p:tags r:id="rId4"/>
              </p:custDataLst>
            </p:nvPr>
          </p:nvSpPr>
          <p:spPr bwMode="auto">
            <a:xfrm>
              <a:off x="5370588" y="4368214"/>
              <a:ext cx="346519" cy="389462"/>
            </a:xfrm>
            <a:custGeom>
              <a:avLst/>
              <a:gdLst>
                <a:gd name="T0" fmla="*/ 100 w 242"/>
                <a:gd name="T1" fmla="*/ 238 h 306"/>
                <a:gd name="T2" fmla="*/ 91 w 242"/>
                <a:gd name="T3" fmla="*/ 242 h 306"/>
                <a:gd name="T4" fmla="*/ 95 w 242"/>
                <a:gd name="T5" fmla="*/ 249 h 306"/>
                <a:gd name="T6" fmla="*/ 95 w 242"/>
                <a:gd name="T7" fmla="*/ 256 h 306"/>
                <a:gd name="T8" fmla="*/ 98 w 242"/>
                <a:gd name="T9" fmla="*/ 264 h 306"/>
                <a:gd name="T10" fmla="*/ 104 w 242"/>
                <a:gd name="T11" fmla="*/ 270 h 306"/>
                <a:gd name="T12" fmla="*/ 122 w 242"/>
                <a:gd name="T13" fmla="*/ 278 h 306"/>
                <a:gd name="T14" fmla="*/ 126 w 242"/>
                <a:gd name="T15" fmla="*/ 290 h 306"/>
                <a:gd name="T16" fmla="*/ 136 w 242"/>
                <a:gd name="T17" fmla="*/ 297 h 306"/>
                <a:gd name="T18" fmla="*/ 164 w 242"/>
                <a:gd name="T19" fmla="*/ 276 h 306"/>
                <a:gd name="T20" fmla="*/ 178 w 242"/>
                <a:gd name="T21" fmla="*/ 269 h 306"/>
                <a:gd name="T22" fmla="*/ 221 w 242"/>
                <a:gd name="T23" fmla="*/ 257 h 306"/>
                <a:gd name="T24" fmla="*/ 224 w 242"/>
                <a:gd name="T25" fmla="*/ 228 h 306"/>
                <a:gd name="T26" fmla="*/ 224 w 242"/>
                <a:gd name="T27" fmla="*/ 216 h 306"/>
                <a:gd name="T28" fmla="*/ 233 w 242"/>
                <a:gd name="T29" fmla="*/ 209 h 306"/>
                <a:gd name="T30" fmla="*/ 240 w 242"/>
                <a:gd name="T31" fmla="*/ 201 h 306"/>
                <a:gd name="T32" fmla="*/ 242 w 242"/>
                <a:gd name="T33" fmla="*/ 195 h 306"/>
                <a:gd name="T34" fmla="*/ 236 w 242"/>
                <a:gd name="T35" fmla="*/ 185 h 306"/>
                <a:gd name="T36" fmla="*/ 215 w 242"/>
                <a:gd name="T37" fmla="*/ 176 h 306"/>
                <a:gd name="T38" fmla="*/ 209 w 242"/>
                <a:gd name="T39" fmla="*/ 159 h 306"/>
                <a:gd name="T40" fmla="*/ 209 w 242"/>
                <a:gd name="T41" fmla="*/ 134 h 306"/>
                <a:gd name="T42" fmla="*/ 210 w 242"/>
                <a:gd name="T43" fmla="*/ 110 h 306"/>
                <a:gd name="T44" fmla="*/ 199 w 242"/>
                <a:gd name="T45" fmla="*/ 87 h 306"/>
                <a:gd name="T46" fmla="*/ 185 w 242"/>
                <a:gd name="T47" fmla="*/ 93 h 306"/>
                <a:gd name="T48" fmla="*/ 157 w 242"/>
                <a:gd name="T49" fmla="*/ 92 h 306"/>
                <a:gd name="T50" fmla="*/ 139 w 242"/>
                <a:gd name="T51" fmla="*/ 90 h 306"/>
                <a:gd name="T52" fmla="*/ 138 w 242"/>
                <a:gd name="T53" fmla="*/ 62 h 306"/>
                <a:gd name="T54" fmla="*/ 116 w 242"/>
                <a:gd name="T55" fmla="*/ 54 h 306"/>
                <a:gd name="T56" fmla="*/ 103 w 242"/>
                <a:gd name="T57" fmla="*/ 38 h 306"/>
                <a:gd name="T58" fmla="*/ 91 w 242"/>
                <a:gd name="T59" fmla="*/ 24 h 306"/>
                <a:gd name="T60" fmla="*/ 83 w 242"/>
                <a:gd name="T61" fmla="*/ 15 h 306"/>
                <a:gd name="T62" fmla="*/ 73 w 242"/>
                <a:gd name="T63" fmla="*/ 12 h 306"/>
                <a:gd name="T64" fmla="*/ 63 w 242"/>
                <a:gd name="T65" fmla="*/ 1 h 306"/>
                <a:gd name="T66" fmla="*/ 32 w 242"/>
                <a:gd name="T67" fmla="*/ 0 h 306"/>
                <a:gd name="T68" fmla="*/ 18 w 242"/>
                <a:gd name="T69" fmla="*/ 14 h 306"/>
                <a:gd name="T70" fmla="*/ 12 w 242"/>
                <a:gd name="T71" fmla="*/ 13 h 306"/>
                <a:gd name="T72" fmla="*/ 8 w 242"/>
                <a:gd name="T73" fmla="*/ 16 h 306"/>
                <a:gd name="T74" fmla="*/ 0 w 242"/>
                <a:gd name="T75" fmla="*/ 25 h 306"/>
                <a:gd name="T76" fmla="*/ 6 w 242"/>
                <a:gd name="T77" fmla="*/ 46 h 306"/>
                <a:gd name="T78" fmla="*/ 7 w 242"/>
                <a:gd name="T79" fmla="*/ 55 h 306"/>
                <a:gd name="T80" fmla="*/ 13 w 242"/>
                <a:gd name="T81" fmla="*/ 60 h 306"/>
                <a:gd name="T82" fmla="*/ 24 w 242"/>
                <a:gd name="T83" fmla="*/ 67 h 306"/>
                <a:gd name="T84" fmla="*/ 32 w 242"/>
                <a:gd name="T85" fmla="*/ 73 h 306"/>
                <a:gd name="T86" fmla="*/ 21 w 242"/>
                <a:gd name="T87" fmla="*/ 80 h 306"/>
                <a:gd name="T88" fmla="*/ 24 w 242"/>
                <a:gd name="T89" fmla="*/ 91 h 306"/>
                <a:gd name="T90" fmla="*/ 29 w 242"/>
                <a:gd name="T91" fmla="*/ 100 h 306"/>
                <a:gd name="T92" fmla="*/ 33 w 242"/>
                <a:gd name="T93" fmla="*/ 141 h 306"/>
                <a:gd name="T94" fmla="*/ 51 w 242"/>
                <a:gd name="T95" fmla="*/ 152 h 306"/>
                <a:gd name="T96" fmla="*/ 36 w 242"/>
                <a:gd name="T97" fmla="*/ 163 h 306"/>
                <a:gd name="T98" fmla="*/ 49 w 242"/>
                <a:gd name="T99" fmla="*/ 176 h 306"/>
                <a:gd name="T100" fmla="*/ 39 w 242"/>
                <a:gd name="T101" fmla="*/ 194 h 306"/>
                <a:gd name="T102" fmla="*/ 54 w 242"/>
                <a:gd name="T103" fmla="*/ 202 h 306"/>
                <a:gd name="T104" fmla="*/ 58 w 242"/>
                <a:gd name="T105" fmla="*/ 208 h 306"/>
                <a:gd name="T106" fmla="*/ 76 w 242"/>
                <a:gd name="T107" fmla="*/ 220 h 306"/>
                <a:gd name="T108" fmla="*/ 89 w 242"/>
                <a:gd name="T109" fmla="*/ 221 h 306"/>
                <a:gd name="T110" fmla="*/ 107 w 242"/>
                <a:gd name="T111" fmla="*/ 229 h 306"/>
                <a:gd name="T112" fmla="*/ 100 w 242"/>
                <a:gd name="T113" fmla="*/ 238 h 3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306"/>
                <a:gd name="T173" fmla="*/ 242 w 242"/>
                <a:gd name="T174" fmla="*/ 306 h 306"/>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5620 w 10000"/>
                <a:gd name="connsiteY8" fmla="*/ 9706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6364 w 10000"/>
                <a:gd name="connsiteY8" fmla="*/ 7745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9216"/>
                <a:gd name="connsiteX1" fmla="*/ 3760 w 10000"/>
                <a:gd name="connsiteY1" fmla="*/ 7908 h 9216"/>
                <a:gd name="connsiteX2" fmla="*/ 3926 w 10000"/>
                <a:gd name="connsiteY2" fmla="*/ 8137 h 9216"/>
                <a:gd name="connsiteX3" fmla="*/ 3926 w 10000"/>
                <a:gd name="connsiteY3" fmla="*/ 8366 h 9216"/>
                <a:gd name="connsiteX4" fmla="*/ 4050 w 10000"/>
                <a:gd name="connsiteY4" fmla="*/ 8627 h 9216"/>
                <a:gd name="connsiteX5" fmla="*/ 4298 w 10000"/>
                <a:gd name="connsiteY5" fmla="*/ 8824 h 9216"/>
                <a:gd name="connsiteX6" fmla="*/ 5041 w 10000"/>
                <a:gd name="connsiteY6" fmla="*/ 9085 h 9216"/>
                <a:gd name="connsiteX7" fmla="*/ 5765 w 10000"/>
                <a:gd name="connsiteY7" fmla="*/ 7075 h 9216"/>
                <a:gd name="connsiteX8" fmla="*/ 6364 w 10000"/>
                <a:gd name="connsiteY8" fmla="*/ 7745 h 9216"/>
                <a:gd name="connsiteX9" fmla="*/ 7211 w 10000"/>
                <a:gd name="connsiteY9" fmla="*/ 8089 h 9216"/>
                <a:gd name="connsiteX10" fmla="*/ 7355 w 10000"/>
                <a:gd name="connsiteY10" fmla="*/ 8791 h 9216"/>
                <a:gd name="connsiteX11" fmla="*/ 9132 w 10000"/>
                <a:gd name="connsiteY11" fmla="*/ 8399 h 9216"/>
                <a:gd name="connsiteX12" fmla="*/ 9256 w 10000"/>
                <a:gd name="connsiteY12" fmla="*/ 7451 h 9216"/>
                <a:gd name="connsiteX13" fmla="*/ 9256 w 10000"/>
                <a:gd name="connsiteY13" fmla="*/ 7059 h 9216"/>
                <a:gd name="connsiteX14" fmla="*/ 9628 w 10000"/>
                <a:gd name="connsiteY14" fmla="*/ 6830 h 9216"/>
                <a:gd name="connsiteX15" fmla="*/ 9917 w 10000"/>
                <a:gd name="connsiteY15" fmla="*/ 6569 h 9216"/>
                <a:gd name="connsiteX16" fmla="*/ 10000 w 10000"/>
                <a:gd name="connsiteY16" fmla="*/ 6373 h 9216"/>
                <a:gd name="connsiteX17" fmla="*/ 9752 w 10000"/>
                <a:gd name="connsiteY17" fmla="*/ 6046 h 9216"/>
                <a:gd name="connsiteX18" fmla="*/ 8884 w 10000"/>
                <a:gd name="connsiteY18" fmla="*/ 5752 h 9216"/>
                <a:gd name="connsiteX19" fmla="*/ 8636 w 10000"/>
                <a:gd name="connsiteY19" fmla="*/ 5196 h 9216"/>
                <a:gd name="connsiteX20" fmla="*/ 8636 w 10000"/>
                <a:gd name="connsiteY20" fmla="*/ 4379 h 9216"/>
                <a:gd name="connsiteX21" fmla="*/ 8678 w 10000"/>
                <a:gd name="connsiteY21" fmla="*/ 3595 h 9216"/>
                <a:gd name="connsiteX22" fmla="*/ 8223 w 10000"/>
                <a:gd name="connsiteY22" fmla="*/ 2843 h 9216"/>
                <a:gd name="connsiteX23" fmla="*/ 7645 w 10000"/>
                <a:gd name="connsiteY23" fmla="*/ 3039 h 9216"/>
                <a:gd name="connsiteX24" fmla="*/ 6488 w 10000"/>
                <a:gd name="connsiteY24" fmla="*/ 3007 h 9216"/>
                <a:gd name="connsiteX25" fmla="*/ 5744 w 10000"/>
                <a:gd name="connsiteY25" fmla="*/ 2941 h 9216"/>
                <a:gd name="connsiteX26" fmla="*/ 5702 w 10000"/>
                <a:gd name="connsiteY26" fmla="*/ 2026 h 9216"/>
                <a:gd name="connsiteX27" fmla="*/ 4793 w 10000"/>
                <a:gd name="connsiteY27" fmla="*/ 1765 h 9216"/>
                <a:gd name="connsiteX28" fmla="*/ 4256 w 10000"/>
                <a:gd name="connsiteY28" fmla="*/ 1242 h 9216"/>
                <a:gd name="connsiteX29" fmla="*/ 3760 w 10000"/>
                <a:gd name="connsiteY29" fmla="*/ 784 h 9216"/>
                <a:gd name="connsiteX30" fmla="*/ 3430 w 10000"/>
                <a:gd name="connsiteY30" fmla="*/ 490 h 9216"/>
                <a:gd name="connsiteX31" fmla="*/ 3017 w 10000"/>
                <a:gd name="connsiteY31" fmla="*/ 392 h 9216"/>
                <a:gd name="connsiteX32" fmla="*/ 2603 w 10000"/>
                <a:gd name="connsiteY32" fmla="*/ 33 h 9216"/>
                <a:gd name="connsiteX33" fmla="*/ 1322 w 10000"/>
                <a:gd name="connsiteY33" fmla="*/ 0 h 9216"/>
                <a:gd name="connsiteX34" fmla="*/ 744 w 10000"/>
                <a:gd name="connsiteY34" fmla="*/ 458 h 9216"/>
                <a:gd name="connsiteX35" fmla="*/ 496 w 10000"/>
                <a:gd name="connsiteY35" fmla="*/ 425 h 9216"/>
                <a:gd name="connsiteX36" fmla="*/ 331 w 10000"/>
                <a:gd name="connsiteY36" fmla="*/ 523 h 9216"/>
                <a:gd name="connsiteX37" fmla="*/ 0 w 10000"/>
                <a:gd name="connsiteY37" fmla="*/ 817 h 9216"/>
                <a:gd name="connsiteX38" fmla="*/ 248 w 10000"/>
                <a:gd name="connsiteY38" fmla="*/ 1503 h 9216"/>
                <a:gd name="connsiteX39" fmla="*/ 289 w 10000"/>
                <a:gd name="connsiteY39" fmla="*/ 1797 h 9216"/>
                <a:gd name="connsiteX40" fmla="*/ 537 w 10000"/>
                <a:gd name="connsiteY40" fmla="*/ 1961 h 9216"/>
                <a:gd name="connsiteX41" fmla="*/ 992 w 10000"/>
                <a:gd name="connsiteY41" fmla="*/ 2190 h 9216"/>
                <a:gd name="connsiteX42" fmla="*/ 1322 w 10000"/>
                <a:gd name="connsiteY42" fmla="*/ 2386 h 9216"/>
                <a:gd name="connsiteX43" fmla="*/ 868 w 10000"/>
                <a:gd name="connsiteY43" fmla="*/ 2614 h 9216"/>
                <a:gd name="connsiteX44" fmla="*/ 992 w 10000"/>
                <a:gd name="connsiteY44" fmla="*/ 2974 h 9216"/>
                <a:gd name="connsiteX45" fmla="*/ 1198 w 10000"/>
                <a:gd name="connsiteY45" fmla="*/ 3268 h 9216"/>
                <a:gd name="connsiteX46" fmla="*/ 1364 w 10000"/>
                <a:gd name="connsiteY46" fmla="*/ 4608 h 9216"/>
                <a:gd name="connsiteX47" fmla="*/ 2107 w 10000"/>
                <a:gd name="connsiteY47" fmla="*/ 4967 h 9216"/>
                <a:gd name="connsiteX48" fmla="*/ 1488 w 10000"/>
                <a:gd name="connsiteY48" fmla="*/ 5327 h 9216"/>
                <a:gd name="connsiteX49" fmla="*/ 2025 w 10000"/>
                <a:gd name="connsiteY49" fmla="*/ 5752 h 9216"/>
                <a:gd name="connsiteX50" fmla="*/ 1612 w 10000"/>
                <a:gd name="connsiteY50" fmla="*/ 6340 h 9216"/>
                <a:gd name="connsiteX51" fmla="*/ 2231 w 10000"/>
                <a:gd name="connsiteY51" fmla="*/ 6601 h 9216"/>
                <a:gd name="connsiteX52" fmla="*/ 2397 w 10000"/>
                <a:gd name="connsiteY52" fmla="*/ 6797 h 9216"/>
                <a:gd name="connsiteX53" fmla="*/ 3140 w 10000"/>
                <a:gd name="connsiteY53" fmla="*/ 7190 h 9216"/>
                <a:gd name="connsiteX54" fmla="*/ 3678 w 10000"/>
                <a:gd name="connsiteY54" fmla="*/ 7222 h 9216"/>
                <a:gd name="connsiteX55" fmla="*/ 4421 w 10000"/>
                <a:gd name="connsiteY55" fmla="*/ 7484 h 9216"/>
                <a:gd name="connsiteX56" fmla="*/ 4132 w 10000"/>
                <a:gd name="connsiteY56" fmla="*/ 7778 h 9216"/>
                <a:gd name="connsiteX0" fmla="*/ 4132 w 10000"/>
                <a:gd name="connsiteY0" fmla="*/ 8440 h 9752"/>
                <a:gd name="connsiteX1" fmla="*/ 3760 w 10000"/>
                <a:gd name="connsiteY1" fmla="*/ 8581 h 9752"/>
                <a:gd name="connsiteX2" fmla="*/ 3926 w 10000"/>
                <a:gd name="connsiteY2" fmla="*/ 8829 h 9752"/>
                <a:gd name="connsiteX3" fmla="*/ 3926 w 10000"/>
                <a:gd name="connsiteY3" fmla="*/ 9078 h 9752"/>
                <a:gd name="connsiteX4" fmla="*/ 4050 w 10000"/>
                <a:gd name="connsiteY4" fmla="*/ 9361 h 9752"/>
                <a:gd name="connsiteX5" fmla="*/ 4298 w 10000"/>
                <a:gd name="connsiteY5" fmla="*/ 9575 h 9752"/>
                <a:gd name="connsiteX6" fmla="*/ 5413 w 10000"/>
                <a:gd name="connsiteY6" fmla="*/ 7784 h 9752"/>
                <a:gd name="connsiteX7" fmla="*/ 5765 w 10000"/>
                <a:gd name="connsiteY7" fmla="*/ 7677 h 9752"/>
                <a:gd name="connsiteX8" fmla="*/ 6364 w 10000"/>
                <a:gd name="connsiteY8" fmla="*/ 8404 h 9752"/>
                <a:gd name="connsiteX9" fmla="*/ 7211 w 10000"/>
                <a:gd name="connsiteY9" fmla="*/ 8777 h 9752"/>
                <a:gd name="connsiteX10" fmla="*/ 7355 w 10000"/>
                <a:gd name="connsiteY10" fmla="*/ 9539 h 9752"/>
                <a:gd name="connsiteX11" fmla="*/ 9132 w 10000"/>
                <a:gd name="connsiteY11" fmla="*/ 9113 h 9752"/>
                <a:gd name="connsiteX12" fmla="*/ 9256 w 10000"/>
                <a:gd name="connsiteY12" fmla="*/ 8085 h 9752"/>
                <a:gd name="connsiteX13" fmla="*/ 9256 w 10000"/>
                <a:gd name="connsiteY13" fmla="*/ 7660 h 9752"/>
                <a:gd name="connsiteX14" fmla="*/ 9628 w 10000"/>
                <a:gd name="connsiteY14" fmla="*/ 7411 h 9752"/>
                <a:gd name="connsiteX15" fmla="*/ 9917 w 10000"/>
                <a:gd name="connsiteY15" fmla="*/ 7128 h 9752"/>
                <a:gd name="connsiteX16" fmla="*/ 10000 w 10000"/>
                <a:gd name="connsiteY16" fmla="*/ 6915 h 9752"/>
                <a:gd name="connsiteX17" fmla="*/ 9752 w 10000"/>
                <a:gd name="connsiteY17" fmla="*/ 6560 h 9752"/>
                <a:gd name="connsiteX18" fmla="*/ 8884 w 10000"/>
                <a:gd name="connsiteY18" fmla="*/ 6241 h 9752"/>
                <a:gd name="connsiteX19" fmla="*/ 8636 w 10000"/>
                <a:gd name="connsiteY19" fmla="*/ 5638 h 9752"/>
                <a:gd name="connsiteX20" fmla="*/ 8636 w 10000"/>
                <a:gd name="connsiteY20" fmla="*/ 4752 h 9752"/>
                <a:gd name="connsiteX21" fmla="*/ 8678 w 10000"/>
                <a:gd name="connsiteY21" fmla="*/ 3901 h 9752"/>
                <a:gd name="connsiteX22" fmla="*/ 8223 w 10000"/>
                <a:gd name="connsiteY22" fmla="*/ 3085 h 9752"/>
                <a:gd name="connsiteX23" fmla="*/ 7645 w 10000"/>
                <a:gd name="connsiteY23" fmla="*/ 3298 h 9752"/>
                <a:gd name="connsiteX24" fmla="*/ 6488 w 10000"/>
                <a:gd name="connsiteY24" fmla="*/ 3263 h 9752"/>
                <a:gd name="connsiteX25" fmla="*/ 5744 w 10000"/>
                <a:gd name="connsiteY25" fmla="*/ 3191 h 9752"/>
                <a:gd name="connsiteX26" fmla="*/ 5702 w 10000"/>
                <a:gd name="connsiteY26" fmla="*/ 2198 h 9752"/>
                <a:gd name="connsiteX27" fmla="*/ 4793 w 10000"/>
                <a:gd name="connsiteY27" fmla="*/ 1915 h 9752"/>
                <a:gd name="connsiteX28" fmla="*/ 4256 w 10000"/>
                <a:gd name="connsiteY28" fmla="*/ 1348 h 9752"/>
                <a:gd name="connsiteX29" fmla="*/ 3760 w 10000"/>
                <a:gd name="connsiteY29" fmla="*/ 851 h 9752"/>
                <a:gd name="connsiteX30" fmla="*/ 3430 w 10000"/>
                <a:gd name="connsiteY30" fmla="*/ 532 h 9752"/>
                <a:gd name="connsiteX31" fmla="*/ 3017 w 10000"/>
                <a:gd name="connsiteY31" fmla="*/ 425 h 9752"/>
                <a:gd name="connsiteX32" fmla="*/ 2603 w 10000"/>
                <a:gd name="connsiteY32" fmla="*/ 36 h 9752"/>
                <a:gd name="connsiteX33" fmla="*/ 1322 w 10000"/>
                <a:gd name="connsiteY33" fmla="*/ 0 h 9752"/>
                <a:gd name="connsiteX34" fmla="*/ 744 w 10000"/>
                <a:gd name="connsiteY34" fmla="*/ 497 h 9752"/>
                <a:gd name="connsiteX35" fmla="*/ 496 w 10000"/>
                <a:gd name="connsiteY35" fmla="*/ 461 h 9752"/>
                <a:gd name="connsiteX36" fmla="*/ 331 w 10000"/>
                <a:gd name="connsiteY36" fmla="*/ 567 h 9752"/>
                <a:gd name="connsiteX37" fmla="*/ 0 w 10000"/>
                <a:gd name="connsiteY37" fmla="*/ 887 h 9752"/>
                <a:gd name="connsiteX38" fmla="*/ 248 w 10000"/>
                <a:gd name="connsiteY38" fmla="*/ 1631 h 9752"/>
                <a:gd name="connsiteX39" fmla="*/ 289 w 10000"/>
                <a:gd name="connsiteY39" fmla="*/ 1950 h 9752"/>
                <a:gd name="connsiteX40" fmla="*/ 537 w 10000"/>
                <a:gd name="connsiteY40" fmla="*/ 2128 h 9752"/>
                <a:gd name="connsiteX41" fmla="*/ 992 w 10000"/>
                <a:gd name="connsiteY41" fmla="*/ 2376 h 9752"/>
                <a:gd name="connsiteX42" fmla="*/ 1322 w 10000"/>
                <a:gd name="connsiteY42" fmla="*/ 2589 h 9752"/>
                <a:gd name="connsiteX43" fmla="*/ 868 w 10000"/>
                <a:gd name="connsiteY43" fmla="*/ 2836 h 9752"/>
                <a:gd name="connsiteX44" fmla="*/ 992 w 10000"/>
                <a:gd name="connsiteY44" fmla="*/ 3227 h 9752"/>
                <a:gd name="connsiteX45" fmla="*/ 1198 w 10000"/>
                <a:gd name="connsiteY45" fmla="*/ 3546 h 9752"/>
                <a:gd name="connsiteX46" fmla="*/ 1364 w 10000"/>
                <a:gd name="connsiteY46" fmla="*/ 5000 h 9752"/>
                <a:gd name="connsiteX47" fmla="*/ 2107 w 10000"/>
                <a:gd name="connsiteY47" fmla="*/ 5390 h 9752"/>
                <a:gd name="connsiteX48" fmla="*/ 1488 w 10000"/>
                <a:gd name="connsiteY48" fmla="*/ 5780 h 9752"/>
                <a:gd name="connsiteX49" fmla="*/ 2025 w 10000"/>
                <a:gd name="connsiteY49" fmla="*/ 6241 h 9752"/>
                <a:gd name="connsiteX50" fmla="*/ 1612 w 10000"/>
                <a:gd name="connsiteY50" fmla="*/ 6879 h 9752"/>
                <a:gd name="connsiteX51" fmla="*/ 2231 w 10000"/>
                <a:gd name="connsiteY51" fmla="*/ 7163 h 9752"/>
                <a:gd name="connsiteX52" fmla="*/ 2397 w 10000"/>
                <a:gd name="connsiteY52" fmla="*/ 7375 h 9752"/>
                <a:gd name="connsiteX53" fmla="*/ 3140 w 10000"/>
                <a:gd name="connsiteY53" fmla="*/ 7802 h 9752"/>
                <a:gd name="connsiteX54" fmla="*/ 3678 w 10000"/>
                <a:gd name="connsiteY54" fmla="*/ 7836 h 9752"/>
                <a:gd name="connsiteX55" fmla="*/ 4421 w 10000"/>
                <a:gd name="connsiteY55" fmla="*/ 8121 h 9752"/>
                <a:gd name="connsiteX56" fmla="*/ 4132 w 10000"/>
                <a:gd name="connsiteY56" fmla="*/ 8440 h 9752"/>
                <a:gd name="connsiteX0" fmla="*/ 4132 w 10000"/>
                <a:gd name="connsiteY0" fmla="*/ 8655 h 9890"/>
                <a:gd name="connsiteX1" fmla="*/ 3760 w 10000"/>
                <a:gd name="connsiteY1" fmla="*/ 8799 h 9890"/>
                <a:gd name="connsiteX2" fmla="*/ 3926 w 10000"/>
                <a:gd name="connsiteY2" fmla="*/ 9054 h 9890"/>
                <a:gd name="connsiteX3" fmla="*/ 3926 w 10000"/>
                <a:gd name="connsiteY3" fmla="*/ 9309 h 9890"/>
                <a:gd name="connsiteX4" fmla="*/ 4050 w 10000"/>
                <a:gd name="connsiteY4" fmla="*/ 9599 h 9890"/>
                <a:gd name="connsiteX5" fmla="*/ 5042 w 10000"/>
                <a:gd name="connsiteY5" fmla="*/ 7636 h 9890"/>
                <a:gd name="connsiteX6" fmla="*/ 5413 w 10000"/>
                <a:gd name="connsiteY6" fmla="*/ 7982 h 9890"/>
                <a:gd name="connsiteX7" fmla="*/ 5765 w 10000"/>
                <a:gd name="connsiteY7" fmla="*/ 7872 h 9890"/>
                <a:gd name="connsiteX8" fmla="*/ 6364 w 10000"/>
                <a:gd name="connsiteY8" fmla="*/ 8618 h 9890"/>
                <a:gd name="connsiteX9" fmla="*/ 7211 w 10000"/>
                <a:gd name="connsiteY9" fmla="*/ 9000 h 9890"/>
                <a:gd name="connsiteX10" fmla="*/ 7355 w 10000"/>
                <a:gd name="connsiteY10" fmla="*/ 9782 h 9890"/>
                <a:gd name="connsiteX11" fmla="*/ 9132 w 10000"/>
                <a:gd name="connsiteY11" fmla="*/ 9345 h 9890"/>
                <a:gd name="connsiteX12" fmla="*/ 9256 w 10000"/>
                <a:gd name="connsiteY12" fmla="*/ 8291 h 9890"/>
                <a:gd name="connsiteX13" fmla="*/ 9256 w 10000"/>
                <a:gd name="connsiteY13" fmla="*/ 7855 h 9890"/>
                <a:gd name="connsiteX14" fmla="*/ 9628 w 10000"/>
                <a:gd name="connsiteY14" fmla="*/ 7599 h 9890"/>
                <a:gd name="connsiteX15" fmla="*/ 9917 w 10000"/>
                <a:gd name="connsiteY15" fmla="*/ 7309 h 9890"/>
                <a:gd name="connsiteX16" fmla="*/ 10000 w 10000"/>
                <a:gd name="connsiteY16" fmla="*/ 7091 h 9890"/>
                <a:gd name="connsiteX17" fmla="*/ 9752 w 10000"/>
                <a:gd name="connsiteY17" fmla="*/ 6727 h 9890"/>
                <a:gd name="connsiteX18" fmla="*/ 8884 w 10000"/>
                <a:gd name="connsiteY18" fmla="*/ 6400 h 9890"/>
                <a:gd name="connsiteX19" fmla="*/ 8636 w 10000"/>
                <a:gd name="connsiteY19" fmla="*/ 5781 h 9890"/>
                <a:gd name="connsiteX20" fmla="*/ 8636 w 10000"/>
                <a:gd name="connsiteY20" fmla="*/ 4873 h 9890"/>
                <a:gd name="connsiteX21" fmla="*/ 8678 w 10000"/>
                <a:gd name="connsiteY21" fmla="*/ 4000 h 9890"/>
                <a:gd name="connsiteX22" fmla="*/ 8223 w 10000"/>
                <a:gd name="connsiteY22" fmla="*/ 3163 h 9890"/>
                <a:gd name="connsiteX23" fmla="*/ 7645 w 10000"/>
                <a:gd name="connsiteY23" fmla="*/ 3382 h 9890"/>
                <a:gd name="connsiteX24" fmla="*/ 6488 w 10000"/>
                <a:gd name="connsiteY24" fmla="*/ 3346 h 9890"/>
                <a:gd name="connsiteX25" fmla="*/ 5744 w 10000"/>
                <a:gd name="connsiteY25" fmla="*/ 3272 h 9890"/>
                <a:gd name="connsiteX26" fmla="*/ 5702 w 10000"/>
                <a:gd name="connsiteY26" fmla="*/ 2254 h 9890"/>
                <a:gd name="connsiteX27" fmla="*/ 4793 w 10000"/>
                <a:gd name="connsiteY27" fmla="*/ 1964 h 9890"/>
                <a:gd name="connsiteX28" fmla="*/ 4256 w 10000"/>
                <a:gd name="connsiteY28" fmla="*/ 1382 h 9890"/>
                <a:gd name="connsiteX29" fmla="*/ 3760 w 10000"/>
                <a:gd name="connsiteY29" fmla="*/ 873 h 9890"/>
                <a:gd name="connsiteX30" fmla="*/ 3430 w 10000"/>
                <a:gd name="connsiteY30" fmla="*/ 546 h 9890"/>
                <a:gd name="connsiteX31" fmla="*/ 3017 w 10000"/>
                <a:gd name="connsiteY31" fmla="*/ 436 h 9890"/>
                <a:gd name="connsiteX32" fmla="*/ 2603 w 10000"/>
                <a:gd name="connsiteY32" fmla="*/ 37 h 9890"/>
                <a:gd name="connsiteX33" fmla="*/ 1322 w 10000"/>
                <a:gd name="connsiteY33" fmla="*/ 0 h 9890"/>
                <a:gd name="connsiteX34" fmla="*/ 744 w 10000"/>
                <a:gd name="connsiteY34" fmla="*/ 510 h 9890"/>
                <a:gd name="connsiteX35" fmla="*/ 496 w 10000"/>
                <a:gd name="connsiteY35" fmla="*/ 473 h 9890"/>
                <a:gd name="connsiteX36" fmla="*/ 331 w 10000"/>
                <a:gd name="connsiteY36" fmla="*/ 581 h 9890"/>
                <a:gd name="connsiteX37" fmla="*/ 0 w 10000"/>
                <a:gd name="connsiteY37" fmla="*/ 910 h 9890"/>
                <a:gd name="connsiteX38" fmla="*/ 248 w 10000"/>
                <a:gd name="connsiteY38" fmla="*/ 1672 h 9890"/>
                <a:gd name="connsiteX39" fmla="*/ 289 w 10000"/>
                <a:gd name="connsiteY39" fmla="*/ 2000 h 9890"/>
                <a:gd name="connsiteX40" fmla="*/ 537 w 10000"/>
                <a:gd name="connsiteY40" fmla="*/ 2182 h 9890"/>
                <a:gd name="connsiteX41" fmla="*/ 992 w 10000"/>
                <a:gd name="connsiteY41" fmla="*/ 2436 h 9890"/>
                <a:gd name="connsiteX42" fmla="*/ 1322 w 10000"/>
                <a:gd name="connsiteY42" fmla="*/ 2655 h 9890"/>
                <a:gd name="connsiteX43" fmla="*/ 868 w 10000"/>
                <a:gd name="connsiteY43" fmla="*/ 2908 h 9890"/>
                <a:gd name="connsiteX44" fmla="*/ 992 w 10000"/>
                <a:gd name="connsiteY44" fmla="*/ 3309 h 9890"/>
                <a:gd name="connsiteX45" fmla="*/ 1198 w 10000"/>
                <a:gd name="connsiteY45" fmla="*/ 3636 h 9890"/>
                <a:gd name="connsiteX46" fmla="*/ 1364 w 10000"/>
                <a:gd name="connsiteY46" fmla="*/ 5127 h 9890"/>
                <a:gd name="connsiteX47" fmla="*/ 2107 w 10000"/>
                <a:gd name="connsiteY47" fmla="*/ 5527 h 9890"/>
                <a:gd name="connsiteX48" fmla="*/ 1488 w 10000"/>
                <a:gd name="connsiteY48" fmla="*/ 5927 h 9890"/>
                <a:gd name="connsiteX49" fmla="*/ 2025 w 10000"/>
                <a:gd name="connsiteY49" fmla="*/ 6400 h 9890"/>
                <a:gd name="connsiteX50" fmla="*/ 1612 w 10000"/>
                <a:gd name="connsiteY50" fmla="*/ 7054 h 9890"/>
                <a:gd name="connsiteX51" fmla="*/ 2231 w 10000"/>
                <a:gd name="connsiteY51" fmla="*/ 7345 h 9890"/>
                <a:gd name="connsiteX52" fmla="*/ 2397 w 10000"/>
                <a:gd name="connsiteY52" fmla="*/ 7563 h 9890"/>
                <a:gd name="connsiteX53" fmla="*/ 3140 w 10000"/>
                <a:gd name="connsiteY53" fmla="*/ 8000 h 9890"/>
                <a:gd name="connsiteX54" fmla="*/ 3678 w 10000"/>
                <a:gd name="connsiteY54" fmla="*/ 8035 h 9890"/>
                <a:gd name="connsiteX55" fmla="*/ 4421 w 10000"/>
                <a:gd name="connsiteY55" fmla="*/ 8328 h 9890"/>
                <a:gd name="connsiteX56" fmla="*/ 4132 w 10000"/>
                <a:gd name="connsiteY56" fmla="*/ 8655 h 9890"/>
                <a:gd name="connsiteX0" fmla="*/ 4132 w 10000"/>
                <a:gd name="connsiteY0" fmla="*/ 8751 h 10000"/>
                <a:gd name="connsiteX1" fmla="*/ 3760 w 10000"/>
                <a:gd name="connsiteY1" fmla="*/ 8897 h 10000"/>
                <a:gd name="connsiteX2" fmla="*/ 3926 w 10000"/>
                <a:gd name="connsiteY2" fmla="*/ 9155 h 10000"/>
                <a:gd name="connsiteX3" fmla="*/ 3926 w 10000"/>
                <a:gd name="connsiteY3" fmla="*/ 9413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3926 w 10000"/>
                <a:gd name="connsiteY2" fmla="*/ 9155 h 10000"/>
                <a:gd name="connsiteX3" fmla="*/ 4732 w 10000"/>
                <a:gd name="connsiteY3" fmla="*/ 8255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4732 w 10000"/>
                <a:gd name="connsiteY2" fmla="*/ 8255 h 10000"/>
                <a:gd name="connsiteX3" fmla="*/ 4608 w 10000"/>
                <a:gd name="connsiteY3" fmla="*/ 7886 h 10000"/>
                <a:gd name="connsiteX4" fmla="*/ 5042 w 10000"/>
                <a:gd name="connsiteY4" fmla="*/ 7721 h 10000"/>
                <a:gd name="connsiteX5" fmla="*/ 5413 w 10000"/>
                <a:gd name="connsiteY5" fmla="*/ 8071 h 10000"/>
                <a:gd name="connsiteX6" fmla="*/ 5765 w 10000"/>
                <a:gd name="connsiteY6" fmla="*/ 7960 h 10000"/>
                <a:gd name="connsiteX7" fmla="*/ 6364 w 10000"/>
                <a:gd name="connsiteY7" fmla="*/ 8714 h 10000"/>
                <a:gd name="connsiteX8" fmla="*/ 7211 w 10000"/>
                <a:gd name="connsiteY8" fmla="*/ 9100 h 10000"/>
                <a:gd name="connsiteX9" fmla="*/ 7355 w 10000"/>
                <a:gd name="connsiteY9" fmla="*/ 9891 h 10000"/>
                <a:gd name="connsiteX10" fmla="*/ 9132 w 10000"/>
                <a:gd name="connsiteY10" fmla="*/ 9449 h 10000"/>
                <a:gd name="connsiteX11" fmla="*/ 9256 w 10000"/>
                <a:gd name="connsiteY11" fmla="*/ 8383 h 10000"/>
                <a:gd name="connsiteX12" fmla="*/ 9256 w 10000"/>
                <a:gd name="connsiteY12" fmla="*/ 7942 h 10000"/>
                <a:gd name="connsiteX13" fmla="*/ 9628 w 10000"/>
                <a:gd name="connsiteY13" fmla="*/ 7684 h 10000"/>
                <a:gd name="connsiteX14" fmla="*/ 9917 w 10000"/>
                <a:gd name="connsiteY14" fmla="*/ 7390 h 10000"/>
                <a:gd name="connsiteX15" fmla="*/ 10000 w 10000"/>
                <a:gd name="connsiteY15" fmla="*/ 7170 h 10000"/>
                <a:gd name="connsiteX16" fmla="*/ 9752 w 10000"/>
                <a:gd name="connsiteY16" fmla="*/ 6802 h 10000"/>
                <a:gd name="connsiteX17" fmla="*/ 8884 w 10000"/>
                <a:gd name="connsiteY17" fmla="*/ 6471 h 10000"/>
                <a:gd name="connsiteX18" fmla="*/ 8636 w 10000"/>
                <a:gd name="connsiteY18" fmla="*/ 5845 h 10000"/>
                <a:gd name="connsiteX19" fmla="*/ 8636 w 10000"/>
                <a:gd name="connsiteY19" fmla="*/ 4927 h 10000"/>
                <a:gd name="connsiteX20" fmla="*/ 8678 w 10000"/>
                <a:gd name="connsiteY20" fmla="*/ 4044 h 10000"/>
                <a:gd name="connsiteX21" fmla="*/ 8223 w 10000"/>
                <a:gd name="connsiteY21" fmla="*/ 3198 h 10000"/>
                <a:gd name="connsiteX22" fmla="*/ 7645 w 10000"/>
                <a:gd name="connsiteY22" fmla="*/ 3420 h 10000"/>
                <a:gd name="connsiteX23" fmla="*/ 6488 w 10000"/>
                <a:gd name="connsiteY23" fmla="*/ 3383 h 10000"/>
                <a:gd name="connsiteX24" fmla="*/ 5744 w 10000"/>
                <a:gd name="connsiteY24" fmla="*/ 3308 h 10000"/>
                <a:gd name="connsiteX25" fmla="*/ 5702 w 10000"/>
                <a:gd name="connsiteY25" fmla="*/ 2279 h 10000"/>
                <a:gd name="connsiteX26" fmla="*/ 4793 w 10000"/>
                <a:gd name="connsiteY26" fmla="*/ 1986 h 10000"/>
                <a:gd name="connsiteX27" fmla="*/ 4256 w 10000"/>
                <a:gd name="connsiteY27" fmla="*/ 1397 h 10000"/>
                <a:gd name="connsiteX28" fmla="*/ 3760 w 10000"/>
                <a:gd name="connsiteY28" fmla="*/ 883 h 10000"/>
                <a:gd name="connsiteX29" fmla="*/ 3430 w 10000"/>
                <a:gd name="connsiteY29" fmla="*/ 552 h 10000"/>
                <a:gd name="connsiteX30" fmla="*/ 3017 w 10000"/>
                <a:gd name="connsiteY30" fmla="*/ 441 h 10000"/>
                <a:gd name="connsiteX31" fmla="*/ 2603 w 10000"/>
                <a:gd name="connsiteY31" fmla="*/ 37 h 10000"/>
                <a:gd name="connsiteX32" fmla="*/ 1322 w 10000"/>
                <a:gd name="connsiteY32" fmla="*/ 0 h 10000"/>
                <a:gd name="connsiteX33" fmla="*/ 744 w 10000"/>
                <a:gd name="connsiteY33" fmla="*/ 516 h 10000"/>
                <a:gd name="connsiteX34" fmla="*/ 496 w 10000"/>
                <a:gd name="connsiteY34" fmla="*/ 478 h 10000"/>
                <a:gd name="connsiteX35" fmla="*/ 331 w 10000"/>
                <a:gd name="connsiteY35" fmla="*/ 587 h 10000"/>
                <a:gd name="connsiteX36" fmla="*/ 0 w 10000"/>
                <a:gd name="connsiteY36" fmla="*/ 920 h 10000"/>
                <a:gd name="connsiteX37" fmla="*/ 248 w 10000"/>
                <a:gd name="connsiteY37" fmla="*/ 1691 h 10000"/>
                <a:gd name="connsiteX38" fmla="*/ 289 w 10000"/>
                <a:gd name="connsiteY38" fmla="*/ 2022 h 10000"/>
                <a:gd name="connsiteX39" fmla="*/ 537 w 10000"/>
                <a:gd name="connsiteY39" fmla="*/ 2206 h 10000"/>
                <a:gd name="connsiteX40" fmla="*/ 992 w 10000"/>
                <a:gd name="connsiteY40" fmla="*/ 2463 h 10000"/>
                <a:gd name="connsiteX41" fmla="*/ 1322 w 10000"/>
                <a:gd name="connsiteY41" fmla="*/ 2685 h 10000"/>
                <a:gd name="connsiteX42" fmla="*/ 868 w 10000"/>
                <a:gd name="connsiteY42" fmla="*/ 2940 h 10000"/>
                <a:gd name="connsiteX43" fmla="*/ 992 w 10000"/>
                <a:gd name="connsiteY43" fmla="*/ 3346 h 10000"/>
                <a:gd name="connsiteX44" fmla="*/ 1198 w 10000"/>
                <a:gd name="connsiteY44" fmla="*/ 3676 h 10000"/>
                <a:gd name="connsiteX45" fmla="*/ 1364 w 10000"/>
                <a:gd name="connsiteY45" fmla="*/ 5184 h 10000"/>
                <a:gd name="connsiteX46" fmla="*/ 2107 w 10000"/>
                <a:gd name="connsiteY46" fmla="*/ 5588 h 10000"/>
                <a:gd name="connsiteX47" fmla="*/ 1488 w 10000"/>
                <a:gd name="connsiteY47" fmla="*/ 5993 h 10000"/>
                <a:gd name="connsiteX48" fmla="*/ 2025 w 10000"/>
                <a:gd name="connsiteY48" fmla="*/ 6471 h 10000"/>
                <a:gd name="connsiteX49" fmla="*/ 1612 w 10000"/>
                <a:gd name="connsiteY49" fmla="*/ 7132 h 10000"/>
                <a:gd name="connsiteX50" fmla="*/ 2231 w 10000"/>
                <a:gd name="connsiteY50" fmla="*/ 7427 h 10000"/>
                <a:gd name="connsiteX51" fmla="*/ 2397 w 10000"/>
                <a:gd name="connsiteY51" fmla="*/ 7647 h 10000"/>
                <a:gd name="connsiteX52" fmla="*/ 3140 w 10000"/>
                <a:gd name="connsiteY52" fmla="*/ 8089 h 10000"/>
                <a:gd name="connsiteX53" fmla="*/ 3678 w 10000"/>
                <a:gd name="connsiteY53" fmla="*/ 8124 h 10000"/>
                <a:gd name="connsiteX54" fmla="*/ 4421 w 10000"/>
                <a:gd name="connsiteY54" fmla="*/ 8421 h 10000"/>
                <a:gd name="connsiteX55" fmla="*/ 4132 w 10000"/>
                <a:gd name="connsiteY55" fmla="*/ 8751 h 10000"/>
                <a:gd name="connsiteX0" fmla="*/ 4132 w 10000"/>
                <a:gd name="connsiteY0" fmla="*/ 875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54" fmla="*/ 4132 w 10000"/>
                <a:gd name="connsiteY54" fmla="*/ 8751 h 10000"/>
                <a:gd name="connsiteX0" fmla="*/ 4421 w 10000"/>
                <a:gd name="connsiteY0" fmla="*/ 842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0" fmla="*/ 3678 w 10000"/>
                <a:gd name="connsiteY0" fmla="*/ 8124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4608 w 10000"/>
                <a:gd name="connsiteY3" fmla="*/ 8328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5413 w 10000"/>
                <a:gd name="connsiteY3" fmla="*/ 8071 h 10000"/>
                <a:gd name="connsiteX4" fmla="*/ 5765 w 10000"/>
                <a:gd name="connsiteY4" fmla="*/ 7960 h 10000"/>
                <a:gd name="connsiteX5" fmla="*/ 6364 w 10000"/>
                <a:gd name="connsiteY5" fmla="*/ 8714 h 10000"/>
                <a:gd name="connsiteX6" fmla="*/ 7211 w 10000"/>
                <a:gd name="connsiteY6" fmla="*/ 9100 h 10000"/>
                <a:gd name="connsiteX7" fmla="*/ 7355 w 10000"/>
                <a:gd name="connsiteY7" fmla="*/ 9891 h 10000"/>
                <a:gd name="connsiteX8" fmla="*/ 9132 w 10000"/>
                <a:gd name="connsiteY8" fmla="*/ 9449 h 10000"/>
                <a:gd name="connsiteX9" fmla="*/ 9256 w 10000"/>
                <a:gd name="connsiteY9" fmla="*/ 8383 h 10000"/>
                <a:gd name="connsiteX10" fmla="*/ 9256 w 10000"/>
                <a:gd name="connsiteY10" fmla="*/ 7942 h 10000"/>
                <a:gd name="connsiteX11" fmla="*/ 9628 w 10000"/>
                <a:gd name="connsiteY11" fmla="*/ 7684 h 10000"/>
                <a:gd name="connsiteX12" fmla="*/ 9917 w 10000"/>
                <a:gd name="connsiteY12" fmla="*/ 7390 h 10000"/>
                <a:gd name="connsiteX13" fmla="*/ 10000 w 10000"/>
                <a:gd name="connsiteY13" fmla="*/ 7170 h 10000"/>
                <a:gd name="connsiteX14" fmla="*/ 9752 w 10000"/>
                <a:gd name="connsiteY14" fmla="*/ 6802 h 10000"/>
                <a:gd name="connsiteX15" fmla="*/ 8884 w 10000"/>
                <a:gd name="connsiteY15" fmla="*/ 6471 h 10000"/>
                <a:gd name="connsiteX16" fmla="*/ 8636 w 10000"/>
                <a:gd name="connsiteY16" fmla="*/ 5845 h 10000"/>
                <a:gd name="connsiteX17" fmla="*/ 8636 w 10000"/>
                <a:gd name="connsiteY17" fmla="*/ 4927 h 10000"/>
                <a:gd name="connsiteX18" fmla="*/ 8678 w 10000"/>
                <a:gd name="connsiteY18" fmla="*/ 4044 h 10000"/>
                <a:gd name="connsiteX19" fmla="*/ 8223 w 10000"/>
                <a:gd name="connsiteY19" fmla="*/ 3198 h 10000"/>
                <a:gd name="connsiteX20" fmla="*/ 7645 w 10000"/>
                <a:gd name="connsiteY20" fmla="*/ 3420 h 10000"/>
                <a:gd name="connsiteX21" fmla="*/ 6488 w 10000"/>
                <a:gd name="connsiteY21" fmla="*/ 3383 h 10000"/>
                <a:gd name="connsiteX22" fmla="*/ 5744 w 10000"/>
                <a:gd name="connsiteY22" fmla="*/ 3308 h 10000"/>
                <a:gd name="connsiteX23" fmla="*/ 5702 w 10000"/>
                <a:gd name="connsiteY23" fmla="*/ 2279 h 10000"/>
                <a:gd name="connsiteX24" fmla="*/ 4793 w 10000"/>
                <a:gd name="connsiteY24" fmla="*/ 1986 h 10000"/>
                <a:gd name="connsiteX25" fmla="*/ 4256 w 10000"/>
                <a:gd name="connsiteY25" fmla="*/ 1397 h 10000"/>
                <a:gd name="connsiteX26" fmla="*/ 3760 w 10000"/>
                <a:gd name="connsiteY26" fmla="*/ 883 h 10000"/>
                <a:gd name="connsiteX27" fmla="*/ 3430 w 10000"/>
                <a:gd name="connsiteY27" fmla="*/ 552 h 10000"/>
                <a:gd name="connsiteX28" fmla="*/ 3017 w 10000"/>
                <a:gd name="connsiteY28" fmla="*/ 441 h 10000"/>
                <a:gd name="connsiteX29" fmla="*/ 2603 w 10000"/>
                <a:gd name="connsiteY29" fmla="*/ 37 h 10000"/>
                <a:gd name="connsiteX30" fmla="*/ 1322 w 10000"/>
                <a:gd name="connsiteY30" fmla="*/ 0 h 10000"/>
                <a:gd name="connsiteX31" fmla="*/ 744 w 10000"/>
                <a:gd name="connsiteY31" fmla="*/ 516 h 10000"/>
                <a:gd name="connsiteX32" fmla="*/ 496 w 10000"/>
                <a:gd name="connsiteY32" fmla="*/ 478 h 10000"/>
                <a:gd name="connsiteX33" fmla="*/ 331 w 10000"/>
                <a:gd name="connsiteY33" fmla="*/ 587 h 10000"/>
                <a:gd name="connsiteX34" fmla="*/ 0 w 10000"/>
                <a:gd name="connsiteY34" fmla="*/ 920 h 10000"/>
                <a:gd name="connsiteX35" fmla="*/ 248 w 10000"/>
                <a:gd name="connsiteY35" fmla="*/ 1691 h 10000"/>
                <a:gd name="connsiteX36" fmla="*/ 289 w 10000"/>
                <a:gd name="connsiteY36" fmla="*/ 2022 h 10000"/>
                <a:gd name="connsiteX37" fmla="*/ 537 w 10000"/>
                <a:gd name="connsiteY37" fmla="*/ 2206 h 10000"/>
                <a:gd name="connsiteX38" fmla="*/ 992 w 10000"/>
                <a:gd name="connsiteY38" fmla="*/ 2463 h 10000"/>
                <a:gd name="connsiteX39" fmla="*/ 1322 w 10000"/>
                <a:gd name="connsiteY39" fmla="*/ 2685 h 10000"/>
                <a:gd name="connsiteX40" fmla="*/ 868 w 10000"/>
                <a:gd name="connsiteY40" fmla="*/ 2940 h 10000"/>
                <a:gd name="connsiteX41" fmla="*/ 992 w 10000"/>
                <a:gd name="connsiteY41" fmla="*/ 3346 h 10000"/>
                <a:gd name="connsiteX42" fmla="*/ 1198 w 10000"/>
                <a:gd name="connsiteY42" fmla="*/ 3676 h 10000"/>
                <a:gd name="connsiteX43" fmla="*/ 1364 w 10000"/>
                <a:gd name="connsiteY43" fmla="*/ 5184 h 10000"/>
                <a:gd name="connsiteX44" fmla="*/ 2107 w 10000"/>
                <a:gd name="connsiteY44" fmla="*/ 5588 h 10000"/>
                <a:gd name="connsiteX45" fmla="*/ 1488 w 10000"/>
                <a:gd name="connsiteY45" fmla="*/ 5993 h 10000"/>
                <a:gd name="connsiteX46" fmla="*/ 2025 w 10000"/>
                <a:gd name="connsiteY46" fmla="*/ 6471 h 10000"/>
                <a:gd name="connsiteX47" fmla="*/ 1612 w 10000"/>
                <a:gd name="connsiteY47" fmla="*/ 7132 h 10000"/>
                <a:gd name="connsiteX48" fmla="*/ 2231 w 10000"/>
                <a:gd name="connsiteY48" fmla="*/ 7427 h 10000"/>
                <a:gd name="connsiteX49" fmla="*/ 2397 w 10000"/>
                <a:gd name="connsiteY49" fmla="*/ 7647 h 10000"/>
                <a:gd name="connsiteX50" fmla="*/ 3140 w 10000"/>
                <a:gd name="connsiteY50" fmla="*/ 8089 h 10000"/>
                <a:gd name="connsiteX51" fmla="*/ 3678 w 10000"/>
                <a:gd name="connsiteY51" fmla="*/ 8124 h 10000"/>
                <a:gd name="connsiteX0" fmla="*/ 3678 w 10000"/>
                <a:gd name="connsiteY0" fmla="*/ 8124 h 10000"/>
                <a:gd name="connsiteX1" fmla="*/ 4732 w 10000"/>
                <a:gd name="connsiteY1" fmla="*/ 8255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550 w 10000"/>
                <a:gd name="connsiteY4" fmla="*/ 860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3678" y="8124"/>
                  </a:moveTo>
                  <a:cubicBezTo>
                    <a:pt x="3943" y="8152"/>
                    <a:pt x="4453" y="8626"/>
                    <a:pt x="4608" y="8586"/>
                  </a:cubicBezTo>
                  <a:cubicBezTo>
                    <a:pt x="4897" y="8577"/>
                    <a:pt x="5241" y="8120"/>
                    <a:pt x="5413" y="8071"/>
                  </a:cubicBezTo>
                  <a:cubicBezTo>
                    <a:pt x="5496" y="8218"/>
                    <a:pt x="5765" y="7960"/>
                    <a:pt x="5765" y="7960"/>
                  </a:cubicBezTo>
                  <a:cubicBezTo>
                    <a:pt x="5806" y="8548"/>
                    <a:pt x="6488" y="8566"/>
                    <a:pt x="6550" y="8604"/>
                  </a:cubicBezTo>
                  <a:cubicBezTo>
                    <a:pt x="6364" y="8750"/>
                    <a:pt x="6467" y="9210"/>
                    <a:pt x="7211" y="9100"/>
                  </a:cubicBezTo>
                  <a:cubicBezTo>
                    <a:pt x="7376" y="8916"/>
                    <a:pt x="7149" y="10000"/>
                    <a:pt x="7355" y="9891"/>
                  </a:cubicBezTo>
                  <a:cubicBezTo>
                    <a:pt x="7810" y="9632"/>
                    <a:pt x="8595" y="9523"/>
                    <a:pt x="9132" y="9449"/>
                  </a:cubicBezTo>
                  <a:cubicBezTo>
                    <a:pt x="9380" y="9118"/>
                    <a:pt x="9174" y="8751"/>
                    <a:pt x="9256" y="8383"/>
                  </a:cubicBezTo>
                  <a:cubicBezTo>
                    <a:pt x="9215" y="8199"/>
                    <a:pt x="9132" y="8089"/>
                    <a:pt x="9256" y="7942"/>
                  </a:cubicBezTo>
                  <a:cubicBezTo>
                    <a:pt x="9339" y="7831"/>
                    <a:pt x="9628" y="7684"/>
                    <a:pt x="9628" y="7684"/>
                  </a:cubicBezTo>
                  <a:cubicBezTo>
                    <a:pt x="9711" y="7574"/>
                    <a:pt x="9835" y="7501"/>
                    <a:pt x="9917" y="7390"/>
                  </a:cubicBezTo>
                  <a:cubicBezTo>
                    <a:pt x="9959" y="7315"/>
                    <a:pt x="10000" y="7170"/>
                    <a:pt x="10000" y="7170"/>
                  </a:cubicBezTo>
                  <a:cubicBezTo>
                    <a:pt x="9959" y="6985"/>
                    <a:pt x="10000" y="6876"/>
                    <a:pt x="9752" y="6802"/>
                  </a:cubicBezTo>
                  <a:cubicBezTo>
                    <a:pt x="9380" y="6545"/>
                    <a:pt x="9421" y="6508"/>
                    <a:pt x="8884" y="6471"/>
                  </a:cubicBezTo>
                  <a:cubicBezTo>
                    <a:pt x="8678" y="6361"/>
                    <a:pt x="8760" y="6029"/>
                    <a:pt x="8636" y="5845"/>
                  </a:cubicBezTo>
                  <a:cubicBezTo>
                    <a:pt x="8554" y="5515"/>
                    <a:pt x="8264" y="5147"/>
                    <a:pt x="8636" y="4927"/>
                  </a:cubicBezTo>
                  <a:cubicBezTo>
                    <a:pt x="8719" y="4523"/>
                    <a:pt x="9215" y="4117"/>
                    <a:pt x="8678" y="4044"/>
                  </a:cubicBezTo>
                  <a:cubicBezTo>
                    <a:pt x="8843" y="3824"/>
                    <a:pt x="8554" y="3308"/>
                    <a:pt x="8223" y="3198"/>
                  </a:cubicBezTo>
                  <a:cubicBezTo>
                    <a:pt x="8017" y="3236"/>
                    <a:pt x="7810" y="3308"/>
                    <a:pt x="7645" y="3420"/>
                  </a:cubicBezTo>
                  <a:cubicBezTo>
                    <a:pt x="7479" y="3824"/>
                    <a:pt x="7025" y="3420"/>
                    <a:pt x="6488" y="3383"/>
                  </a:cubicBezTo>
                  <a:cubicBezTo>
                    <a:pt x="6198" y="3383"/>
                    <a:pt x="5950" y="3530"/>
                    <a:pt x="5744" y="3308"/>
                  </a:cubicBezTo>
                  <a:cubicBezTo>
                    <a:pt x="5661" y="3089"/>
                    <a:pt x="5744" y="2537"/>
                    <a:pt x="5702" y="2279"/>
                  </a:cubicBezTo>
                  <a:cubicBezTo>
                    <a:pt x="5496" y="1986"/>
                    <a:pt x="4876" y="2060"/>
                    <a:pt x="4793" y="1986"/>
                  </a:cubicBezTo>
                  <a:cubicBezTo>
                    <a:pt x="4669" y="1764"/>
                    <a:pt x="4421" y="1508"/>
                    <a:pt x="4256" y="1397"/>
                  </a:cubicBezTo>
                  <a:cubicBezTo>
                    <a:pt x="4132" y="1213"/>
                    <a:pt x="3967" y="956"/>
                    <a:pt x="3760" y="883"/>
                  </a:cubicBezTo>
                  <a:cubicBezTo>
                    <a:pt x="3678" y="771"/>
                    <a:pt x="3554" y="625"/>
                    <a:pt x="3430" y="552"/>
                  </a:cubicBezTo>
                  <a:cubicBezTo>
                    <a:pt x="3306" y="478"/>
                    <a:pt x="3017" y="441"/>
                    <a:pt x="3017" y="441"/>
                  </a:cubicBezTo>
                  <a:cubicBezTo>
                    <a:pt x="2893" y="293"/>
                    <a:pt x="2769" y="110"/>
                    <a:pt x="2603" y="37"/>
                  </a:cubicBezTo>
                  <a:cubicBezTo>
                    <a:pt x="2066" y="0"/>
                    <a:pt x="1777" y="37"/>
                    <a:pt x="1322" y="0"/>
                  </a:cubicBezTo>
                  <a:cubicBezTo>
                    <a:pt x="1074" y="110"/>
                    <a:pt x="950" y="293"/>
                    <a:pt x="744" y="516"/>
                  </a:cubicBezTo>
                  <a:cubicBezTo>
                    <a:pt x="620" y="587"/>
                    <a:pt x="579" y="478"/>
                    <a:pt x="496" y="478"/>
                  </a:cubicBezTo>
                  <a:cubicBezTo>
                    <a:pt x="413" y="478"/>
                    <a:pt x="413" y="516"/>
                    <a:pt x="331" y="587"/>
                  </a:cubicBezTo>
                  <a:cubicBezTo>
                    <a:pt x="289" y="771"/>
                    <a:pt x="0" y="736"/>
                    <a:pt x="0" y="920"/>
                  </a:cubicBezTo>
                  <a:cubicBezTo>
                    <a:pt x="0" y="1102"/>
                    <a:pt x="83" y="1470"/>
                    <a:pt x="248" y="1691"/>
                  </a:cubicBezTo>
                  <a:cubicBezTo>
                    <a:pt x="289" y="1838"/>
                    <a:pt x="331" y="1838"/>
                    <a:pt x="289" y="2022"/>
                  </a:cubicBezTo>
                  <a:cubicBezTo>
                    <a:pt x="331" y="2095"/>
                    <a:pt x="537" y="2060"/>
                    <a:pt x="537" y="2206"/>
                  </a:cubicBezTo>
                  <a:cubicBezTo>
                    <a:pt x="826" y="2243"/>
                    <a:pt x="868" y="2390"/>
                    <a:pt x="992" y="2463"/>
                  </a:cubicBezTo>
                  <a:cubicBezTo>
                    <a:pt x="1116" y="2537"/>
                    <a:pt x="1322" y="2610"/>
                    <a:pt x="1322" y="2685"/>
                  </a:cubicBezTo>
                  <a:cubicBezTo>
                    <a:pt x="1074" y="2905"/>
                    <a:pt x="1116" y="2795"/>
                    <a:pt x="868" y="2940"/>
                  </a:cubicBezTo>
                  <a:cubicBezTo>
                    <a:pt x="785" y="3125"/>
                    <a:pt x="744" y="3271"/>
                    <a:pt x="992" y="3346"/>
                  </a:cubicBezTo>
                  <a:cubicBezTo>
                    <a:pt x="1033" y="3456"/>
                    <a:pt x="1198" y="3676"/>
                    <a:pt x="1198" y="3676"/>
                  </a:cubicBezTo>
                  <a:cubicBezTo>
                    <a:pt x="1157" y="4081"/>
                    <a:pt x="909" y="4927"/>
                    <a:pt x="1364" y="5184"/>
                  </a:cubicBezTo>
                  <a:cubicBezTo>
                    <a:pt x="1446" y="5441"/>
                    <a:pt x="1818" y="5515"/>
                    <a:pt x="2107" y="5588"/>
                  </a:cubicBezTo>
                  <a:cubicBezTo>
                    <a:pt x="2273" y="5993"/>
                    <a:pt x="1818" y="5993"/>
                    <a:pt x="1488" y="5993"/>
                  </a:cubicBezTo>
                  <a:cubicBezTo>
                    <a:pt x="1529" y="6213"/>
                    <a:pt x="1818" y="6361"/>
                    <a:pt x="2025" y="6471"/>
                  </a:cubicBezTo>
                  <a:cubicBezTo>
                    <a:pt x="2149" y="6692"/>
                    <a:pt x="2521" y="6802"/>
                    <a:pt x="1612" y="7132"/>
                  </a:cubicBezTo>
                  <a:cubicBezTo>
                    <a:pt x="1612" y="7280"/>
                    <a:pt x="2107" y="7353"/>
                    <a:pt x="2231" y="7427"/>
                  </a:cubicBezTo>
                  <a:cubicBezTo>
                    <a:pt x="2355" y="7537"/>
                    <a:pt x="2273" y="7574"/>
                    <a:pt x="2397" y="7647"/>
                  </a:cubicBezTo>
                  <a:cubicBezTo>
                    <a:pt x="2438" y="7905"/>
                    <a:pt x="3264" y="7868"/>
                    <a:pt x="3140" y="8089"/>
                  </a:cubicBezTo>
                  <a:cubicBezTo>
                    <a:pt x="3719" y="7905"/>
                    <a:pt x="3512" y="8124"/>
                    <a:pt x="3678" y="8124"/>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09" name="Freeform 2578">
              <a:extLst>
                <a:ext uri="{FF2B5EF4-FFF2-40B4-BE49-F238E27FC236}">
                  <a16:creationId xmlns:a16="http://schemas.microsoft.com/office/drawing/2014/main" id="{15A16B37-169F-4BCE-A284-907C519D8DD5}"/>
                </a:ext>
              </a:extLst>
            </p:cNvPr>
            <p:cNvSpPr>
              <a:spLocks/>
            </p:cNvSpPr>
            <p:nvPr>
              <p:custDataLst>
                <p:tags r:id="rId5"/>
              </p:custDataLst>
            </p:nvPr>
          </p:nvSpPr>
          <p:spPr bwMode="auto">
            <a:xfrm>
              <a:off x="5374883" y="4644571"/>
              <a:ext cx="151781" cy="171828"/>
            </a:xfrm>
            <a:custGeom>
              <a:avLst/>
              <a:gdLst>
                <a:gd name="T0" fmla="*/ 98 w 106"/>
                <a:gd name="T1" fmla="*/ 45 h 120"/>
                <a:gd name="T2" fmla="*/ 88 w 106"/>
                <a:gd name="T3" fmla="*/ 48 h 120"/>
                <a:gd name="T4" fmla="*/ 92 w 106"/>
                <a:gd name="T5" fmla="*/ 56 h 120"/>
                <a:gd name="T6" fmla="*/ 92 w 106"/>
                <a:gd name="T7" fmla="*/ 70 h 120"/>
                <a:gd name="T8" fmla="*/ 80 w 106"/>
                <a:gd name="T9" fmla="*/ 71 h 120"/>
                <a:gd name="T10" fmla="*/ 73 w 106"/>
                <a:gd name="T11" fmla="*/ 61 h 120"/>
                <a:gd name="T12" fmla="*/ 67 w 106"/>
                <a:gd name="T13" fmla="*/ 70 h 120"/>
                <a:gd name="T14" fmla="*/ 60 w 106"/>
                <a:gd name="T15" fmla="*/ 82 h 120"/>
                <a:gd name="T16" fmla="*/ 53 w 106"/>
                <a:gd name="T17" fmla="*/ 97 h 120"/>
                <a:gd name="T18" fmla="*/ 60 w 106"/>
                <a:gd name="T19" fmla="*/ 101 h 120"/>
                <a:gd name="T20" fmla="*/ 61 w 106"/>
                <a:gd name="T21" fmla="*/ 120 h 120"/>
                <a:gd name="T22" fmla="*/ 41 w 106"/>
                <a:gd name="T23" fmla="*/ 107 h 120"/>
                <a:gd name="T24" fmla="*/ 14 w 106"/>
                <a:gd name="T25" fmla="*/ 88 h 120"/>
                <a:gd name="T26" fmla="*/ 2 w 106"/>
                <a:gd name="T27" fmla="*/ 83 h 120"/>
                <a:gd name="T28" fmla="*/ 2 w 106"/>
                <a:gd name="T29" fmla="*/ 64 h 120"/>
                <a:gd name="T30" fmla="*/ 2 w 106"/>
                <a:gd name="T31" fmla="*/ 46 h 120"/>
                <a:gd name="T32" fmla="*/ 8 w 106"/>
                <a:gd name="T33" fmla="*/ 37 h 120"/>
                <a:gd name="T34" fmla="*/ 12 w 106"/>
                <a:gd name="T35" fmla="*/ 27 h 120"/>
                <a:gd name="T36" fmla="*/ 19 w 106"/>
                <a:gd name="T37" fmla="*/ 19 h 120"/>
                <a:gd name="T38" fmla="*/ 27 w 106"/>
                <a:gd name="T39" fmla="*/ 21 h 120"/>
                <a:gd name="T40" fmla="*/ 30 w 106"/>
                <a:gd name="T41" fmla="*/ 16 h 120"/>
                <a:gd name="T42" fmla="*/ 21 w 106"/>
                <a:gd name="T43" fmla="*/ 6 h 120"/>
                <a:gd name="T44" fmla="*/ 36 w 106"/>
                <a:gd name="T45" fmla="*/ 0 h 120"/>
                <a:gd name="T46" fmla="*/ 51 w 106"/>
                <a:gd name="T47" fmla="*/ 9 h 120"/>
                <a:gd name="T48" fmla="*/ 55 w 106"/>
                <a:gd name="T49" fmla="*/ 15 h 120"/>
                <a:gd name="T50" fmla="*/ 73 w 106"/>
                <a:gd name="T51" fmla="*/ 27 h 120"/>
                <a:gd name="T52" fmla="*/ 86 w 106"/>
                <a:gd name="T53" fmla="*/ 28 h 120"/>
                <a:gd name="T54" fmla="*/ 104 w 106"/>
                <a:gd name="T55" fmla="*/ 36 h 120"/>
                <a:gd name="T56" fmla="*/ 98 w 106"/>
                <a:gd name="T57" fmla="*/ 45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6"/>
                <a:gd name="T88" fmla="*/ 0 h 120"/>
                <a:gd name="T89" fmla="*/ 106 w 106"/>
                <a:gd name="T90" fmla="*/ 120 h 120"/>
                <a:gd name="connsiteX0" fmla="*/ 9245 w 10000"/>
                <a:gd name="connsiteY0" fmla="*/ 3750 h 10000"/>
                <a:gd name="connsiteX1" fmla="*/ 8679 w 10000"/>
                <a:gd name="connsiteY1" fmla="*/ 4667 h 10000"/>
                <a:gd name="connsiteX2" fmla="*/ 8679 w 10000"/>
                <a:gd name="connsiteY2" fmla="*/ 5833 h 10000"/>
                <a:gd name="connsiteX3" fmla="*/ 7547 w 10000"/>
                <a:gd name="connsiteY3" fmla="*/ 5917 h 10000"/>
                <a:gd name="connsiteX4" fmla="*/ 6887 w 10000"/>
                <a:gd name="connsiteY4" fmla="*/ 5083 h 10000"/>
                <a:gd name="connsiteX5" fmla="*/ 6321 w 10000"/>
                <a:gd name="connsiteY5" fmla="*/ 5833 h 10000"/>
                <a:gd name="connsiteX6" fmla="*/ 5660 w 10000"/>
                <a:gd name="connsiteY6" fmla="*/ 6833 h 10000"/>
                <a:gd name="connsiteX7" fmla="*/ 5000 w 10000"/>
                <a:gd name="connsiteY7" fmla="*/ 8083 h 10000"/>
                <a:gd name="connsiteX8" fmla="*/ 5660 w 10000"/>
                <a:gd name="connsiteY8" fmla="*/ 8417 h 10000"/>
                <a:gd name="connsiteX9" fmla="*/ 5755 w 10000"/>
                <a:gd name="connsiteY9" fmla="*/ 10000 h 10000"/>
                <a:gd name="connsiteX10" fmla="*/ 3868 w 10000"/>
                <a:gd name="connsiteY10" fmla="*/ 8917 h 10000"/>
                <a:gd name="connsiteX11" fmla="*/ 1321 w 10000"/>
                <a:gd name="connsiteY11" fmla="*/ 7333 h 10000"/>
                <a:gd name="connsiteX12" fmla="*/ 189 w 10000"/>
                <a:gd name="connsiteY12" fmla="*/ 6917 h 10000"/>
                <a:gd name="connsiteX13" fmla="*/ 189 w 10000"/>
                <a:gd name="connsiteY13" fmla="*/ 5333 h 10000"/>
                <a:gd name="connsiteX14" fmla="*/ 189 w 10000"/>
                <a:gd name="connsiteY14" fmla="*/ 3833 h 10000"/>
                <a:gd name="connsiteX15" fmla="*/ 755 w 10000"/>
                <a:gd name="connsiteY15" fmla="*/ 3083 h 10000"/>
                <a:gd name="connsiteX16" fmla="*/ 1132 w 10000"/>
                <a:gd name="connsiteY16" fmla="*/ 2250 h 10000"/>
                <a:gd name="connsiteX17" fmla="*/ 1792 w 10000"/>
                <a:gd name="connsiteY17" fmla="*/ 1583 h 10000"/>
                <a:gd name="connsiteX18" fmla="*/ 2547 w 10000"/>
                <a:gd name="connsiteY18" fmla="*/ 1750 h 10000"/>
                <a:gd name="connsiteX19" fmla="*/ 2830 w 10000"/>
                <a:gd name="connsiteY19" fmla="*/ 1333 h 10000"/>
                <a:gd name="connsiteX20" fmla="*/ 1981 w 10000"/>
                <a:gd name="connsiteY20" fmla="*/ 500 h 10000"/>
                <a:gd name="connsiteX21" fmla="*/ 3396 w 10000"/>
                <a:gd name="connsiteY21" fmla="*/ 0 h 10000"/>
                <a:gd name="connsiteX22" fmla="*/ 4811 w 10000"/>
                <a:gd name="connsiteY22" fmla="*/ 750 h 10000"/>
                <a:gd name="connsiteX23" fmla="*/ 5189 w 10000"/>
                <a:gd name="connsiteY23" fmla="*/ 1250 h 10000"/>
                <a:gd name="connsiteX24" fmla="*/ 6887 w 10000"/>
                <a:gd name="connsiteY24" fmla="*/ 2250 h 10000"/>
                <a:gd name="connsiteX25" fmla="*/ 8113 w 10000"/>
                <a:gd name="connsiteY25" fmla="*/ 2333 h 10000"/>
                <a:gd name="connsiteX26" fmla="*/ 9811 w 10000"/>
                <a:gd name="connsiteY26" fmla="*/ 3000 h 10000"/>
                <a:gd name="connsiteX27" fmla="*/ 9245 w 10000"/>
                <a:gd name="connsiteY27" fmla="*/ 37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9245" y="3750"/>
                  </a:moveTo>
                  <a:cubicBezTo>
                    <a:pt x="9056" y="4028"/>
                    <a:pt x="8773" y="4320"/>
                    <a:pt x="8679" y="4667"/>
                  </a:cubicBezTo>
                  <a:lnTo>
                    <a:pt x="8679" y="5833"/>
                  </a:lnTo>
                  <a:cubicBezTo>
                    <a:pt x="8491" y="6083"/>
                    <a:pt x="7830" y="6000"/>
                    <a:pt x="7547" y="5917"/>
                  </a:cubicBezTo>
                  <a:cubicBezTo>
                    <a:pt x="7264" y="5833"/>
                    <a:pt x="7075" y="5083"/>
                    <a:pt x="6887" y="5083"/>
                  </a:cubicBezTo>
                  <a:cubicBezTo>
                    <a:pt x="6698" y="5083"/>
                    <a:pt x="6509" y="5583"/>
                    <a:pt x="6321" y="5833"/>
                  </a:cubicBezTo>
                  <a:cubicBezTo>
                    <a:pt x="6132" y="6083"/>
                    <a:pt x="5849" y="6500"/>
                    <a:pt x="5660" y="6833"/>
                  </a:cubicBezTo>
                  <a:cubicBezTo>
                    <a:pt x="5377" y="7250"/>
                    <a:pt x="5000" y="7750"/>
                    <a:pt x="5000" y="8083"/>
                  </a:cubicBezTo>
                  <a:cubicBezTo>
                    <a:pt x="5000" y="8333"/>
                    <a:pt x="5566" y="8083"/>
                    <a:pt x="5660" y="8417"/>
                  </a:cubicBezTo>
                  <a:cubicBezTo>
                    <a:pt x="5755" y="8750"/>
                    <a:pt x="6038" y="9917"/>
                    <a:pt x="5755" y="10000"/>
                  </a:cubicBezTo>
                  <a:cubicBezTo>
                    <a:pt x="4340" y="9583"/>
                    <a:pt x="4528" y="9417"/>
                    <a:pt x="3868" y="8917"/>
                  </a:cubicBezTo>
                  <a:cubicBezTo>
                    <a:pt x="3113" y="8500"/>
                    <a:pt x="1887" y="7667"/>
                    <a:pt x="1321" y="7333"/>
                  </a:cubicBezTo>
                  <a:cubicBezTo>
                    <a:pt x="755" y="7000"/>
                    <a:pt x="377" y="7250"/>
                    <a:pt x="189" y="6917"/>
                  </a:cubicBezTo>
                  <a:cubicBezTo>
                    <a:pt x="0" y="6583"/>
                    <a:pt x="189" y="5833"/>
                    <a:pt x="189" y="5333"/>
                  </a:cubicBezTo>
                  <a:cubicBezTo>
                    <a:pt x="189" y="4833"/>
                    <a:pt x="94" y="4167"/>
                    <a:pt x="189" y="3833"/>
                  </a:cubicBezTo>
                  <a:cubicBezTo>
                    <a:pt x="283" y="3500"/>
                    <a:pt x="566" y="3333"/>
                    <a:pt x="755" y="3083"/>
                  </a:cubicBezTo>
                  <a:cubicBezTo>
                    <a:pt x="943" y="2833"/>
                    <a:pt x="943" y="2500"/>
                    <a:pt x="1132" y="2250"/>
                  </a:cubicBezTo>
                  <a:cubicBezTo>
                    <a:pt x="1321" y="2000"/>
                    <a:pt x="1509" y="1667"/>
                    <a:pt x="1792" y="1583"/>
                  </a:cubicBezTo>
                  <a:cubicBezTo>
                    <a:pt x="1981" y="1500"/>
                    <a:pt x="2358" y="1750"/>
                    <a:pt x="2547" y="1750"/>
                  </a:cubicBezTo>
                  <a:cubicBezTo>
                    <a:pt x="2736" y="1750"/>
                    <a:pt x="2925" y="1500"/>
                    <a:pt x="2830" y="1333"/>
                  </a:cubicBezTo>
                  <a:cubicBezTo>
                    <a:pt x="2736" y="1083"/>
                    <a:pt x="1887" y="750"/>
                    <a:pt x="1981" y="500"/>
                  </a:cubicBezTo>
                  <a:cubicBezTo>
                    <a:pt x="2075" y="333"/>
                    <a:pt x="3019" y="0"/>
                    <a:pt x="3396" y="0"/>
                  </a:cubicBezTo>
                  <a:cubicBezTo>
                    <a:pt x="3396" y="417"/>
                    <a:pt x="4528" y="500"/>
                    <a:pt x="4811" y="750"/>
                  </a:cubicBezTo>
                  <a:cubicBezTo>
                    <a:pt x="5094" y="917"/>
                    <a:pt x="4906" y="1000"/>
                    <a:pt x="5189" y="1250"/>
                  </a:cubicBezTo>
                  <a:cubicBezTo>
                    <a:pt x="5283" y="1833"/>
                    <a:pt x="7264" y="1750"/>
                    <a:pt x="6887" y="2250"/>
                  </a:cubicBezTo>
                  <a:cubicBezTo>
                    <a:pt x="8208" y="1833"/>
                    <a:pt x="7736" y="2333"/>
                    <a:pt x="8113" y="2333"/>
                  </a:cubicBezTo>
                  <a:cubicBezTo>
                    <a:pt x="8491" y="2500"/>
                    <a:pt x="9623" y="2750"/>
                    <a:pt x="9811" y="3000"/>
                  </a:cubicBezTo>
                  <a:cubicBezTo>
                    <a:pt x="10000" y="3167"/>
                    <a:pt x="9340" y="3583"/>
                    <a:pt x="9245" y="375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0" name="Freeform 175">
              <a:extLst>
                <a:ext uri="{FF2B5EF4-FFF2-40B4-BE49-F238E27FC236}">
                  <a16:creationId xmlns:a16="http://schemas.microsoft.com/office/drawing/2014/main" id="{8AE2FA4B-507E-4C29-BCD6-2AA91640932F}"/>
                </a:ext>
              </a:extLst>
            </p:cNvPr>
            <p:cNvSpPr/>
            <p:nvPr>
              <p:custDataLst>
                <p:tags r:id="rId6"/>
              </p:custDataLst>
            </p:nvPr>
          </p:nvSpPr>
          <p:spPr bwMode="auto">
            <a:xfrm>
              <a:off x="5504469" y="4671062"/>
              <a:ext cx="126725" cy="146054"/>
            </a:xfrm>
            <a:custGeom>
              <a:avLst/>
              <a:gdLst>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0012 w 128587"/>
                <a:gd name="connsiteY6" fmla="*/ 45244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4775 w 128587"/>
                <a:gd name="connsiteY6" fmla="*/ 33338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38100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14286 w 133350"/>
                <a:gd name="connsiteY11" fmla="*/ 69056 h 130969"/>
                <a:gd name="connsiteX12" fmla="*/ 21431 w 133350"/>
                <a:gd name="connsiteY12" fmla="*/ 88106 h 130969"/>
                <a:gd name="connsiteX0" fmla="*/ 21433 w 133352"/>
                <a:gd name="connsiteY0" fmla="*/ 88106 h 130969"/>
                <a:gd name="connsiteX1" fmla="*/ 50008 w 133352"/>
                <a:gd name="connsiteY1" fmla="*/ 88106 h 130969"/>
                <a:gd name="connsiteX2" fmla="*/ 52389 w 133352"/>
                <a:gd name="connsiteY2" fmla="*/ 130969 h 130969"/>
                <a:gd name="connsiteX3" fmla="*/ 88108 w 133352"/>
                <a:gd name="connsiteY3" fmla="*/ 92869 h 130969"/>
                <a:gd name="connsiteX4" fmla="*/ 133352 w 133352"/>
                <a:gd name="connsiteY4" fmla="*/ 80963 h 130969"/>
                <a:gd name="connsiteX5" fmla="*/ 128589 w 133352"/>
                <a:gd name="connsiteY5" fmla="*/ 47625 h 130969"/>
                <a:gd name="connsiteX6" fmla="*/ 104777 w 133352"/>
                <a:gd name="connsiteY6" fmla="*/ 33338 h 130969"/>
                <a:gd name="connsiteX7" fmla="*/ 100014 w 133352"/>
                <a:gd name="connsiteY7" fmla="*/ 19050 h 130969"/>
                <a:gd name="connsiteX8" fmla="*/ 66677 w 133352"/>
                <a:gd name="connsiteY8" fmla="*/ 0 h 130969"/>
                <a:gd name="connsiteX9" fmla="*/ 16671 w 133352"/>
                <a:gd name="connsiteY9" fmla="*/ 16669 h 130969"/>
                <a:gd name="connsiteX10" fmla="*/ 2 w 133352"/>
                <a:gd name="connsiteY10" fmla="*/ 40481 h 130969"/>
                <a:gd name="connsiteX11" fmla="*/ 0 w 133352"/>
                <a:gd name="connsiteY11" fmla="*/ 61912 h 130969"/>
                <a:gd name="connsiteX12" fmla="*/ 21433 w 133352"/>
                <a:gd name="connsiteY12" fmla="*/ 88106 h 130969"/>
                <a:gd name="connsiteX0" fmla="*/ 21433 w 133352"/>
                <a:gd name="connsiteY0" fmla="*/ 88106 h 147638"/>
                <a:gd name="connsiteX1" fmla="*/ 50008 w 133352"/>
                <a:gd name="connsiteY1" fmla="*/ 88106 h 147638"/>
                <a:gd name="connsiteX2" fmla="*/ 54770 w 133352"/>
                <a:gd name="connsiteY2" fmla="*/ 147638 h 147638"/>
                <a:gd name="connsiteX3" fmla="*/ 88108 w 133352"/>
                <a:gd name="connsiteY3" fmla="*/ 92869 h 147638"/>
                <a:gd name="connsiteX4" fmla="*/ 133352 w 133352"/>
                <a:gd name="connsiteY4" fmla="*/ 80963 h 147638"/>
                <a:gd name="connsiteX5" fmla="*/ 128589 w 133352"/>
                <a:gd name="connsiteY5" fmla="*/ 47625 h 147638"/>
                <a:gd name="connsiteX6" fmla="*/ 104777 w 133352"/>
                <a:gd name="connsiteY6" fmla="*/ 33338 h 147638"/>
                <a:gd name="connsiteX7" fmla="*/ 100014 w 133352"/>
                <a:gd name="connsiteY7" fmla="*/ 19050 h 147638"/>
                <a:gd name="connsiteX8" fmla="*/ 66677 w 133352"/>
                <a:gd name="connsiteY8" fmla="*/ 0 h 147638"/>
                <a:gd name="connsiteX9" fmla="*/ 16671 w 133352"/>
                <a:gd name="connsiteY9" fmla="*/ 16669 h 147638"/>
                <a:gd name="connsiteX10" fmla="*/ 2 w 133352"/>
                <a:gd name="connsiteY10" fmla="*/ 40481 h 147638"/>
                <a:gd name="connsiteX11" fmla="*/ 0 w 133352"/>
                <a:gd name="connsiteY11" fmla="*/ 61912 h 147638"/>
                <a:gd name="connsiteX12" fmla="*/ 21433 w 133352"/>
                <a:gd name="connsiteY12" fmla="*/ 88106 h 147638"/>
                <a:gd name="connsiteX0" fmla="*/ 21433 w 133352"/>
                <a:gd name="connsiteY0" fmla="*/ 102394 h 161926"/>
                <a:gd name="connsiteX1" fmla="*/ 50008 w 133352"/>
                <a:gd name="connsiteY1" fmla="*/ 102394 h 161926"/>
                <a:gd name="connsiteX2" fmla="*/ 54770 w 133352"/>
                <a:gd name="connsiteY2" fmla="*/ 161926 h 161926"/>
                <a:gd name="connsiteX3" fmla="*/ 88108 w 133352"/>
                <a:gd name="connsiteY3" fmla="*/ 107157 h 161926"/>
                <a:gd name="connsiteX4" fmla="*/ 133352 w 133352"/>
                <a:gd name="connsiteY4" fmla="*/ 95251 h 161926"/>
                <a:gd name="connsiteX5" fmla="*/ 128589 w 133352"/>
                <a:gd name="connsiteY5" fmla="*/ 61913 h 161926"/>
                <a:gd name="connsiteX6" fmla="*/ 104777 w 133352"/>
                <a:gd name="connsiteY6" fmla="*/ 47626 h 161926"/>
                <a:gd name="connsiteX7" fmla="*/ 100014 w 133352"/>
                <a:gd name="connsiteY7" fmla="*/ 33338 h 161926"/>
                <a:gd name="connsiteX8" fmla="*/ 69058 w 133352"/>
                <a:gd name="connsiteY8" fmla="*/ 0 h 161926"/>
                <a:gd name="connsiteX9" fmla="*/ 16671 w 133352"/>
                <a:gd name="connsiteY9" fmla="*/ 30957 h 161926"/>
                <a:gd name="connsiteX10" fmla="*/ 2 w 133352"/>
                <a:gd name="connsiteY10" fmla="*/ 54769 h 161926"/>
                <a:gd name="connsiteX11" fmla="*/ 0 w 133352"/>
                <a:gd name="connsiteY11" fmla="*/ 76200 h 161926"/>
                <a:gd name="connsiteX12" fmla="*/ 21433 w 133352"/>
                <a:gd name="connsiteY12" fmla="*/ 102394 h 161926"/>
                <a:gd name="connsiteX0" fmla="*/ 21433 w 140496"/>
                <a:gd name="connsiteY0" fmla="*/ 102394 h 161926"/>
                <a:gd name="connsiteX1" fmla="*/ 50008 w 140496"/>
                <a:gd name="connsiteY1" fmla="*/ 102394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 name="connsiteX0" fmla="*/ 21433 w 140496"/>
                <a:gd name="connsiteY0" fmla="*/ 102394 h 161926"/>
                <a:gd name="connsiteX1" fmla="*/ 43658 w 140496"/>
                <a:gd name="connsiteY1" fmla="*/ 111919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96" h="161926">
                  <a:moveTo>
                    <a:pt x="21433" y="102394"/>
                  </a:moveTo>
                  <a:lnTo>
                    <a:pt x="43658" y="111919"/>
                  </a:lnTo>
                  <a:lnTo>
                    <a:pt x="54770" y="161926"/>
                  </a:lnTo>
                  <a:lnTo>
                    <a:pt x="88108" y="107157"/>
                  </a:lnTo>
                  <a:lnTo>
                    <a:pt x="133352" y="95251"/>
                  </a:lnTo>
                  <a:lnTo>
                    <a:pt x="140496" y="59531"/>
                  </a:lnTo>
                  <a:lnTo>
                    <a:pt x="104777" y="47626"/>
                  </a:lnTo>
                  <a:lnTo>
                    <a:pt x="100014" y="33338"/>
                  </a:lnTo>
                  <a:lnTo>
                    <a:pt x="69058" y="0"/>
                  </a:lnTo>
                  <a:lnTo>
                    <a:pt x="16671" y="30957"/>
                  </a:lnTo>
                  <a:lnTo>
                    <a:pt x="2" y="54769"/>
                  </a:lnTo>
                  <a:cubicBezTo>
                    <a:pt x="1" y="61913"/>
                    <a:pt x="1" y="69056"/>
                    <a:pt x="0" y="76200"/>
                  </a:cubicBezTo>
                  <a:lnTo>
                    <a:pt x="21433" y="102394"/>
                  </a:ln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11" name="Freeform 2446">
              <a:extLst>
                <a:ext uri="{FF2B5EF4-FFF2-40B4-BE49-F238E27FC236}">
                  <a16:creationId xmlns:a16="http://schemas.microsoft.com/office/drawing/2014/main" id="{ABDF02C4-894E-4703-855B-F657ECAF350C}"/>
                </a:ext>
              </a:extLst>
            </p:cNvPr>
            <p:cNvSpPr>
              <a:spLocks noChangeAspect="1"/>
            </p:cNvSpPr>
            <p:nvPr>
              <p:custDataLst>
                <p:tags r:id="rId7"/>
              </p:custDataLst>
            </p:nvPr>
          </p:nvSpPr>
          <p:spPr bwMode="auto">
            <a:xfrm>
              <a:off x="5097096" y="5472208"/>
              <a:ext cx="34366" cy="40093"/>
            </a:xfrm>
            <a:custGeom>
              <a:avLst/>
              <a:gdLst>
                <a:gd name="T0" fmla="*/ 0 w 24"/>
                <a:gd name="T1" fmla="*/ 0 h 28"/>
                <a:gd name="T2" fmla="*/ 18 w 24"/>
                <a:gd name="T3" fmla="*/ 13 h 28"/>
                <a:gd name="T4" fmla="*/ 24 w 24"/>
                <a:gd name="T5" fmla="*/ 22 h 28"/>
                <a:gd name="T6" fmla="*/ 14 w 24"/>
                <a:gd name="T7" fmla="*/ 25 h 28"/>
                <a:gd name="T8" fmla="*/ 8 w 24"/>
                <a:gd name="T9" fmla="*/ 17 h 28"/>
                <a:gd name="T10" fmla="*/ 2 w 24"/>
                <a:gd name="T11" fmla="*/ 10 h 28"/>
                <a:gd name="T12" fmla="*/ 7 w 24"/>
                <a:gd name="T13" fmla="*/ 3 h 28"/>
                <a:gd name="T14" fmla="*/ 0 w 24"/>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8"/>
                <a:gd name="T26" fmla="*/ 24 w 24"/>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8">
                  <a:moveTo>
                    <a:pt x="0" y="0"/>
                  </a:moveTo>
                  <a:cubicBezTo>
                    <a:pt x="10" y="1"/>
                    <a:pt x="13" y="5"/>
                    <a:pt x="18" y="13"/>
                  </a:cubicBezTo>
                  <a:cubicBezTo>
                    <a:pt x="20" y="16"/>
                    <a:pt x="24" y="22"/>
                    <a:pt x="24" y="22"/>
                  </a:cubicBezTo>
                  <a:cubicBezTo>
                    <a:pt x="22" y="28"/>
                    <a:pt x="19" y="27"/>
                    <a:pt x="14" y="25"/>
                  </a:cubicBezTo>
                  <a:cubicBezTo>
                    <a:pt x="12" y="21"/>
                    <a:pt x="12" y="19"/>
                    <a:pt x="8" y="17"/>
                  </a:cubicBezTo>
                  <a:cubicBezTo>
                    <a:pt x="7" y="14"/>
                    <a:pt x="3" y="13"/>
                    <a:pt x="2" y="10"/>
                  </a:cubicBezTo>
                  <a:cubicBezTo>
                    <a:pt x="1" y="7"/>
                    <a:pt x="9" y="5"/>
                    <a:pt x="7" y="3"/>
                  </a:cubicBezTo>
                  <a:cubicBezTo>
                    <a:pt x="5" y="1"/>
                    <a:pt x="2" y="1"/>
                    <a:pt x="0" y="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14" name="Group 2449">
              <a:extLst>
                <a:ext uri="{FF2B5EF4-FFF2-40B4-BE49-F238E27FC236}">
                  <a16:creationId xmlns:a16="http://schemas.microsoft.com/office/drawing/2014/main" id="{FA2A0D75-16FD-4450-85C1-FD0CAE2AB848}"/>
                </a:ext>
              </a:extLst>
            </p:cNvPr>
            <p:cNvGrpSpPr>
              <a:grpSpLocks noChangeAspect="1"/>
            </p:cNvGrpSpPr>
            <p:nvPr>
              <p:custDataLst>
                <p:tags r:id="rId8"/>
              </p:custDataLst>
            </p:nvPr>
          </p:nvGrpSpPr>
          <p:grpSpPr bwMode="auto">
            <a:xfrm>
              <a:off x="5373451" y="2903384"/>
              <a:ext cx="325041" cy="233400"/>
              <a:chOff x="3131" y="2031"/>
              <a:chExt cx="227" cy="163"/>
            </a:xfrm>
          </p:grpSpPr>
          <p:sp>
            <p:nvSpPr>
              <p:cNvPr id="330" name="Freeform 2450">
                <a:extLst>
                  <a:ext uri="{FF2B5EF4-FFF2-40B4-BE49-F238E27FC236}">
                    <a16:creationId xmlns:a16="http://schemas.microsoft.com/office/drawing/2014/main" id="{E0FEE898-E7CF-44DB-A27B-779E8F2E3DD3}"/>
                  </a:ext>
                </a:extLst>
              </p:cNvPr>
              <p:cNvSpPr>
                <a:spLocks noChangeAspect="1"/>
              </p:cNvSpPr>
              <p:nvPr/>
            </p:nvSpPr>
            <p:spPr bwMode="auto">
              <a:xfrm>
                <a:off x="3131" y="2103"/>
                <a:ext cx="40" cy="31"/>
              </a:xfrm>
              <a:custGeom>
                <a:avLst/>
                <a:gdLst>
                  <a:gd name="T0" fmla="*/ 18 w 40"/>
                  <a:gd name="T1" fmla="*/ 1 h 31"/>
                  <a:gd name="T2" fmla="*/ 26 w 40"/>
                  <a:gd name="T3" fmla="*/ 4 h 31"/>
                  <a:gd name="T4" fmla="*/ 36 w 40"/>
                  <a:gd name="T5" fmla="*/ 13 h 31"/>
                  <a:gd name="T6" fmla="*/ 26 w 40"/>
                  <a:gd name="T7" fmla="*/ 25 h 31"/>
                  <a:gd name="T8" fmla="*/ 16 w 40"/>
                  <a:gd name="T9" fmla="*/ 30 h 31"/>
                  <a:gd name="T10" fmla="*/ 12 w 40"/>
                  <a:gd name="T11" fmla="*/ 19 h 31"/>
                  <a:gd name="T12" fmla="*/ 0 w 40"/>
                  <a:gd name="T13" fmla="*/ 23 h 31"/>
                  <a:gd name="T14" fmla="*/ 15 w 40"/>
                  <a:gd name="T15" fmla="*/ 12 h 31"/>
                  <a:gd name="T16" fmla="*/ 18 w 40"/>
                  <a:gd name="T17" fmla="*/ 1 h 31"/>
                  <a:gd name="T18" fmla="*/ 22 w 40"/>
                  <a:gd name="T19" fmla="*/ 3 h 31"/>
                  <a:gd name="T20" fmla="*/ 18 w 40"/>
                  <a:gd name="T21" fmla="*/ 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1"/>
                  <a:gd name="T35" fmla="*/ 40 w 4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1">
                    <a:moveTo>
                      <a:pt x="18" y="1"/>
                    </a:moveTo>
                    <a:cubicBezTo>
                      <a:pt x="21" y="2"/>
                      <a:pt x="24" y="2"/>
                      <a:pt x="26" y="4"/>
                    </a:cubicBezTo>
                    <a:cubicBezTo>
                      <a:pt x="32" y="9"/>
                      <a:pt x="29" y="11"/>
                      <a:pt x="36" y="13"/>
                    </a:cubicBezTo>
                    <a:cubicBezTo>
                      <a:pt x="40" y="22"/>
                      <a:pt x="32" y="21"/>
                      <a:pt x="26" y="25"/>
                    </a:cubicBezTo>
                    <a:cubicBezTo>
                      <a:pt x="22" y="31"/>
                      <a:pt x="25" y="31"/>
                      <a:pt x="16" y="30"/>
                    </a:cubicBezTo>
                    <a:cubicBezTo>
                      <a:pt x="15" y="26"/>
                      <a:pt x="14" y="23"/>
                      <a:pt x="12" y="19"/>
                    </a:cubicBezTo>
                    <a:cubicBezTo>
                      <a:pt x="5" y="21"/>
                      <a:pt x="6" y="24"/>
                      <a:pt x="0" y="23"/>
                    </a:cubicBezTo>
                    <a:cubicBezTo>
                      <a:pt x="4" y="16"/>
                      <a:pt x="7" y="15"/>
                      <a:pt x="15" y="12"/>
                    </a:cubicBezTo>
                    <a:cubicBezTo>
                      <a:pt x="17" y="9"/>
                      <a:pt x="16" y="4"/>
                      <a:pt x="18" y="1"/>
                    </a:cubicBezTo>
                    <a:cubicBezTo>
                      <a:pt x="19" y="0"/>
                      <a:pt x="22" y="3"/>
                      <a:pt x="22" y="3"/>
                    </a:cubicBezTo>
                    <a:cubicBezTo>
                      <a:pt x="22" y="3"/>
                      <a:pt x="19" y="2"/>
                      <a:pt x="18" y="1"/>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1" name="Freeform 2451">
                <a:extLst>
                  <a:ext uri="{FF2B5EF4-FFF2-40B4-BE49-F238E27FC236}">
                    <a16:creationId xmlns:a16="http://schemas.microsoft.com/office/drawing/2014/main" id="{EFED47F6-A84B-4CE7-848A-CF755D6F2F86}"/>
                  </a:ext>
                </a:extLst>
              </p:cNvPr>
              <p:cNvSpPr>
                <a:spLocks noChangeAspect="1"/>
              </p:cNvSpPr>
              <p:nvPr/>
            </p:nvSpPr>
            <p:spPr bwMode="auto">
              <a:xfrm>
                <a:off x="3131" y="2136"/>
                <a:ext cx="52" cy="58"/>
              </a:xfrm>
              <a:custGeom>
                <a:avLst/>
                <a:gdLst>
                  <a:gd name="T0" fmla="*/ 35 w 52"/>
                  <a:gd name="T1" fmla="*/ 3 h 58"/>
                  <a:gd name="T2" fmla="*/ 51 w 52"/>
                  <a:gd name="T3" fmla="*/ 10 h 58"/>
                  <a:gd name="T4" fmla="*/ 44 w 52"/>
                  <a:gd name="T5" fmla="*/ 15 h 58"/>
                  <a:gd name="T6" fmla="*/ 33 w 52"/>
                  <a:gd name="T7" fmla="*/ 33 h 58"/>
                  <a:gd name="T8" fmla="*/ 18 w 52"/>
                  <a:gd name="T9" fmla="*/ 34 h 58"/>
                  <a:gd name="T10" fmla="*/ 11 w 52"/>
                  <a:gd name="T11" fmla="*/ 58 h 58"/>
                  <a:gd name="T12" fmla="*/ 14 w 52"/>
                  <a:gd name="T13" fmla="*/ 44 h 58"/>
                  <a:gd name="T14" fmla="*/ 0 w 52"/>
                  <a:gd name="T15" fmla="*/ 33 h 58"/>
                  <a:gd name="T16" fmla="*/ 15 w 52"/>
                  <a:gd name="T17" fmla="*/ 13 h 58"/>
                  <a:gd name="T18" fmla="*/ 35 w 52"/>
                  <a:gd name="T19" fmla="*/ 3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58"/>
                  <a:gd name="T32" fmla="*/ 52 w 52"/>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58">
                    <a:moveTo>
                      <a:pt x="35" y="3"/>
                    </a:moveTo>
                    <a:cubicBezTo>
                      <a:pt x="41" y="4"/>
                      <a:pt x="45" y="8"/>
                      <a:pt x="51" y="10"/>
                    </a:cubicBezTo>
                    <a:cubicBezTo>
                      <a:pt x="49" y="19"/>
                      <a:pt x="52" y="10"/>
                      <a:pt x="44" y="15"/>
                    </a:cubicBezTo>
                    <a:cubicBezTo>
                      <a:pt x="38" y="19"/>
                      <a:pt x="41" y="30"/>
                      <a:pt x="33" y="33"/>
                    </a:cubicBezTo>
                    <a:cubicBezTo>
                      <a:pt x="29" y="30"/>
                      <a:pt x="18" y="34"/>
                      <a:pt x="18" y="34"/>
                    </a:cubicBezTo>
                    <a:cubicBezTo>
                      <a:pt x="15" y="42"/>
                      <a:pt x="18" y="53"/>
                      <a:pt x="11" y="58"/>
                    </a:cubicBezTo>
                    <a:cubicBezTo>
                      <a:pt x="3" y="55"/>
                      <a:pt x="10" y="47"/>
                      <a:pt x="14" y="44"/>
                    </a:cubicBezTo>
                    <a:cubicBezTo>
                      <a:pt x="11" y="32"/>
                      <a:pt x="6" y="42"/>
                      <a:pt x="0" y="33"/>
                    </a:cubicBezTo>
                    <a:cubicBezTo>
                      <a:pt x="2" y="24"/>
                      <a:pt x="5" y="16"/>
                      <a:pt x="15" y="13"/>
                    </a:cubicBezTo>
                    <a:cubicBezTo>
                      <a:pt x="18" y="0"/>
                      <a:pt x="17" y="3"/>
                      <a:pt x="35" y="3"/>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2" name="Freeform 2452">
                <a:extLst>
                  <a:ext uri="{FF2B5EF4-FFF2-40B4-BE49-F238E27FC236}">
                    <a16:creationId xmlns:a16="http://schemas.microsoft.com/office/drawing/2014/main" id="{879DFFC5-A214-4F57-81D4-25BA3558A272}"/>
                  </a:ext>
                </a:extLst>
              </p:cNvPr>
              <p:cNvSpPr>
                <a:spLocks noChangeAspect="1"/>
              </p:cNvSpPr>
              <p:nvPr/>
            </p:nvSpPr>
            <p:spPr bwMode="auto">
              <a:xfrm>
                <a:off x="3177" y="2031"/>
                <a:ext cx="181" cy="157"/>
              </a:xfrm>
              <a:custGeom>
                <a:avLst/>
                <a:gdLst>
                  <a:gd name="T0" fmla="*/ 176 w 181"/>
                  <a:gd name="T1" fmla="*/ 145 h 157"/>
                  <a:gd name="T2" fmla="*/ 181 w 181"/>
                  <a:gd name="T3" fmla="*/ 121 h 157"/>
                  <a:gd name="T4" fmla="*/ 169 w 181"/>
                  <a:gd name="T5" fmla="*/ 101 h 157"/>
                  <a:gd name="T6" fmla="*/ 157 w 181"/>
                  <a:gd name="T7" fmla="*/ 82 h 157"/>
                  <a:gd name="T8" fmla="*/ 139 w 181"/>
                  <a:gd name="T9" fmla="*/ 58 h 157"/>
                  <a:gd name="T10" fmla="*/ 155 w 181"/>
                  <a:gd name="T11" fmla="*/ 45 h 157"/>
                  <a:gd name="T12" fmla="*/ 166 w 181"/>
                  <a:gd name="T13" fmla="*/ 41 h 157"/>
                  <a:gd name="T14" fmla="*/ 173 w 181"/>
                  <a:gd name="T15" fmla="*/ 21 h 157"/>
                  <a:gd name="T16" fmla="*/ 169 w 181"/>
                  <a:gd name="T17" fmla="*/ 5 h 157"/>
                  <a:gd name="T18" fmla="*/ 168 w 181"/>
                  <a:gd name="T19" fmla="*/ 1 h 157"/>
                  <a:gd name="T20" fmla="*/ 157 w 181"/>
                  <a:gd name="T21" fmla="*/ 7 h 157"/>
                  <a:gd name="T22" fmla="*/ 139 w 181"/>
                  <a:gd name="T23" fmla="*/ 12 h 157"/>
                  <a:gd name="T24" fmla="*/ 74 w 181"/>
                  <a:gd name="T25" fmla="*/ 18 h 157"/>
                  <a:gd name="T26" fmla="*/ 50 w 181"/>
                  <a:gd name="T27" fmla="*/ 33 h 157"/>
                  <a:gd name="T28" fmla="*/ 20 w 181"/>
                  <a:gd name="T29" fmla="*/ 49 h 157"/>
                  <a:gd name="T30" fmla="*/ 11 w 181"/>
                  <a:gd name="T31" fmla="*/ 55 h 157"/>
                  <a:gd name="T32" fmla="*/ 2 w 181"/>
                  <a:gd name="T33" fmla="*/ 65 h 157"/>
                  <a:gd name="T34" fmla="*/ 10 w 181"/>
                  <a:gd name="T35" fmla="*/ 89 h 157"/>
                  <a:gd name="T36" fmla="*/ 17 w 181"/>
                  <a:gd name="T37" fmla="*/ 101 h 157"/>
                  <a:gd name="T38" fmla="*/ 26 w 181"/>
                  <a:gd name="T39" fmla="*/ 111 h 157"/>
                  <a:gd name="T40" fmla="*/ 53 w 181"/>
                  <a:gd name="T41" fmla="*/ 114 h 157"/>
                  <a:gd name="T42" fmla="*/ 54 w 181"/>
                  <a:gd name="T43" fmla="*/ 126 h 157"/>
                  <a:gd name="T44" fmla="*/ 58 w 181"/>
                  <a:gd name="T45" fmla="*/ 132 h 157"/>
                  <a:gd name="T46" fmla="*/ 58 w 181"/>
                  <a:gd name="T47" fmla="*/ 144 h 157"/>
                  <a:gd name="T48" fmla="*/ 85 w 181"/>
                  <a:gd name="T49" fmla="*/ 131 h 157"/>
                  <a:gd name="T50" fmla="*/ 109 w 181"/>
                  <a:gd name="T51" fmla="*/ 138 h 157"/>
                  <a:gd name="T52" fmla="*/ 119 w 181"/>
                  <a:gd name="T53" fmla="*/ 147 h 157"/>
                  <a:gd name="T54" fmla="*/ 128 w 181"/>
                  <a:gd name="T55" fmla="*/ 150 h 157"/>
                  <a:gd name="T56" fmla="*/ 146 w 181"/>
                  <a:gd name="T57" fmla="*/ 154 h 157"/>
                  <a:gd name="T58" fmla="*/ 176 w 181"/>
                  <a:gd name="T59" fmla="*/ 145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7"/>
                  <a:gd name="T92" fmla="*/ 181 w 181"/>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7">
                    <a:moveTo>
                      <a:pt x="176" y="145"/>
                    </a:moveTo>
                    <a:cubicBezTo>
                      <a:pt x="165" y="141"/>
                      <a:pt x="179" y="128"/>
                      <a:pt x="181" y="121"/>
                    </a:cubicBezTo>
                    <a:cubicBezTo>
                      <a:pt x="179" y="111"/>
                      <a:pt x="178" y="107"/>
                      <a:pt x="169" y="101"/>
                    </a:cubicBezTo>
                    <a:cubicBezTo>
                      <a:pt x="166" y="95"/>
                      <a:pt x="162" y="87"/>
                      <a:pt x="157" y="82"/>
                    </a:cubicBezTo>
                    <a:cubicBezTo>
                      <a:pt x="154" y="73"/>
                      <a:pt x="142" y="68"/>
                      <a:pt x="139" y="58"/>
                    </a:cubicBezTo>
                    <a:cubicBezTo>
                      <a:pt x="140" y="45"/>
                      <a:pt x="143" y="46"/>
                      <a:pt x="155" y="45"/>
                    </a:cubicBezTo>
                    <a:cubicBezTo>
                      <a:pt x="158" y="43"/>
                      <a:pt x="166" y="41"/>
                      <a:pt x="166" y="41"/>
                    </a:cubicBezTo>
                    <a:cubicBezTo>
                      <a:pt x="169" y="37"/>
                      <a:pt x="172" y="27"/>
                      <a:pt x="173" y="21"/>
                    </a:cubicBezTo>
                    <a:cubicBezTo>
                      <a:pt x="175" y="15"/>
                      <a:pt x="174" y="8"/>
                      <a:pt x="169" y="5"/>
                    </a:cubicBezTo>
                    <a:cubicBezTo>
                      <a:pt x="169" y="4"/>
                      <a:pt x="169" y="1"/>
                      <a:pt x="168" y="1"/>
                    </a:cubicBezTo>
                    <a:cubicBezTo>
                      <a:pt x="164" y="0"/>
                      <a:pt x="157" y="7"/>
                      <a:pt x="157" y="7"/>
                    </a:cubicBezTo>
                    <a:cubicBezTo>
                      <a:pt x="153" y="18"/>
                      <a:pt x="157" y="13"/>
                      <a:pt x="139" y="12"/>
                    </a:cubicBezTo>
                    <a:cubicBezTo>
                      <a:pt x="116" y="14"/>
                      <a:pt x="98" y="17"/>
                      <a:pt x="74" y="18"/>
                    </a:cubicBezTo>
                    <a:cubicBezTo>
                      <a:pt x="69" y="26"/>
                      <a:pt x="58" y="28"/>
                      <a:pt x="50" y="33"/>
                    </a:cubicBezTo>
                    <a:cubicBezTo>
                      <a:pt x="40" y="39"/>
                      <a:pt x="29" y="43"/>
                      <a:pt x="20" y="49"/>
                    </a:cubicBezTo>
                    <a:cubicBezTo>
                      <a:pt x="17" y="53"/>
                      <a:pt x="15" y="52"/>
                      <a:pt x="11" y="55"/>
                    </a:cubicBezTo>
                    <a:cubicBezTo>
                      <a:pt x="10" y="58"/>
                      <a:pt x="5" y="63"/>
                      <a:pt x="2" y="65"/>
                    </a:cubicBezTo>
                    <a:cubicBezTo>
                      <a:pt x="0" y="74"/>
                      <a:pt x="2" y="84"/>
                      <a:pt x="10" y="89"/>
                    </a:cubicBezTo>
                    <a:cubicBezTo>
                      <a:pt x="11" y="94"/>
                      <a:pt x="13" y="98"/>
                      <a:pt x="17" y="101"/>
                    </a:cubicBezTo>
                    <a:cubicBezTo>
                      <a:pt x="18" y="106"/>
                      <a:pt x="21" y="109"/>
                      <a:pt x="26" y="111"/>
                    </a:cubicBezTo>
                    <a:cubicBezTo>
                      <a:pt x="31" y="118"/>
                      <a:pt x="46" y="113"/>
                      <a:pt x="53" y="114"/>
                    </a:cubicBezTo>
                    <a:cubicBezTo>
                      <a:pt x="60" y="119"/>
                      <a:pt x="47" y="116"/>
                      <a:pt x="54" y="126"/>
                    </a:cubicBezTo>
                    <a:cubicBezTo>
                      <a:pt x="55" y="128"/>
                      <a:pt x="58" y="132"/>
                      <a:pt x="58" y="132"/>
                    </a:cubicBezTo>
                    <a:cubicBezTo>
                      <a:pt x="58" y="136"/>
                      <a:pt x="55" y="141"/>
                      <a:pt x="58" y="144"/>
                    </a:cubicBezTo>
                    <a:cubicBezTo>
                      <a:pt x="62" y="144"/>
                      <a:pt x="77" y="132"/>
                      <a:pt x="85" y="131"/>
                    </a:cubicBezTo>
                    <a:cubicBezTo>
                      <a:pt x="93" y="132"/>
                      <a:pt x="101" y="131"/>
                      <a:pt x="109" y="138"/>
                    </a:cubicBezTo>
                    <a:cubicBezTo>
                      <a:pt x="110" y="141"/>
                      <a:pt x="115" y="145"/>
                      <a:pt x="119" y="147"/>
                    </a:cubicBezTo>
                    <a:cubicBezTo>
                      <a:pt x="122" y="148"/>
                      <a:pt x="128" y="150"/>
                      <a:pt x="128" y="150"/>
                    </a:cubicBezTo>
                    <a:cubicBezTo>
                      <a:pt x="135" y="157"/>
                      <a:pt x="134" y="155"/>
                      <a:pt x="146" y="154"/>
                    </a:cubicBezTo>
                    <a:cubicBezTo>
                      <a:pt x="160" y="149"/>
                      <a:pt x="151" y="150"/>
                      <a:pt x="176" y="145"/>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15" name="Freeform 2453">
              <a:extLst>
                <a:ext uri="{FF2B5EF4-FFF2-40B4-BE49-F238E27FC236}">
                  <a16:creationId xmlns:a16="http://schemas.microsoft.com/office/drawing/2014/main" id="{6940F08C-0E56-4A9F-A137-0521DD3A1ED4}"/>
                </a:ext>
              </a:extLst>
            </p:cNvPr>
            <p:cNvSpPr>
              <a:spLocks noChangeAspect="1"/>
            </p:cNvSpPr>
            <p:nvPr>
              <p:custDataLst>
                <p:tags r:id="rId9"/>
              </p:custDataLst>
            </p:nvPr>
          </p:nvSpPr>
          <p:spPr bwMode="auto">
            <a:xfrm>
              <a:off x="5635488" y="2624164"/>
              <a:ext cx="395204" cy="356543"/>
            </a:xfrm>
            <a:custGeom>
              <a:avLst/>
              <a:gdLst>
                <a:gd name="T0" fmla="*/ 172 w 1104"/>
                <a:gd name="T1" fmla="*/ 927 h 995"/>
                <a:gd name="T2" fmla="*/ 312 w 1104"/>
                <a:gd name="T3" fmla="*/ 967 h 995"/>
                <a:gd name="T4" fmla="*/ 372 w 1104"/>
                <a:gd name="T5" fmla="*/ 991 h 995"/>
                <a:gd name="T6" fmla="*/ 384 w 1104"/>
                <a:gd name="T7" fmla="*/ 995 h 995"/>
                <a:gd name="T8" fmla="*/ 428 w 1104"/>
                <a:gd name="T9" fmla="*/ 967 h 995"/>
                <a:gd name="T10" fmla="*/ 480 w 1104"/>
                <a:gd name="T11" fmla="*/ 843 h 995"/>
                <a:gd name="T12" fmla="*/ 552 w 1104"/>
                <a:gd name="T13" fmla="*/ 803 h 995"/>
                <a:gd name="T14" fmla="*/ 576 w 1104"/>
                <a:gd name="T15" fmla="*/ 679 h 995"/>
                <a:gd name="T16" fmla="*/ 660 w 1104"/>
                <a:gd name="T17" fmla="*/ 719 h 995"/>
                <a:gd name="T18" fmla="*/ 748 w 1104"/>
                <a:gd name="T19" fmla="*/ 711 h 995"/>
                <a:gd name="T20" fmla="*/ 756 w 1104"/>
                <a:gd name="T21" fmla="*/ 639 h 995"/>
                <a:gd name="T22" fmla="*/ 792 w 1104"/>
                <a:gd name="T23" fmla="*/ 615 h 995"/>
                <a:gd name="T24" fmla="*/ 1008 w 1104"/>
                <a:gd name="T25" fmla="*/ 623 h 995"/>
                <a:gd name="T26" fmla="*/ 1052 w 1104"/>
                <a:gd name="T27" fmla="*/ 603 h 995"/>
                <a:gd name="T28" fmla="*/ 1076 w 1104"/>
                <a:gd name="T29" fmla="*/ 575 h 995"/>
                <a:gd name="T30" fmla="*/ 1104 w 1104"/>
                <a:gd name="T31" fmla="*/ 527 h 995"/>
                <a:gd name="T32" fmla="*/ 1020 w 1104"/>
                <a:gd name="T33" fmla="*/ 320 h 995"/>
                <a:gd name="T34" fmla="*/ 972 w 1104"/>
                <a:gd name="T35" fmla="*/ 252 h 995"/>
                <a:gd name="T36" fmla="*/ 936 w 1104"/>
                <a:gd name="T37" fmla="*/ 52 h 995"/>
                <a:gd name="T38" fmla="*/ 948 w 1104"/>
                <a:gd name="T39" fmla="*/ 4 h 995"/>
                <a:gd name="T40" fmla="*/ 872 w 1104"/>
                <a:gd name="T41" fmla="*/ 0 h 995"/>
                <a:gd name="T42" fmla="*/ 708 w 1104"/>
                <a:gd name="T43" fmla="*/ 16 h 995"/>
                <a:gd name="T44" fmla="*/ 680 w 1104"/>
                <a:gd name="T45" fmla="*/ 48 h 995"/>
                <a:gd name="T46" fmla="*/ 632 w 1104"/>
                <a:gd name="T47" fmla="*/ 256 h 995"/>
                <a:gd name="T48" fmla="*/ 476 w 1104"/>
                <a:gd name="T49" fmla="*/ 276 h 995"/>
                <a:gd name="T50" fmla="*/ 244 w 1104"/>
                <a:gd name="T51" fmla="*/ 252 h 995"/>
                <a:gd name="T52" fmla="*/ 144 w 1104"/>
                <a:gd name="T53" fmla="*/ 256 h 995"/>
                <a:gd name="T54" fmla="*/ 108 w 1104"/>
                <a:gd name="T55" fmla="*/ 280 h 995"/>
                <a:gd name="T56" fmla="*/ 0 w 1104"/>
                <a:gd name="T57" fmla="*/ 480 h 995"/>
                <a:gd name="T58" fmla="*/ 4 w 1104"/>
                <a:gd name="T59" fmla="*/ 507 h 995"/>
                <a:gd name="T60" fmla="*/ 12 w 1104"/>
                <a:gd name="T61" fmla="*/ 496 h 995"/>
                <a:gd name="T62" fmla="*/ 36 w 1104"/>
                <a:gd name="T63" fmla="*/ 480 h 995"/>
                <a:gd name="T64" fmla="*/ 60 w 1104"/>
                <a:gd name="T65" fmla="*/ 444 h 995"/>
                <a:gd name="T66" fmla="*/ 84 w 1104"/>
                <a:gd name="T67" fmla="*/ 436 h 995"/>
                <a:gd name="T68" fmla="*/ 140 w 1104"/>
                <a:gd name="T69" fmla="*/ 519 h 995"/>
                <a:gd name="T70" fmla="*/ 248 w 1104"/>
                <a:gd name="T71" fmla="*/ 543 h 995"/>
                <a:gd name="T72" fmla="*/ 284 w 1104"/>
                <a:gd name="T73" fmla="*/ 527 h 995"/>
                <a:gd name="T74" fmla="*/ 356 w 1104"/>
                <a:gd name="T75" fmla="*/ 535 h 995"/>
                <a:gd name="T76" fmla="*/ 368 w 1104"/>
                <a:gd name="T77" fmla="*/ 575 h 995"/>
                <a:gd name="T78" fmla="*/ 216 w 1104"/>
                <a:gd name="T79" fmla="*/ 631 h 995"/>
                <a:gd name="T80" fmla="*/ 192 w 1104"/>
                <a:gd name="T81" fmla="*/ 639 h 995"/>
                <a:gd name="T82" fmla="*/ 180 w 1104"/>
                <a:gd name="T83" fmla="*/ 647 h 995"/>
                <a:gd name="T84" fmla="*/ 108 w 1104"/>
                <a:gd name="T85" fmla="*/ 743 h 995"/>
                <a:gd name="T86" fmla="*/ 120 w 1104"/>
                <a:gd name="T87" fmla="*/ 783 h 995"/>
                <a:gd name="T88" fmla="*/ 140 w 1104"/>
                <a:gd name="T89" fmla="*/ 823 h 995"/>
                <a:gd name="T90" fmla="*/ 108 w 1104"/>
                <a:gd name="T91" fmla="*/ 923 h 995"/>
                <a:gd name="T92" fmla="*/ 116 w 1104"/>
                <a:gd name="T93" fmla="*/ 935 h 995"/>
                <a:gd name="T94" fmla="*/ 172 w 1104"/>
                <a:gd name="T95" fmla="*/ 927 h 9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04"/>
                <a:gd name="T145" fmla="*/ 0 h 995"/>
                <a:gd name="T146" fmla="*/ 1104 w 1104"/>
                <a:gd name="T147" fmla="*/ 995 h 9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04" h="995">
                  <a:moveTo>
                    <a:pt x="172" y="927"/>
                  </a:moveTo>
                  <a:cubicBezTo>
                    <a:pt x="228" y="935"/>
                    <a:pt x="260" y="955"/>
                    <a:pt x="312" y="967"/>
                  </a:cubicBezTo>
                  <a:cubicBezTo>
                    <a:pt x="336" y="971"/>
                    <a:pt x="352" y="983"/>
                    <a:pt x="372" y="991"/>
                  </a:cubicBezTo>
                  <a:cubicBezTo>
                    <a:pt x="376" y="991"/>
                    <a:pt x="384" y="995"/>
                    <a:pt x="384" y="995"/>
                  </a:cubicBezTo>
                  <a:cubicBezTo>
                    <a:pt x="412" y="987"/>
                    <a:pt x="404" y="983"/>
                    <a:pt x="428" y="967"/>
                  </a:cubicBezTo>
                  <a:cubicBezTo>
                    <a:pt x="440" y="927"/>
                    <a:pt x="448" y="875"/>
                    <a:pt x="480" y="843"/>
                  </a:cubicBezTo>
                  <a:cubicBezTo>
                    <a:pt x="500" y="823"/>
                    <a:pt x="532" y="823"/>
                    <a:pt x="552" y="803"/>
                  </a:cubicBezTo>
                  <a:cubicBezTo>
                    <a:pt x="564" y="763"/>
                    <a:pt x="532" y="695"/>
                    <a:pt x="576" y="679"/>
                  </a:cubicBezTo>
                  <a:cubicBezTo>
                    <a:pt x="604" y="687"/>
                    <a:pt x="636" y="703"/>
                    <a:pt x="660" y="719"/>
                  </a:cubicBezTo>
                  <a:cubicBezTo>
                    <a:pt x="688" y="715"/>
                    <a:pt x="724" y="727"/>
                    <a:pt x="748" y="711"/>
                  </a:cubicBezTo>
                  <a:cubicBezTo>
                    <a:pt x="808" y="671"/>
                    <a:pt x="732" y="667"/>
                    <a:pt x="756" y="639"/>
                  </a:cubicBezTo>
                  <a:cubicBezTo>
                    <a:pt x="764" y="627"/>
                    <a:pt x="792" y="615"/>
                    <a:pt x="792" y="615"/>
                  </a:cubicBezTo>
                  <a:cubicBezTo>
                    <a:pt x="944" y="631"/>
                    <a:pt x="872" y="627"/>
                    <a:pt x="1008" y="623"/>
                  </a:cubicBezTo>
                  <a:cubicBezTo>
                    <a:pt x="1024" y="615"/>
                    <a:pt x="1036" y="611"/>
                    <a:pt x="1052" y="603"/>
                  </a:cubicBezTo>
                  <a:cubicBezTo>
                    <a:pt x="1056" y="587"/>
                    <a:pt x="1060" y="579"/>
                    <a:pt x="1076" y="575"/>
                  </a:cubicBezTo>
                  <a:cubicBezTo>
                    <a:pt x="1084" y="555"/>
                    <a:pt x="1096" y="547"/>
                    <a:pt x="1104" y="527"/>
                  </a:cubicBezTo>
                  <a:cubicBezTo>
                    <a:pt x="1100" y="476"/>
                    <a:pt x="1068" y="352"/>
                    <a:pt x="1020" y="320"/>
                  </a:cubicBezTo>
                  <a:cubicBezTo>
                    <a:pt x="1008" y="296"/>
                    <a:pt x="984" y="280"/>
                    <a:pt x="972" y="252"/>
                  </a:cubicBezTo>
                  <a:cubicBezTo>
                    <a:pt x="960" y="184"/>
                    <a:pt x="956" y="116"/>
                    <a:pt x="936" y="52"/>
                  </a:cubicBezTo>
                  <a:cubicBezTo>
                    <a:pt x="932" y="44"/>
                    <a:pt x="956" y="8"/>
                    <a:pt x="948" y="4"/>
                  </a:cubicBezTo>
                  <a:cubicBezTo>
                    <a:pt x="932" y="0"/>
                    <a:pt x="888" y="0"/>
                    <a:pt x="872" y="0"/>
                  </a:cubicBezTo>
                  <a:cubicBezTo>
                    <a:pt x="816" y="4"/>
                    <a:pt x="764" y="8"/>
                    <a:pt x="708" y="16"/>
                  </a:cubicBezTo>
                  <a:cubicBezTo>
                    <a:pt x="680" y="36"/>
                    <a:pt x="688" y="24"/>
                    <a:pt x="680" y="48"/>
                  </a:cubicBezTo>
                  <a:cubicBezTo>
                    <a:pt x="680" y="76"/>
                    <a:pt x="660" y="236"/>
                    <a:pt x="632" y="256"/>
                  </a:cubicBezTo>
                  <a:cubicBezTo>
                    <a:pt x="600" y="280"/>
                    <a:pt x="480" y="276"/>
                    <a:pt x="476" y="276"/>
                  </a:cubicBezTo>
                  <a:cubicBezTo>
                    <a:pt x="392" y="272"/>
                    <a:pt x="324" y="260"/>
                    <a:pt x="244" y="252"/>
                  </a:cubicBezTo>
                  <a:cubicBezTo>
                    <a:pt x="212" y="252"/>
                    <a:pt x="176" y="252"/>
                    <a:pt x="144" y="256"/>
                  </a:cubicBezTo>
                  <a:cubicBezTo>
                    <a:pt x="128" y="260"/>
                    <a:pt x="108" y="280"/>
                    <a:pt x="108" y="280"/>
                  </a:cubicBezTo>
                  <a:cubicBezTo>
                    <a:pt x="84" y="316"/>
                    <a:pt x="16" y="440"/>
                    <a:pt x="0" y="480"/>
                  </a:cubicBezTo>
                  <a:cubicBezTo>
                    <a:pt x="0" y="488"/>
                    <a:pt x="0" y="499"/>
                    <a:pt x="4" y="507"/>
                  </a:cubicBezTo>
                  <a:cubicBezTo>
                    <a:pt x="8" y="511"/>
                    <a:pt x="8" y="499"/>
                    <a:pt x="12" y="496"/>
                  </a:cubicBezTo>
                  <a:cubicBezTo>
                    <a:pt x="20" y="488"/>
                    <a:pt x="36" y="480"/>
                    <a:pt x="36" y="480"/>
                  </a:cubicBezTo>
                  <a:cubicBezTo>
                    <a:pt x="44" y="468"/>
                    <a:pt x="48" y="448"/>
                    <a:pt x="60" y="444"/>
                  </a:cubicBezTo>
                  <a:cubicBezTo>
                    <a:pt x="68" y="440"/>
                    <a:pt x="84" y="436"/>
                    <a:pt x="84" y="436"/>
                  </a:cubicBezTo>
                  <a:cubicBezTo>
                    <a:pt x="128" y="444"/>
                    <a:pt x="120" y="488"/>
                    <a:pt x="140" y="519"/>
                  </a:cubicBezTo>
                  <a:cubicBezTo>
                    <a:pt x="156" y="583"/>
                    <a:pt x="136" y="551"/>
                    <a:pt x="248" y="543"/>
                  </a:cubicBezTo>
                  <a:cubicBezTo>
                    <a:pt x="276" y="535"/>
                    <a:pt x="264" y="539"/>
                    <a:pt x="284" y="527"/>
                  </a:cubicBezTo>
                  <a:cubicBezTo>
                    <a:pt x="308" y="527"/>
                    <a:pt x="340" y="515"/>
                    <a:pt x="356" y="535"/>
                  </a:cubicBezTo>
                  <a:cubicBezTo>
                    <a:pt x="364" y="547"/>
                    <a:pt x="368" y="575"/>
                    <a:pt x="368" y="575"/>
                  </a:cubicBezTo>
                  <a:cubicBezTo>
                    <a:pt x="320" y="623"/>
                    <a:pt x="268" y="623"/>
                    <a:pt x="216" y="631"/>
                  </a:cubicBezTo>
                  <a:cubicBezTo>
                    <a:pt x="208" y="635"/>
                    <a:pt x="200" y="635"/>
                    <a:pt x="192" y="639"/>
                  </a:cubicBezTo>
                  <a:cubicBezTo>
                    <a:pt x="188" y="643"/>
                    <a:pt x="184" y="647"/>
                    <a:pt x="180" y="647"/>
                  </a:cubicBezTo>
                  <a:cubicBezTo>
                    <a:pt x="166" y="664"/>
                    <a:pt x="118" y="720"/>
                    <a:pt x="108" y="743"/>
                  </a:cubicBezTo>
                  <a:cubicBezTo>
                    <a:pt x="104" y="763"/>
                    <a:pt x="100" y="775"/>
                    <a:pt x="120" y="783"/>
                  </a:cubicBezTo>
                  <a:cubicBezTo>
                    <a:pt x="124" y="803"/>
                    <a:pt x="124" y="811"/>
                    <a:pt x="140" y="823"/>
                  </a:cubicBezTo>
                  <a:cubicBezTo>
                    <a:pt x="148" y="855"/>
                    <a:pt x="124" y="895"/>
                    <a:pt x="108" y="923"/>
                  </a:cubicBezTo>
                  <a:cubicBezTo>
                    <a:pt x="112" y="927"/>
                    <a:pt x="112" y="931"/>
                    <a:pt x="116" y="935"/>
                  </a:cubicBezTo>
                  <a:cubicBezTo>
                    <a:pt x="128" y="935"/>
                    <a:pt x="140" y="923"/>
                    <a:pt x="172" y="927"/>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35" name="Group 34">
              <a:extLst>
                <a:ext uri="{FF2B5EF4-FFF2-40B4-BE49-F238E27FC236}">
                  <a16:creationId xmlns:a16="http://schemas.microsoft.com/office/drawing/2014/main" id="{24C719C4-5539-41EA-919B-5115FAA28E94}"/>
                </a:ext>
              </a:extLst>
            </p:cNvPr>
            <p:cNvGrpSpPr/>
            <p:nvPr/>
          </p:nvGrpSpPr>
          <p:grpSpPr>
            <a:xfrm>
              <a:off x="5503754" y="4730485"/>
              <a:ext cx="694471" cy="741723"/>
              <a:chOff x="5503754" y="4730485"/>
              <a:chExt cx="694471" cy="741723"/>
            </a:xfrm>
          </p:grpSpPr>
          <p:sp>
            <p:nvSpPr>
              <p:cNvPr id="308" name="Freeform 2455">
                <a:extLst>
                  <a:ext uri="{FF2B5EF4-FFF2-40B4-BE49-F238E27FC236}">
                    <a16:creationId xmlns:a16="http://schemas.microsoft.com/office/drawing/2014/main" id="{9174CB34-8007-4A3B-A685-0B180EB85F7A}"/>
                  </a:ext>
                </a:extLst>
              </p:cNvPr>
              <p:cNvSpPr>
                <a:spLocks noChangeAspect="1"/>
              </p:cNvSpPr>
              <p:nvPr/>
            </p:nvSpPr>
            <p:spPr bwMode="auto">
              <a:xfrm>
                <a:off x="5840250" y="5349065"/>
                <a:ext cx="21478" cy="34366"/>
              </a:xfrm>
              <a:custGeom>
                <a:avLst/>
                <a:gdLst>
                  <a:gd name="T0" fmla="*/ 3 w 15"/>
                  <a:gd name="T1" fmla="*/ 0 h 24"/>
                  <a:gd name="T2" fmla="*/ 14 w 15"/>
                  <a:gd name="T3" fmla="*/ 8 h 24"/>
                  <a:gd name="T4" fmla="*/ 10 w 15"/>
                  <a:gd name="T5" fmla="*/ 18 h 24"/>
                  <a:gd name="T6" fmla="*/ 6 w 15"/>
                  <a:gd name="T7" fmla="*/ 24 h 24"/>
                  <a:gd name="T8" fmla="*/ 0 w 15"/>
                  <a:gd name="T9" fmla="*/ 12 h 24"/>
                  <a:gd name="T10" fmla="*/ 3 w 15"/>
                  <a:gd name="T11" fmla="*/ 0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3" y="0"/>
                    </a:moveTo>
                    <a:cubicBezTo>
                      <a:pt x="11" y="1"/>
                      <a:pt x="13" y="0"/>
                      <a:pt x="14" y="8"/>
                    </a:cubicBezTo>
                    <a:cubicBezTo>
                      <a:pt x="12" y="19"/>
                      <a:pt x="15" y="12"/>
                      <a:pt x="10" y="18"/>
                    </a:cubicBezTo>
                    <a:cubicBezTo>
                      <a:pt x="9" y="20"/>
                      <a:pt x="6" y="24"/>
                      <a:pt x="6" y="24"/>
                    </a:cubicBezTo>
                    <a:cubicBezTo>
                      <a:pt x="3" y="21"/>
                      <a:pt x="0" y="12"/>
                      <a:pt x="0" y="12"/>
                    </a:cubicBezTo>
                    <a:cubicBezTo>
                      <a:pt x="1" y="8"/>
                      <a:pt x="2" y="4"/>
                      <a:pt x="3"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9" name="Freeform 2456">
                <a:extLst>
                  <a:ext uri="{FF2B5EF4-FFF2-40B4-BE49-F238E27FC236}">
                    <a16:creationId xmlns:a16="http://schemas.microsoft.com/office/drawing/2014/main" id="{C74B9F2D-0AB6-4925-84F6-E93B72FEFE69}"/>
                  </a:ext>
                </a:extLst>
              </p:cNvPr>
              <p:cNvSpPr>
                <a:spLocks noChangeAspect="1"/>
              </p:cNvSpPr>
              <p:nvPr/>
            </p:nvSpPr>
            <p:spPr bwMode="auto">
              <a:xfrm>
                <a:off x="5503754" y="5032615"/>
                <a:ext cx="48685" cy="41525"/>
              </a:xfrm>
              <a:custGeom>
                <a:avLst/>
                <a:gdLst>
                  <a:gd name="T0" fmla="*/ 16 w 34"/>
                  <a:gd name="T1" fmla="*/ 1 h 29"/>
                  <a:gd name="T2" fmla="*/ 14 w 34"/>
                  <a:gd name="T3" fmla="*/ 13 h 29"/>
                  <a:gd name="T4" fmla="*/ 23 w 34"/>
                  <a:gd name="T5" fmla="*/ 19 h 29"/>
                  <a:gd name="T6" fmla="*/ 34 w 34"/>
                  <a:gd name="T7" fmla="*/ 26 h 29"/>
                  <a:gd name="T8" fmla="*/ 23 w 34"/>
                  <a:gd name="T9" fmla="*/ 17 h 29"/>
                  <a:gd name="T10" fmla="*/ 19 w 34"/>
                  <a:gd name="T11" fmla="*/ 2 h 29"/>
                  <a:gd name="T12" fmla="*/ 11 w 34"/>
                  <a:gd name="T13" fmla="*/ 0 h 29"/>
                  <a:gd name="T14" fmla="*/ 16 w 34"/>
                  <a:gd name="T15" fmla="*/ 1 h 29"/>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9"/>
                  <a:gd name="T26" fmla="*/ 34 w 3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9">
                    <a:moveTo>
                      <a:pt x="16" y="1"/>
                    </a:moveTo>
                    <a:cubicBezTo>
                      <a:pt x="2" y="3"/>
                      <a:pt x="0" y="8"/>
                      <a:pt x="14" y="13"/>
                    </a:cubicBezTo>
                    <a:cubicBezTo>
                      <a:pt x="17" y="16"/>
                      <a:pt x="20" y="17"/>
                      <a:pt x="23" y="19"/>
                    </a:cubicBezTo>
                    <a:cubicBezTo>
                      <a:pt x="26" y="28"/>
                      <a:pt x="25" y="29"/>
                      <a:pt x="34" y="26"/>
                    </a:cubicBezTo>
                    <a:cubicBezTo>
                      <a:pt x="33" y="22"/>
                      <a:pt x="27" y="21"/>
                      <a:pt x="23" y="17"/>
                    </a:cubicBezTo>
                    <a:cubicBezTo>
                      <a:pt x="22" y="14"/>
                      <a:pt x="21" y="4"/>
                      <a:pt x="19" y="2"/>
                    </a:cubicBezTo>
                    <a:cubicBezTo>
                      <a:pt x="17" y="0"/>
                      <a:pt x="11" y="0"/>
                      <a:pt x="11" y="0"/>
                    </a:cubicBezTo>
                    <a:cubicBezTo>
                      <a:pt x="11" y="0"/>
                      <a:pt x="14" y="1"/>
                      <a:pt x="16" y="1"/>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0" name="Freeform 2457">
                <a:extLst>
                  <a:ext uri="{FF2B5EF4-FFF2-40B4-BE49-F238E27FC236}">
                    <a16:creationId xmlns:a16="http://schemas.microsoft.com/office/drawing/2014/main" id="{2A843FC0-1BB4-4D8B-93C9-9E671CE05DFF}"/>
                  </a:ext>
                </a:extLst>
              </p:cNvPr>
              <p:cNvSpPr>
                <a:spLocks noChangeAspect="1"/>
              </p:cNvSpPr>
              <p:nvPr/>
            </p:nvSpPr>
            <p:spPr bwMode="auto">
              <a:xfrm>
                <a:off x="5596827" y="5121393"/>
                <a:ext cx="22910" cy="32934"/>
              </a:xfrm>
              <a:custGeom>
                <a:avLst/>
                <a:gdLst>
                  <a:gd name="T0" fmla="*/ 8 w 16"/>
                  <a:gd name="T1" fmla="*/ 0 h 23"/>
                  <a:gd name="T2" fmla="*/ 15 w 16"/>
                  <a:gd name="T3" fmla="*/ 8 h 23"/>
                  <a:gd name="T4" fmla="*/ 8 w 16"/>
                  <a:gd name="T5" fmla="*/ 23 h 23"/>
                  <a:gd name="T6" fmla="*/ 0 w 16"/>
                  <a:gd name="T7" fmla="*/ 16 h 23"/>
                  <a:gd name="T8" fmla="*/ 8 w 16"/>
                  <a:gd name="T9" fmla="*/ 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8" y="0"/>
                    </a:moveTo>
                    <a:cubicBezTo>
                      <a:pt x="11" y="3"/>
                      <a:pt x="14" y="4"/>
                      <a:pt x="15" y="8"/>
                    </a:cubicBezTo>
                    <a:cubicBezTo>
                      <a:pt x="14" y="19"/>
                      <a:pt x="16" y="20"/>
                      <a:pt x="8" y="23"/>
                    </a:cubicBezTo>
                    <a:cubicBezTo>
                      <a:pt x="2" y="22"/>
                      <a:pt x="5" y="19"/>
                      <a:pt x="0" y="16"/>
                    </a:cubicBezTo>
                    <a:cubicBezTo>
                      <a:pt x="1" y="13"/>
                      <a:pt x="8" y="0"/>
                      <a:pt x="8"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1" name="Freeform 2458">
                <a:extLst>
                  <a:ext uri="{FF2B5EF4-FFF2-40B4-BE49-F238E27FC236}">
                    <a16:creationId xmlns:a16="http://schemas.microsoft.com/office/drawing/2014/main" id="{DE24AC36-A769-4A37-9F43-407E32647C83}"/>
                  </a:ext>
                </a:extLst>
              </p:cNvPr>
              <p:cNvSpPr>
                <a:spLocks noChangeAspect="1"/>
              </p:cNvSpPr>
              <p:nvPr/>
            </p:nvSpPr>
            <p:spPr bwMode="auto">
              <a:xfrm>
                <a:off x="5588236" y="5152895"/>
                <a:ext cx="44389" cy="51548"/>
              </a:xfrm>
              <a:custGeom>
                <a:avLst/>
                <a:gdLst>
                  <a:gd name="T0" fmla="*/ 16 w 31"/>
                  <a:gd name="T1" fmla="*/ 6 h 36"/>
                  <a:gd name="T2" fmla="*/ 24 w 31"/>
                  <a:gd name="T3" fmla="*/ 13 h 36"/>
                  <a:gd name="T4" fmla="*/ 27 w 31"/>
                  <a:gd name="T5" fmla="*/ 24 h 36"/>
                  <a:gd name="T6" fmla="*/ 24 w 31"/>
                  <a:gd name="T7" fmla="*/ 36 h 36"/>
                  <a:gd name="T8" fmla="*/ 14 w 31"/>
                  <a:gd name="T9" fmla="*/ 34 h 36"/>
                  <a:gd name="T10" fmla="*/ 8 w 31"/>
                  <a:gd name="T11" fmla="*/ 36 h 36"/>
                  <a:gd name="T12" fmla="*/ 0 w 31"/>
                  <a:gd name="T13" fmla="*/ 28 h 36"/>
                  <a:gd name="T14" fmla="*/ 11 w 31"/>
                  <a:gd name="T15" fmla="*/ 19 h 36"/>
                  <a:gd name="T16" fmla="*/ 12 w 31"/>
                  <a:gd name="T17" fmla="*/ 2 h 36"/>
                  <a:gd name="T18" fmla="*/ 16 w 31"/>
                  <a:gd name="T19" fmla="*/ 6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36"/>
                  <a:gd name="T32" fmla="*/ 31 w 3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36">
                    <a:moveTo>
                      <a:pt x="16" y="6"/>
                    </a:moveTo>
                    <a:cubicBezTo>
                      <a:pt x="20" y="8"/>
                      <a:pt x="23" y="9"/>
                      <a:pt x="24" y="13"/>
                    </a:cubicBezTo>
                    <a:cubicBezTo>
                      <a:pt x="23" y="19"/>
                      <a:pt x="21" y="22"/>
                      <a:pt x="27" y="24"/>
                    </a:cubicBezTo>
                    <a:cubicBezTo>
                      <a:pt x="28" y="29"/>
                      <a:pt x="31" y="34"/>
                      <a:pt x="24" y="36"/>
                    </a:cubicBezTo>
                    <a:cubicBezTo>
                      <a:pt x="21" y="35"/>
                      <a:pt x="17" y="34"/>
                      <a:pt x="14" y="34"/>
                    </a:cubicBezTo>
                    <a:cubicBezTo>
                      <a:pt x="12" y="34"/>
                      <a:pt x="8" y="36"/>
                      <a:pt x="8" y="36"/>
                    </a:cubicBezTo>
                    <a:cubicBezTo>
                      <a:pt x="5" y="31"/>
                      <a:pt x="3" y="33"/>
                      <a:pt x="0" y="28"/>
                    </a:cubicBezTo>
                    <a:cubicBezTo>
                      <a:pt x="3" y="23"/>
                      <a:pt x="6" y="21"/>
                      <a:pt x="11" y="19"/>
                    </a:cubicBezTo>
                    <a:cubicBezTo>
                      <a:pt x="11" y="13"/>
                      <a:pt x="11" y="8"/>
                      <a:pt x="12" y="2"/>
                    </a:cubicBezTo>
                    <a:cubicBezTo>
                      <a:pt x="12" y="0"/>
                      <a:pt x="16" y="4"/>
                      <a:pt x="16" y="6"/>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2" name="Freeform 2459">
                <a:extLst>
                  <a:ext uri="{FF2B5EF4-FFF2-40B4-BE49-F238E27FC236}">
                    <a16:creationId xmlns:a16="http://schemas.microsoft.com/office/drawing/2014/main" id="{C07B42C0-5C0B-4B60-9316-994F197D34B1}"/>
                  </a:ext>
                </a:extLst>
              </p:cNvPr>
              <p:cNvSpPr>
                <a:spLocks noChangeAspect="1"/>
              </p:cNvSpPr>
              <p:nvPr/>
            </p:nvSpPr>
            <p:spPr bwMode="auto">
              <a:xfrm>
                <a:off x="5618306" y="5214466"/>
                <a:ext cx="37229" cy="31502"/>
              </a:xfrm>
              <a:custGeom>
                <a:avLst/>
                <a:gdLst>
                  <a:gd name="T0" fmla="*/ 5 w 26"/>
                  <a:gd name="T1" fmla="*/ 4 h 22"/>
                  <a:gd name="T2" fmla="*/ 26 w 26"/>
                  <a:gd name="T3" fmla="*/ 15 h 22"/>
                  <a:gd name="T4" fmla="*/ 18 w 26"/>
                  <a:gd name="T5" fmla="*/ 22 h 22"/>
                  <a:gd name="T6" fmla="*/ 13 w 26"/>
                  <a:gd name="T7" fmla="*/ 21 h 22"/>
                  <a:gd name="T8" fmla="*/ 11 w 26"/>
                  <a:gd name="T9" fmla="*/ 18 h 22"/>
                  <a:gd name="T10" fmla="*/ 2 w 26"/>
                  <a:gd name="T11" fmla="*/ 15 h 22"/>
                  <a:gd name="T12" fmla="*/ 5 w 26"/>
                  <a:gd name="T13" fmla="*/ 5 h 22"/>
                  <a:gd name="T14" fmla="*/ 5 w 26"/>
                  <a:gd name="T15" fmla="*/ 4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5" y="4"/>
                    </a:moveTo>
                    <a:cubicBezTo>
                      <a:pt x="15" y="5"/>
                      <a:pt x="17" y="12"/>
                      <a:pt x="26" y="15"/>
                    </a:cubicBezTo>
                    <a:cubicBezTo>
                      <a:pt x="24" y="20"/>
                      <a:pt x="24" y="21"/>
                      <a:pt x="18" y="22"/>
                    </a:cubicBezTo>
                    <a:cubicBezTo>
                      <a:pt x="16" y="22"/>
                      <a:pt x="14" y="22"/>
                      <a:pt x="13" y="21"/>
                    </a:cubicBezTo>
                    <a:cubicBezTo>
                      <a:pt x="12" y="20"/>
                      <a:pt x="12" y="19"/>
                      <a:pt x="11" y="18"/>
                    </a:cubicBezTo>
                    <a:cubicBezTo>
                      <a:pt x="8" y="16"/>
                      <a:pt x="2" y="15"/>
                      <a:pt x="2" y="15"/>
                    </a:cubicBezTo>
                    <a:cubicBezTo>
                      <a:pt x="0" y="10"/>
                      <a:pt x="1" y="8"/>
                      <a:pt x="5" y="5"/>
                    </a:cubicBezTo>
                    <a:cubicBezTo>
                      <a:pt x="6" y="0"/>
                      <a:pt x="6" y="0"/>
                      <a:pt x="5" y="4"/>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3" name="Freeform 2460">
                <a:extLst>
                  <a:ext uri="{FF2B5EF4-FFF2-40B4-BE49-F238E27FC236}">
                    <a16:creationId xmlns:a16="http://schemas.microsoft.com/office/drawing/2014/main" id="{D17A3819-C3E0-4673-8CB0-8D96C18ECDC1}"/>
                  </a:ext>
                </a:extLst>
              </p:cNvPr>
              <p:cNvSpPr>
                <a:spLocks noChangeAspect="1"/>
              </p:cNvSpPr>
              <p:nvPr/>
            </p:nvSpPr>
            <p:spPr bwMode="auto">
              <a:xfrm>
                <a:off x="5800157" y="5064117"/>
                <a:ext cx="113120" cy="73027"/>
              </a:xfrm>
              <a:custGeom>
                <a:avLst/>
                <a:gdLst>
                  <a:gd name="T0" fmla="*/ 12 w 79"/>
                  <a:gd name="T1" fmla="*/ 3 h 51"/>
                  <a:gd name="T2" fmla="*/ 28 w 79"/>
                  <a:gd name="T3" fmla="*/ 10 h 51"/>
                  <a:gd name="T4" fmla="*/ 49 w 79"/>
                  <a:gd name="T5" fmla="*/ 21 h 51"/>
                  <a:gd name="T6" fmla="*/ 64 w 79"/>
                  <a:gd name="T7" fmla="*/ 19 h 51"/>
                  <a:gd name="T8" fmla="*/ 76 w 79"/>
                  <a:gd name="T9" fmla="*/ 33 h 51"/>
                  <a:gd name="T10" fmla="*/ 79 w 79"/>
                  <a:gd name="T11" fmla="*/ 44 h 51"/>
                  <a:gd name="T12" fmla="*/ 74 w 79"/>
                  <a:gd name="T13" fmla="*/ 51 h 51"/>
                  <a:gd name="T14" fmla="*/ 68 w 79"/>
                  <a:gd name="T15" fmla="*/ 49 h 51"/>
                  <a:gd name="T16" fmla="*/ 54 w 79"/>
                  <a:gd name="T17" fmla="*/ 44 h 51"/>
                  <a:gd name="T18" fmla="*/ 43 w 79"/>
                  <a:gd name="T19" fmla="*/ 36 h 51"/>
                  <a:gd name="T20" fmla="*/ 31 w 79"/>
                  <a:gd name="T21" fmla="*/ 30 h 51"/>
                  <a:gd name="T22" fmla="*/ 14 w 79"/>
                  <a:gd name="T23" fmla="*/ 24 h 51"/>
                  <a:gd name="T24" fmla="*/ 5 w 79"/>
                  <a:gd name="T25" fmla="*/ 19 h 51"/>
                  <a:gd name="T26" fmla="*/ 0 w 79"/>
                  <a:gd name="T27" fmla="*/ 10 h 51"/>
                  <a:gd name="T28" fmla="*/ 10 w 79"/>
                  <a:gd name="T29" fmla="*/ 0 h 51"/>
                  <a:gd name="T30" fmla="*/ 12 w 79"/>
                  <a:gd name="T31" fmla="*/ 3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51"/>
                  <a:gd name="T50" fmla="*/ 79 w 79"/>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51">
                    <a:moveTo>
                      <a:pt x="12" y="3"/>
                    </a:moveTo>
                    <a:cubicBezTo>
                      <a:pt x="25" y="4"/>
                      <a:pt x="21" y="3"/>
                      <a:pt x="28" y="10"/>
                    </a:cubicBezTo>
                    <a:cubicBezTo>
                      <a:pt x="30" y="20"/>
                      <a:pt x="40" y="20"/>
                      <a:pt x="49" y="21"/>
                    </a:cubicBezTo>
                    <a:cubicBezTo>
                      <a:pt x="54" y="22"/>
                      <a:pt x="64" y="19"/>
                      <a:pt x="64" y="19"/>
                    </a:cubicBezTo>
                    <a:cubicBezTo>
                      <a:pt x="72" y="21"/>
                      <a:pt x="71" y="28"/>
                      <a:pt x="76" y="33"/>
                    </a:cubicBezTo>
                    <a:cubicBezTo>
                      <a:pt x="77" y="37"/>
                      <a:pt x="79" y="44"/>
                      <a:pt x="79" y="44"/>
                    </a:cubicBezTo>
                    <a:cubicBezTo>
                      <a:pt x="78" y="47"/>
                      <a:pt x="79" y="51"/>
                      <a:pt x="74" y="51"/>
                    </a:cubicBezTo>
                    <a:cubicBezTo>
                      <a:pt x="72" y="51"/>
                      <a:pt x="68" y="49"/>
                      <a:pt x="68" y="49"/>
                    </a:cubicBezTo>
                    <a:cubicBezTo>
                      <a:pt x="66" y="43"/>
                      <a:pt x="60" y="45"/>
                      <a:pt x="54" y="44"/>
                    </a:cubicBezTo>
                    <a:cubicBezTo>
                      <a:pt x="49" y="42"/>
                      <a:pt x="49" y="38"/>
                      <a:pt x="43" y="36"/>
                    </a:cubicBezTo>
                    <a:cubicBezTo>
                      <a:pt x="40" y="33"/>
                      <a:pt x="31" y="30"/>
                      <a:pt x="31" y="30"/>
                    </a:cubicBezTo>
                    <a:cubicBezTo>
                      <a:pt x="26" y="25"/>
                      <a:pt x="21" y="25"/>
                      <a:pt x="14" y="24"/>
                    </a:cubicBezTo>
                    <a:cubicBezTo>
                      <a:pt x="11" y="22"/>
                      <a:pt x="8" y="21"/>
                      <a:pt x="5" y="19"/>
                    </a:cubicBezTo>
                    <a:cubicBezTo>
                      <a:pt x="4" y="14"/>
                      <a:pt x="1" y="14"/>
                      <a:pt x="0" y="10"/>
                    </a:cubicBezTo>
                    <a:cubicBezTo>
                      <a:pt x="4" y="4"/>
                      <a:pt x="4" y="2"/>
                      <a:pt x="10" y="0"/>
                    </a:cubicBezTo>
                    <a:cubicBezTo>
                      <a:pt x="17" y="1"/>
                      <a:pt x="18" y="0"/>
                      <a:pt x="12" y="3"/>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4" name="Freeform 2461">
                <a:extLst>
                  <a:ext uri="{FF2B5EF4-FFF2-40B4-BE49-F238E27FC236}">
                    <a16:creationId xmlns:a16="http://schemas.microsoft.com/office/drawing/2014/main" id="{BD6F378C-5E66-4F64-90B8-DF53D6431535}"/>
                  </a:ext>
                </a:extLst>
              </p:cNvPr>
              <p:cNvSpPr>
                <a:spLocks noChangeAspect="1"/>
              </p:cNvSpPr>
              <p:nvPr/>
            </p:nvSpPr>
            <p:spPr bwMode="auto">
              <a:xfrm>
                <a:off x="5910413" y="5135712"/>
                <a:ext cx="48685" cy="31502"/>
              </a:xfrm>
              <a:custGeom>
                <a:avLst/>
                <a:gdLst>
                  <a:gd name="T0" fmla="*/ 6 w 34"/>
                  <a:gd name="T1" fmla="*/ 0 h 22"/>
                  <a:gd name="T2" fmla="*/ 27 w 34"/>
                  <a:gd name="T3" fmla="*/ 0 h 22"/>
                  <a:gd name="T4" fmla="*/ 26 w 34"/>
                  <a:gd name="T5" fmla="*/ 14 h 22"/>
                  <a:gd name="T6" fmla="*/ 9 w 34"/>
                  <a:gd name="T7" fmla="*/ 19 h 22"/>
                  <a:gd name="T8" fmla="*/ 2 w 34"/>
                  <a:gd name="T9" fmla="*/ 7 h 22"/>
                  <a:gd name="T10" fmla="*/ 6 w 34"/>
                  <a:gd name="T11" fmla="*/ 0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6" y="0"/>
                    </a:moveTo>
                    <a:cubicBezTo>
                      <a:pt x="14" y="2"/>
                      <a:pt x="19" y="2"/>
                      <a:pt x="27" y="0"/>
                    </a:cubicBezTo>
                    <a:cubicBezTo>
                      <a:pt x="34" y="2"/>
                      <a:pt x="30" y="10"/>
                      <a:pt x="26" y="14"/>
                    </a:cubicBezTo>
                    <a:cubicBezTo>
                      <a:pt x="23" y="22"/>
                      <a:pt x="16" y="20"/>
                      <a:pt x="9" y="19"/>
                    </a:cubicBezTo>
                    <a:cubicBezTo>
                      <a:pt x="6" y="15"/>
                      <a:pt x="6" y="11"/>
                      <a:pt x="2" y="7"/>
                    </a:cubicBezTo>
                    <a:cubicBezTo>
                      <a:pt x="0" y="2"/>
                      <a:pt x="0" y="5"/>
                      <a:pt x="6"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5" name="Freeform 2462">
                <a:extLst>
                  <a:ext uri="{FF2B5EF4-FFF2-40B4-BE49-F238E27FC236}">
                    <a16:creationId xmlns:a16="http://schemas.microsoft.com/office/drawing/2014/main" id="{9757F800-916E-4845-BDD9-E11E40E1A42A}"/>
                  </a:ext>
                </a:extLst>
              </p:cNvPr>
              <p:cNvSpPr>
                <a:spLocks noChangeAspect="1"/>
              </p:cNvSpPr>
              <p:nvPr/>
            </p:nvSpPr>
            <p:spPr bwMode="auto">
              <a:xfrm>
                <a:off x="5949074" y="5154327"/>
                <a:ext cx="35797" cy="25774"/>
              </a:xfrm>
              <a:custGeom>
                <a:avLst/>
                <a:gdLst>
                  <a:gd name="T0" fmla="*/ 9 w 25"/>
                  <a:gd name="T1" fmla="*/ 0 h 18"/>
                  <a:gd name="T2" fmla="*/ 20 w 25"/>
                  <a:gd name="T3" fmla="*/ 1 h 18"/>
                  <a:gd name="T4" fmla="*/ 24 w 25"/>
                  <a:gd name="T5" fmla="*/ 10 h 18"/>
                  <a:gd name="T6" fmla="*/ 23 w 25"/>
                  <a:gd name="T7" fmla="*/ 17 h 18"/>
                  <a:gd name="T8" fmla="*/ 20 w 25"/>
                  <a:gd name="T9" fmla="*/ 13 h 18"/>
                  <a:gd name="T10" fmla="*/ 11 w 25"/>
                  <a:gd name="T11" fmla="*/ 9 h 18"/>
                  <a:gd name="T12" fmla="*/ 9 w 25"/>
                  <a:gd name="T13" fmla="*/ 0 h 18"/>
                  <a:gd name="T14" fmla="*/ 0 60000 65536"/>
                  <a:gd name="T15" fmla="*/ 0 60000 65536"/>
                  <a:gd name="T16" fmla="*/ 0 60000 65536"/>
                  <a:gd name="T17" fmla="*/ 0 60000 65536"/>
                  <a:gd name="T18" fmla="*/ 0 60000 65536"/>
                  <a:gd name="T19" fmla="*/ 0 60000 65536"/>
                  <a:gd name="T20" fmla="*/ 0 60000 65536"/>
                  <a:gd name="T21" fmla="*/ 0 w 25"/>
                  <a:gd name="T22" fmla="*/ 0 h 18"/>
                  <a:gd name="T23" fmla="*/ 25 w 25"/>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8">
                    <a:moveTo>
                      <a:pt x="9" y="0"/>
                    </a:moveTo>
                    <a:cubicBezTo>
                      <a:pt x="13" y="0"/>
                      <a:pt x="16" y="0"/>
                      <a:pt x="20" y="1"/>
                    </a:cubicBezTo>
                    <a:cubicBezTo>
                      <a:pt x="23" y="2"/>
                      <a:pt x="24" y="10"/>
                      <a:pt x="24" y="10"/>
                    </a:cubicBezTo>
                    <a:cubicBezTo>
                      <a:pt x="24" y="12"/>
                      <a:pt x="25" y="16"/>
                      <a:pt x="23" y="17"/>
                    </a:cubicBezTo>
                    <a:cubicBezTo>
                      <a:pt x="22" y="18"/>
                      <a:pt x="21" y="14"/>
                      <a:pt x="20" y="13"/>
                    </a:cubicBezTo>
                    <a:cubicBezTo>
                      <a:pt x="18" y="11"/>
                      <a:pt x="11" y="9"/>
                      <a:pt x="11" y="9"/>
                    </a:cubicBezTo>
                    <a:cubicBezTo>
                      <a:pt x="8" y="5"/>
                      <a:pt x="0" y="2"/>
                      <a:pt x="9"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6" name="Freeform 2463">
                <a:extLst>
                  <a:ext uri="{FF2B5EF4-FFF2-40B4-BE49-F238E27FC236}">
                    <a16:creationId xmlns:a16="http://schemas.microsoft.com/office/drawing/2014/main" id="{0EDDB20A-663D-448A-9A5A-5C8451E8D6A7}"/>
                  </a:ext>
                </a:extLst>
              </p:cNvPr>
              <p:cNvSpPr>
                <a:spLocks noChangeAspect="1"/>
              </p:cNvSpPr>
              <p:nvPr/>
            </p:nvSpPr>
            <p:spPr bwMode="auto">
              <a:xfrm>
                <a:off x="6116606" y="5127121"/>
                <a:ext cx="45821" cy="27206"/>
              </a:xfrm>
              <a:custGeom>
                <a:avLst/>
                <a:gdLst>
                  <a:gd name="T0" fmla="*/ 29 w 32"/>
                  <a:gd name="T1" fmla="*/ 2 h 19"/>
                  <a:gd name="T2" fmla="*/ 17 w 32"/>
                  <a:gd name="T3" fmla="*/ 6 h 19"/>
                  <a:gd name="T4" fmla="*/ 3 w 32"/>
                  <a:gd name="T5" fmla="*/ 8 h 19"/>
                  <a:gd name="T6" fmla="*/ 14 w 32"/>
                  <a:gd name="T7" fmla="*/ 19 h 19"/>
                  <a:gd name="T8" fmla="*/ 23 w 32"/>
                  <a:gd name="T9" fmla="*/ 10 h 19"/>
                  <a:gd name="T10" fmla="*/ 31 w 32"/>
                  <a:gd name="T11" fmla="*/ 8 h 19"/>
                  <a:gd name="T12" fmla="*/ 29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29" y="2"/>
                    </a:moveTo>
                    <a:cubicBezTo>
                      <a:pt x="20" y="0"/>
                      <a:pt x="23" y="4"/>
                      <a:pt x="17" y="6"/>
                    </a:cubicBezTo>
                    <a:cubicBezTo>
                      <a:pt x="12" y="5"/>
                      <a:pt x="8" y="6"/>
                      <a:pt x="3" y="8"/>
                    </a:cubicBezTo>
                    <a:cubicBezTo>
                      <a:pt x="0" y="19"/>
                      <a:pt x="3" y="18"/>
                      <a:pt x="14" y="19"/>
                    </a:cubicBezTo>
                    <a:cubicBezTo>
                      <a:pt x="26" y="17"/>
                      <a:pt x="15" y="15"/>
                      <a:pt x="23" y="10"/>
                    </a:cubicBezTo>
                    <a:cubicBezTo>
                      <a:pt x="25" y="9"/>
                      <a:pt x="29" y="10"/>
                      <a:pt x="31" y="8"/>
                    </a:cubicBezTo>
                    <a:cubicBezTo>
                      <a:pt x="32" y="6"/>
                      <a:pt x="30" y="4"/>
                      <a:pt x="29" y="2"/>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7" name="Freeform 2464">
                <a:extLst>
                  <a:ext uri="{FF2B5EF4-FFF2-40B4-BE49-F238E27FC236}">
                    <a16:creationId xmlns:a16="http://schemas.microsoft.com/office/drawing/2014/main" id="{320518E9-4368-4093-97BE-C820F80055E4}"/>
                  </a:ext>
                </a:extLst>
              </p:cNvPr>
              <p:cNvSpPr>
                <a:spLocks noChangeAspect="1"/>
              </p:cNvSpPr>
              <p:nvPr/>
            </p:nvSpPr>
            <p:spPr bwMode="auto">
              <a:xfrm>
                <a:off x="5648376" y="5157191"/>
                <a:ext cx="227672" cy="207625"/>
              </a:xfrm>
              <a:custGeom>
                <a:avLst/>
                <a:gdLst>
                  <a:gd name="T0" fmla="*/ 47 w 159"/>
                  <a:gd name="T1" fmla="*/ 3 h 145"/>
                  <a:gd name="T2" fmla="*/ 39 w 159"/>
                  <a:gd name="T3" fmla="*/ 13 h 145"/>
                  <a:gd name="T4" fmla="*/ 21 w 159"/>
                  <a:gd name="T5" fmla="*/ 20 h 145"/>
                  <a:gd name="T6" fmla="*/ 11 w 159"/>
                  <a:gd name="T7" fmla="*/ 34 h 145"/>
                  <a:gd name="T8" fmla="*/ 0 w 159"/>
                  <a:gd name="T9" fmla="*/ 40 h 145"/>
                  <a:gd name="T10" fmla="*/ 17 w 159"/>
                  <a:gd name="T11" fmla="*/ 46 h 145"/>
                  <a:gd name="T12" fmla="*/ 24 w 159"/>
                  <a:gd name="T13" fmla="*/ 55 h 145"/>
                  <a:gd name="T14" fmla="*/ 36 w 159"/>
                  <a:gd name="T15" fmla="*/ 61 h 145"/>
                  <a:gd name="T16" fmla="*/ 44 w 159"/>
                  <a:gd name="T17" fmla="*/ 70 h 145"/>
                  <a:gd name="T18" fmla="*/ 47 w 159"/>
                  <a:gd name="T19" fmla="*/ 81 h 145"/>
                  <a:gd name="T20" fmla="*/ 53 w 159"/>
                  <a:gd name="T21" fmla="*/ 101 h 145"/>
                  <a:gd name="T22" fmla="*/ 64 w 159"/>
                  <a:gd name="T23" fmla="*/ 121 h 145"/>
                  <a:gd name="T24" fmla="*/ 68 w 159"/>
                  <a:gd name="T25" fmla="*/ 109 h 145"/>
                  <a:gd name="T26" fmla="*/ 74 w 159"/>
                  <a:gd name="T27" fmla="*/ 98 h 145"/>
                  <a:gd name="T28" fmla="*/ 82 w 159"/>
                  <a:gd name="T29" fmla="*/ 106 h 145"/>
                  <a:gd name="T30" fmla="*/ 98 w 159"/>
                  <a:gd name="T31" fmla="*/ 116 h 145"/>
                  <a:gd name="T32" fmla="*/ 108 w 159"/>
                  <a:gd name="T33" fmla="*/ 145 h 145"/>
                  <a:gd name="T34" fmla="*/ 117 w 159"/>
                  <a:gd name="T35" fmla="*/ 106 h 145"/>
                  <a:gd name="T36" fmla="*/ 131 w 159"/>
                  <a:gd name="T37" fmla="*/ 121 h 145"/>
                  <a:gd name="T38" fmla="*/ 147 w 159"/>
                  <a:gd name="T39" fmla="*/ 129 h 145"/>
                  <a:gd name="T40" fmla="*/ 150 w 159"/>
                  <a:gd name="T41" fmla="*/ 123 h 145"/>
                  <a:gd name="T42" fmla="*/ 137 w 159"/>
                  <a:gd name="T43" fmla="*/ 113 h 145"/>
                  <a:gd name="T44" fmla="*/ 140 w 159"/>
                  <a:gd name="T45" fmla="*/ 106 h 145"/>
                  <a:gd name="T46" fmla="*/ 138 w 159"/>
                  <a:gd name="T47" fmla="*/ 99 h 145"/>
                  <a:gd name="T48" fmla="*/ 129 w 159"/>
                  <a:gd name="T49" fmla="*/ 89 h 145"/>
                  <a:gd name="T50" fmla="*/ 120 w 159"/>
                  <a:gd name="T51" fmla="*/ 77 h 145"/>
                  <a:gd name="T52" fmla="*/ 111 w 159"/>
                  <a:gd name="T53" fmla="*/ 61 h 145"/>
                  <a:gd name="T54" fmla="*/ 108 w 159"/>
                  <a:gd name="T55" fmla="*/ 52 h 145"/>
                  <a:gd name="T56" fmla="*/ 111 w 159"/>
                  <a:gd name="T57" fmla="*/ 47 h 145"/>
                  <a:gd name="T58" fmla="*/ 130 w 159"/>
                  <a:gd name="T59" fmla="*/ 55 h 145"/>
                  <a:gd name="T60" fmla="*/ 137 w 159"/>
                  <a:gd name="T61" fmla="*/ 70 h 145"/>
                  <a:gd name="T62" fmla="*/ 153 w 159"/>
                  <a:gd name="T63" fmla="*/ 53 h 145"/>
                  <a:gd name="T64" fmla="*/ 136 w 159"/>
                  <a:gd name="T65" fmla="*/ 43 h 145"/>
                  <a:gd name="T66" fmla="*/ 118 w 159"/>
                  <a:gd name="T67" fmla="*/ 22 h 145"/>
                  <a:gd name="T68" fmla="*/ 111 w 159"/>
                  <a:gd name="T69" fmla="*/ 17 h 145"/>
                  <a:gd name="T70" fmla="*/ 105 w 159"/>
                  <a:gd name="T71" fmla="*/ 21 h 145"/>
                  <a:gd name="T72" fmla="*/ 99 w 159"/>
                  <a:gd name="T73" fmla="*/ 13 h 145"/>
                  <a:gd name="T74" fmla="*/ 90 w 159"/>
                  <a:gd name="T75" fmla="*/ 9 h 145"/>
                  <a:gd name="T76" fmla="*/ 81 w 159"/>
                  <a:gd name="T77" fmla="*/ 13 h 145"/>
                  <a:gd name="T78" fmla="*/ 59 w 159"/>
                  <a:gd name="T79" fmla="*/ 7 h 145"/>
                  <a:gd name="T80" fmla="*/ 47 w 159"/>
                  <a:gd name="T81" fmla="*/ 4 h 145"/>
                  <a:gd name="T82" fmla="*/ 39 w 159"/>
                  <a:gd name="T83" fmla="*/ 9 h 1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9"/>
                  <a:gd name="T127" fmla="*/ 0 h 145"/>
                  <a:gd name="T128" fmla="*/ 159 w 159"/>
                  <a:gd name="T129" fmla="*/ 145 h 1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9" h="145">
                    <a:moveTo>
                      <a:pt x="47" y="3"/>
                    </a:moveTo>
                    <a:cubicBezTo>
                      <a:pt x="41" y="5"/>
                      <a:pt x="42" y="10"/>
                      <a:pt x="39" y="13"/>
                    </a:cubicBezTo>
                    <a:cubicBezTo>
                      <a:pt x="34" y="18"/>
                      <a:pt x="28" y="18"/>
                      <a:pt x="21" y="20"/>
                    </a:cubicBezTo>
                    <a:cubicBezTo>
                      <a:pt x="20" y="27"/>
                      <a:pt x="18" y="32"/>
                      <a:pt x="11" y="34"/>
                    </a:cubicBezTo>
                    <a:cubicBezTo>
                      <a:pt x="7" y="38"/>
                      <a:pt x="5" y="38"/>
                      <a:pt x="0" y="40"/>
                    </a:cubicBezTo>
                    <a:cubicBezTo>
                      <a:pt x="5" y="47"/>
                      <a:pt x="7" y="45"/>
                      <a:pt x="17" y="46"/>
                    </a:cubicBezTo>
                    <a:cubicBezTo>
                      <a:pt x="18" y="50"/>
                      <a:pt x="24" y="55"/>
                      <a:pt x="24" y="55"/>
                    </a:cubicBezTo>
                    <a:cubicBezTo>
                      <a:pt x="27" y="60"/>
                      <a:pt x="30" y="59"/>
                      <a:pt x="36" y="61"/>
                    </a:cubicBezTo>
                    <a:cubicBezTo>
                      <a:pt x="40" y="63"/>
                      <a:pt x="42" y="66"/>
                      <a:pt x="44" y="70"/>
                    </a:cubicBezTo>
                    <a:cubicBezTo>
                      <a:pt x="45" y="74"/>
                      <a:pt x="46" y="77"/>
                      <a:pt x="47" y="81"/>
                    </a:cubicBezTo>
                    <a:cubicBezTo>
                      <a:pt x="46" y="93"/>
                      <a:pt x="42" y="97"/>
                      <a:pt x="53" y="101"/>
                    </a:cubicBezTo>
                    <a:cubicBezTo>
                      <a:pt x="54" y="110"/>
                      <a:pt x="55" y="118"/>
                      <a:pt x="64" y="121"/>
                    </a:cubicBezTo>
                    <a:cubicBezTo>
                      <a:pt x="72" y="118"/>
                      <a:pt x="73" y="116"/>
                      <a:pt x="68" y="109"/>
                    </a:cubicBezTo>
                    <a:cubicBezTo>
                      <a:pt x="69" y="102"/>
                      <a:pt x="68" y="101"/>
                      <a:pt x="74" y="98"/>
                    </a:cubicBezTo>
                    <a:cubicBezTo>
                      <a:pt x="79" y="90"/>
                      <a:pt x="81" y="102"/>
                      <a:pt x="82" y="106"/>
                    </a:cubicBezTo>
                    <a:cubicBezTo>
                      <a:pt x="94" y="103"/>
                      <a:pt x="96" y="104"/>
                      <a:pt x="98" y="116"/>
                    </a:cubicBezTo>
                    <a:cubicBezTo>
                      <a:pt x="95" y="125"/>
                      <a:pt x="100" y="139"/>
                      <a:pt x="108" y="145"/>
                    </a:cubicBezTo>
                    <a:cubicBezTo>
                      <a:pt x="108" y="136"/>
                      <a:pt x="102" y="109"/>
                      <a:pt x="117" y="106"/>
                    </a:cubicBezTo>
                    <a:cubicBezTo>
                      <a:pt x="125" y="100"/>
                      <a:pt x="127" y="117"/>
                      <a:pt x="131" y="121"/>
                    </a:cubicBezTo>
                    <a:cubicBezTo>
                      <a:pt x="136" y="126"/>
                      <a:pt x="141" y="127"/>
                      <a:pt x="147" y="129"/>
                    </a:cubicBezTo>
                    <a:cubicBezTo>
                      <a:pt x="153" y="128"/>
                      <a:pt x="158" y="126"/>
                      <a:pt x="150" y="123"/>
                    </a:cubicBezTo>
                    <a:cubicBezTo>
                      <a:pt x="146" y="118"/>
                      <a:pt x="142" y="116"/>
                      <a:pt x="137" y="113"/>
                    </a:cubicBezTo>
                    <a:cubicBezTo>
                      <a:pt x="134" y="108"/>
                      <a:pt x="135" y="107"/>
                      <a:pt x="140" y="106"/>
                    </a:cubicBezTo>
                    <a:cubicBezTo>
                      <a:pt x="143" y="102"/>
                      <a:pt x="143" y="101"/>
                      <a:pt x="138" y="99"/>
                    </a:cubicBezTo>
                    <a:cubicBezTo>
                      <a:pt x="136" y="94"/>
                      <a:pt x="132" y="93"/>
                      <a:pt x="129" y="89"/>
                    </a:cubicBezTo>
                    <a:cubicBezTo>
                      <a:pt x="127" y="83"/>
                      <a:pt x="125" y="80"/>
                      <a:pt x="120" y="77"/>
                    </a:cubicBezTo>
                    <a:cubicBezTo>
                      <a:pt x="118" y="70"/>
                      <a:pt x="114" y="67"/>
                      <a:pt x="111" y="61"/>
                    </a:cubicBezTo>
                    <a:cubicBezTo>
                      <a:pt x="110" y="58"/>
                      <a:pt x="108" y="52"/>
                      <a:pt x="108" y="52"/>
                    </a:cubicBezTo>
                    <a:cubicBezTo>
                      <a:pt x="109" y="50"/>
                      <a:pt x="109" y="48"/>
                      <a:pt x="111" y="47"/>
                    </a:cubicBezTo>
                    <a:cubicBezTo>
                      <a:pt x="112" y="47"/>
                      <a:pt x="125" y="53"/>
                      <a:pt x="130" y="55"/>
                    </a:cubicBezTo>
                    <a:cubicBezTo>
                      <a:pt x="132" y="60"/>
                      <a:pt x="132" y="67"/>
                      <a:pt x="137" y="70"/>
                    </a:cubicBezTo>
                    <a:cubicBezTo>
                      <a:pt x="139" y="54"/>
                      <a:pt x="143" y="60"/>
                      <a:pt x="153" y="53"/>
                    </a:cubicBezTo>
                    <a:cubicBezTo>
                      <a:pt x="159" y="44"/>
                      <a:pt x="140" y="43"/>
                      <a:pt x="136" y="43"/>
                    </a:cubicBezTo>
                    <a:cubicBezTo>
                      <a:pt x="123" y="36"/>
                      <a:pt x="134" y="24"/>
                      <a:pt x="118" y="22"/>
                    </a:cubicBezTo>
                    <a:cubicBezTo>
                      <a:pt x="116" y="20"/>
                      <a:pt x="114" y="16"/>
                      <a:pt x="111" y="17"/>
                    </a:cubicBezTo>
                    <a:cubicBezTo>
                      <a:pt x="109" y="18"/>
                      <a:pt x="105" y="21"/>
                      <a:pt x="105" y="21"/>
                    </a:cubicBezTo>
                    <a:cubicBezTo>
                      <a:pt x="101" y="18"/>
                      <a:pt x="102" y="16"/>
                      <a:pt x="99" y="13"/>
                    </a:cubicBezTo>
                    <a:cubicBezTo>
                      <a:pt x="97" y="11"/>
                      <a:pt x="90" y="9"/>
                      <a:pt x="90" y="9"/>
                    </a:cubicBezTo>
                    <a:cubicBezTo>
                      <a:pt x="83" y="11"/>
                      <a:pt x="86" y="10"/>
                      <a:pt x="81" y="13"/>
                    </a:cubicBezTo>
                    <a:cubicBezTo>
                      <a:pt x="75" y="11"/>
                      <a:pt x="65" y="11"/>
                      <a:pt x="59" y="7"/>
                    </a:cubicBezTo>
                    <a:cubicBezTo>
                      <a:pt x="57" y="0"/>
                      <a:pt x="52" y="2"/>
                      <a:pt x="47" y="4"/>
                    </a:cubicBezTo>
                    <a:cubicBezTo>
                      <a:pt x="45" y="7"/>
                      <a:pt x="39" y="9"/>
                      <a:pt x="39" y="9"/>
                    </a:cubicBezTo>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8" name="Freeform 2465">
                <a:extLst>
                  <a:ext uri="{FF2B5EF4-FFF2-40B4-BE49-F238E27FC236}">
                    <a16:creationId xmlns:a16="http://schemas.microsoft.com/office/drawing/2014/main" id="{75200711-1DF5-4438-A54B-C7000B7EB096}"/>
                  </a:ext>
                </a:extLst>
              </p:cNvPr>
              <p:cNvSpPr>
                <a:spLocks noChangeAspect="1"/>
              </p:cNvSpPr>
              <p:nvPr/>
            </p:nvSpPr>
            <p:spPr bwMode="auto">
              <a:xfrm>
                <a:off x="5878911" y="4859356"/>
                <a:ext cx="27206" cy="24342"/>
              </a:xfrm>
              <a:custGeom>
                <a:avLst/>
                <a:gdLst>
                  <a:gd name="T0" fmla="*/ 16 w 19"/>
                  <a:gd name="T1" fmla="*/ 0 h 17"/>
                  <a:gd name="T2" fmla="*/ 6 w 19"/>
                  <a:gd name="T3" fmla="*/ 3 h 17"/>
                  <a:gd name="T4" fmla="*/ 1 w 19"/>
                  <a:gd name="T5" fmla="*/ 9 h 17"/>
                  <a:gd name="T6" fmla="*/ 12 w 19"/>
                  <a:gd name="T7" fmla="*/ 17 h 17"/>
                  <a:gd name="T8" fmla="*/ 17 w 19"/>
                  <a:gd name="T9" fmla="*/ 15 h 17"/>
                  <a:gd name="T10" fmla="*/ 19 w 19"/>
                  <a:gd name="T11" fmla="*/ 9 h 17"/>
                  <a:gd name="T12" fmla="*/ 16 w 19"/>
                  <a:gd name="T13" fmla="*/ 0 h 17"/>
                  <a:gd name="T14" fmla="*/ 0 60000 65536"/>
                  <a:gd name="T15" fmla="*/ 0 60000 65536"/>
                  <a:gd name="T16" fmla="*/ 0 60000 65536"/>
                  <a:gd name="T17" fmla="*/ 0 60000 65536"/>
                  <a:gd name="T18" fmla="*/ 0 60000 65536"/>
                  <a:gd name="T19" fmla="*/ 0 60000 65536"/>
                  <a:gd name="T20" fmla="*/ 0 60000 65536"/>
                  <a:gd name="T21" fmla="*/ 0 w 19"/>
                  <a:gd name="T22" fmla="*/ 0 h 17"/>
                  <a:gd name="T23" fmla="*/ 19 w 19"/>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
                    <a:moveTo>
                      <a:pt x="16" y="0"/>
                    </a:moveTo>
                    <a:cubicBezTo>
                      <a:pt x="13" y="1"/>
                      <a:pt x="9" y="2"/>
                      <a:pt x="6" y="3"/>
                    </a:cubicBezTo>
                    <a:cubicBezTo>
                      <a:pt x="5" y="5"/>
                      <a:pt x="2" y="6"/>
                      <a:pt x="1" y="9"/>
                    </a:cubicBezTo>
                    <a:cubicBezTo>
                      <a:pt x="0" y="13"/>
                      <a:pt x="9" y="15"/>
                      <a:pt x="12" y="17"/>
                    </a:cubicBezTo>
                    <a:cubicBezTo>
                      <a:pt x="14" y="16"/>
                      <a:pt x="16" y="16"/>
                      <a:pt x="17" y="15"/>
                    </a:cubicBezTo>
                    <a:cubicBezTo>
                      <a:pt x="18" y="13"/>
                      <a:pt x="19" y="9"/>
                      <a:pt x="19" y="9"/>
                    </a:cubicBezTo>
                    <a:cubicBezTo>
                      <a:pt x="19" y="7"/>
                      <a:pt x="16" y="0"/>
                      <a:pt x="16"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9" name="Freeform 2466">
                <a:extLst>
                  <a:ext uri="{FF2B5EF4-FFF2-40B4-BE49-F238E27FC236}">
                    <a16:creationId xmlns:a16="http://schemas.microsoft.com/office/drawing/2014/main" id="{17CAB47A-7C7F-43FA-AD79-AE001AAE2E9F}"/>
                  </a:ext>
                </a:extLst>
              </p:cNvPr>
              <p:cNvSpPr>
                <a:spLocks noChangeAspect="1"/>
              </p:cNvSpPr>
              <p:nvPr/>
            </p:nvSpPr>
            <p:spPr bwMode="auto">
              <a:xfrm>
                <a:off x="5959098" y="4867947"/>
                <a:ext cx="24342" cy="18615"/>
              </a:xfrm>
              <a:custGeom>
                <a:avLst/>
                <a:gdLst>
                  <a:gd name="T0" fmla="*/ 15 w 17"/>
                  <a:gd name="T1" fmla="*/ 3 h 13"/>
                  <a:gd name="T2" fmla="*/ 11 w 17"/>
                  <a:gd name="T3" fmla="*/ 13 h 13"/>
                  <a:gd name="T4" fmla="*/ 15 w 17"/>
                  <a:gd name="T5" fmla="*/ 3 h 13"/>
                  <a:gd name="T6" fmla="*/ 0 60000 65536"/>
                  <a:gd name="T7" fmla="*/ 0 60000 65536"/>
                  <a:gd name="T8" fmla="*/ 0 60000 65536"/>
                  <a:gd name="T9" fmla="*/ 0 w 17"/>
                  <a:gd name="T10" fmla="*/ 0 h 13"/>
                  <a:gd name="T11" fmla="*/ 17 w 17"/>
                  <a:gd name="T12" fmla="*/ 13 h 13"/>
                </a:gdLst>
                <a:ahLst/>
                <a:cxnLst>
                  <a:cxn ang="T6">
                    <a:pos x="T0" y="T1"/>
                  </a:cxn>
                  <a:cxn ang="T7">
                    <a:pos x="T2" y="T3"/>
                  </a:cxn>
                  <a:cxn ang="T8">
                    <a:pos x="T4" y="T5"/>
                  </a:cxn>
                </a:cxnLst>
                <a:rect l="T9" t="T10" r="T11" b="T12"/>
                <a:pathLst>
                  <a:path w="17" h="13">
                    <a:moveTo>
                      <a:pt x="15" y="3"/>
                    </a:moveTo>
                    <a:cubicBezTo>
                      <a:pt x="3" y="0"/>
                      <a:pt x="0" y="9"/>
                      <a:pt x="11" y="13"/>
                    </a:cubicBezTo>
                    <a:cubicBezTo>
                      <a:pt x="17" y="11"/>
                      <a:pt x="15" y="8"/>
                      <a:pt x="15" y="3"/>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0" name="Freeform 2467">
                <a:extLst>
                  <a:ext uri="{FF2B5EF4-FFF2-40B4-BE49-F238E27FC236}">
                    <a16:creationId xmlns:a16="http://schemas.microsoft.com/office/drawing/2014/main" id="{A2527C41-743F-4D2F-A5F3-E32EBEFFBDFC}"/>
                  </a:ext>
                </a:extLst>
              </p:cNvPr>
              <p:cNvSpPr>
                <a:spLocks noChangeAspect="1"/>
              </p:cNvSpPr>
              <p:nvPr/>
            </p:nvSpPr>
            <p:spPr bwMode="auto">
              <a:xfrm>
                <a:off x="5929028" y="4928087"/>
                <a:ext cx="42957" cy="34366"/>
              </a:xfrm>
              <a:custGeom>
                <a:avLst/>
                <a:gdLst>
                  <a:gd name="T0" fmla="*/ 29 w 30"/>
                  <a:gd name="T1" fmla="*/ 0 h 24"/>
                  <a:gd name="T2" fmla="*/ 25 w 30"/>
                  <a:gd name="T3" fmla="*/ 9 h 24"/>
                  <a:gd name="T4" fmla="*/ 16 w 30"/>
                  <a:gd name="T5" fmla="*/ 6 h 24"/>
                  <a:gd name="T6" fmla="*/ 10 w 30"/>
                  <a:gd name="T7" fmla="*/ 13 h 24"/>
                  <a:gd name="T8" fmla="*/ 28 w 30"/>
                  <a:gd name="T9" fmla="*/ 19 h 24"/>
                  <a:gd name="T10" fmla="*/ 29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29" y="0"/>
                    </a:moveTo>
                    <a:cubicBezTo>
                      <a:pt x="28" y="3"/>
                      <a:pt x="26" y="6"/>
                      <a:pt x="25" y="9"/>
                    </a:cubicBezTo>
                    <a:cubicBezTo>
                      <a:pt x="22" y="8"/>
                      <a:pt x="16" y="6"/>
                      <a:pt x="16" y="6"/>
                    </a:cubicBezTo>
                    <a:cubicBezTo>
                      <a:pt x="10" y="7"/>
                      <a:pt x="0" y="8"/>
                      <a:pt x="10" y="13"/>
                    </a:cubicBezTo>
                    <a:cubicBezTo>
                      <a:pt x="12" y="24"/>
                      <a:pt x="16" y="20"/>
                      <a:pt x="28" y="19"/>
                    </a:cubicBezTo>
                    <a:cubicBezTo>
                      <a:pt x="30" y="12"/>
                      <a:pt x="30" y="7"/>
                      <a:pt x="29"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1" name="Freeform 2468">
                <a:extLst>
                  <a:ext uri="{FF2B5EF4-FFF2-40B4-BE49-F238E27FC236}">
                    <a16:creationId xmlns:a16="http://schemas.microsoft.com/office/drawing/2014/main" id="{EDE17087-DA49-4D42-9B30-21E61D047098}"/>
                  </a:ext>
                </a:extLst>
              </p:cNvPr>
              <p:cNvSpPr>
                <a:spLocks noChangeAspect="1"/>
              </p:cNvSpPr>
              <p:nvPr/>
            </p:nvSpPr>
            <p:spPr bwMode="auto">
              <a:xfrm>
                <a:off x="6029261" y="5221626"/>
                <a:ext cx="22910" cy="31502"/>
              </a:xfrm>
              <a:custGeom>
                <a:avLst/>
                <a:gdLst>
                  <a:gd name="T0" fmla="*/ 6 w 16"/>
                  <a:gd name="T1" fmla="*/ 0 h 22"/>
                  <a:gd name="T2" fmla="*/ 16 w 16"/>
                  <a:gd name="T3" fmla="*/ 11 h 22"/>
                  <a:gd name="T4" fmla="*/ 7 w 16"/>
                  <a:gd name="T5" fmla="*/ 22 h 22"/>
                  <a:gd name="T6" fmla="*/ 7 w 16"/>
                  <a:gd name="T7" fmla="*/ 5 h 22"/>
                  <a:gd name="T8" fmla="*/ 6 w 16"/>
                  <a:gd name="T9" fmla="*/ 0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6" y="0"/>
                    </a:moveTo>
                    <a:cubicBezTo>
                      <a:pt x="13" y="2"/>
                      <a:pt x="14" y="4"/>
                      <a:pt x="16" y="11"/>
                    </a:cubicBezTo>
                    <a:cubicBezTo>
                      <a:pt x="14" y="19"/>
                      <a:pt x="13" y="18"/>
                      <a:pt x="7" y="22"/>
                    </a:cubicBezTo>
                    <a:cubicBezTo>
                      <a:pt x="5" y="15"/>
                      <a:pt x="0" y="12"/>
                      <a:pt x="7" y="5"/>
                    </a:cubicBezTo>
                    <a:cubicBezTo>
                      <a:pt x="8" y="1"/>
                      <a:pt x="9" y="3"/>
                      <a:pt x="6"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2" name="Freeform 2469">
                <a:extLst>
                  <a:ext uri="{FF2B5EF4-FFF2-40B4-BE49-F238E27FC236}">
                    <a16:creationId xmlns:a16="http://schemas.microsoft.com/office/drawing/2014/main" id="{B5781963-29F6-41AC-9F0A-39E012887019}"/>
                  </a:ext>
                </a:extLst>
              </p:cNvPr>
              <p:cNvSpPr>
                <a:spLocks noChangeAspect="1"/>
              </p:cNvSpPr>
              <p:nvPr/>
            </p:nvSpPr>
            <p:spPr bwMode="auto">
              <a:xfrm>
                <a:off x="6022101" y="4975340"/>
                <a:ext cx="64435" cy="48685"/>
              </a:xfrm>
              <a:custGeom>
                <a:avLst/>
                <a:gdLst>
                  <a:gd name="T0" fmla="*/ 26 w 45"/>
                  <a:gd name="T1" fmla="*/ 0 h 34"/>
                  <a:gd name="T2" fmla="*/ 35 w 45"/>
                  <a:gd name="T3" fmla="*/ 10 h 34"/>
                  <a:gd name="T4" fmla="*/ 41 w 45"/>
                  <a:gd name="T5" fmla="*/ 14 h 34"/>
                  <a:gd name="T6" fmla="*/ 45 w 45"/>
                  <a:gd name="T7" fmla="*/ 23 h 34"/>
                  <a:gd name="T8" fmla="*/ 32 w 45"/>
                  <a:gd name="T9" fmla="*/ 33 h 34"/>
                  <a:gd name="T10" fmla="*/ 23 w 45"/>
                  <a:gd name="T11" fmla="*/ 32 h 34"/>
                  <a:gd name="T12" fmla="*/ 29 w 45"/>
                  <a:gd name="T13" fmla="*/ 17 h 34"/>
                  <a:gd name="T14" fmla="*/ 19 w 45"/>
                  <a:gd name="T15" fmla="*/ 12 h 34"/>
                  <a:gd name="T16" fmla="*/ 8 w 45"/>
                  <a:gd name="T17" fmla="*/ 28 h 34"/>
                  <a:gd name="T18" fmla="*/ 0 w 45"/>
                  <a:gd name="T19" fmla="*/ 18 h 34"/>
                  <a:gd name="T20" fmla="*/ 11 w 45"/>
                  <a:gd name="T21" fmla="*/ 11 h 34"/>
                  <a:gd name="T22" fmla="*/ 17 w 45"/>
                  <a:gd name="T23" fmla="*/ 8 h 34"/>
                  <a:gd name="T24" fmla="*/ 26 w 45"/>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34"/>
                  <a:gd name="T41" fmla="*/ 45 w 45"/>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34">
                    <a:moveTo>
                      <a:pt x="26" y="0"/>
                    </a:moveTo>
                    <a:cubicBezTo>
                      <a:pt x="27" y="4"/>
                      <a:pt x="31" y="8"/>
                      <a:pt x="35" y="10"/>
                    </a:cubicBezTo>
                    <a:cubicBezTo>
                      <a:pt x="37" y="11"/>
                      <a:pt x="41" y="14"/>
                      <a:pt x="41" y="14"/>
                    </a:cubicBezTo>
                    <a:cubicBezTo>
                      <a:pt x="43" y="17"/>
                      <a:pt x="45" y="23"/>
                      <a:pt x="45" y="23"/>
                    </a:cubicBezTo>
                    <a:cubicBezTo>
                      <a:pt x="43" y="29"/>
                      <a:pt x="37" y="31"/>
                      <a:pt x="32" y="33"/>
                    </a:cubicBezTo>
                    <a:cubicBezTo>
                      <a:pt x="29" y="33"/>
                      <a:pt x="25" y="34"/>
                      <a:pt x="23" y="32"/>
                    </a:cubicBezTo>
                    <a:cubicBezTo>
                      <a:pt x="19" y="28"/>
                      <a:pt x="29" y="17"/>
                      <a:pt x="29" y="17"/>
                    </a:cubicBezTo>
                    <a:cubicBezTo>
                      <a:pt x="26" y="10"/>
                      <a:pt x="26" y="11"/>
                      <a:pt x="19" y="12"/>
                    </a:cubicBezTo>
                    <a:cubicBezTo>
                      <a:pt x="17" y="19"/>
                      <a:pt x="16" y="26"/>
                      <a:pt x="8" y="28"/>
                    </a:cubicBezTo>
                    <a:cubicBezTo>
                      <a:pt x="4" y="27"/>
                      <a:pt x="0" y="18"/>
                      <a:pt x="0" y="18"/>
                    </a:cubicBezTo>
                    <a:cubicBezTo>
                      <a:pt x="2" y="12"/>
                      <a:pt x="5" y="12"/>
                      <a:pt x="11" y="11"/>
                    </a:cubicBezTo>
                    <a:cubicBezTo>
                      <a:pt x="13" y="10"/>
                      <a:pt x="15" y="10"/>
                      <a:pt x="17" y="8"/>
                    </a:cubicBezTo>
                    <a:cubicBezTo>
                      <a:pt x="21" y="4"/>
                      <a:pt x="19" y="0"/>
                      <a:pt x="26" y="0"/>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3" name="Freeform 2470">
                <a:extLst>
                  <a:ext uri="{FF2B5EF4-FFF2-40B4-BE49-F238E27FC236}">
                    <a16:creationId xmlns:a16="http://schemas.microsoft.com/office/drawing/2014/main" id="{321A1711-9DDE-44D7-A1A6-75B7D0EDD5BB}"/>
                  </a:ext>
                </a:extLst>
              </p:cNvPr>
              <p:cNvSpPr>
                <a:spLocks noChangeAspect="1"/>
              </p:cNvSpPr>
              <p:nvPr/>
            </p:nvSpPr>
            <p:spPr bwMode="auto">
              <a:xfrm>
                <a:off x="6033556" y="5061253"/>
                <a:ext cx="38661" cy="50116"/>
              </a:xfrm>
              <a:custGeom>
                <a:avLst/>
                <a:gdLst>
                  <a:gd name="T0" fmla="*/ 13 w 27"/>
                  <a:gd name="T1" fmla="*/ 4 h 35"/>
                  <a:gd name="T2" fmla="*/ 25 w 27"/>
                  <a:gd name="T3" fmla="*/ 14 h 35"/>
                  <a:gd name="T4" fmla="*/ 16 w 27"/>
                  <a:gd name="T5" fmla="*/ 35 h 35"/>
                  <a:gd name="T6" fmla="*/ 7 w 27"/>
                  <a:gd name="T7" fmla="*/ 29 h 35"/>
                  <a:gd name="T8" fmla="*/ 0 w 27"/>
                  <a:gd name="T9" fmla="*/ 10 h 35"/>
                  <a:gd name="T10" fmla="*/ 13 w 27"/>
                  <a:gd name="T11" fmla="*/ 4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13" y="4"/>
                    </a:moveTo>
                    <a:cubicBezTo>
                      <a:pt x="18" y="5"/>
                      <a:pt x="22" y="10"/>
                      <a:pt x="25" y="14"/>
                    </a:cubicBezTo>
                    <a:cubicBezTo>
                      <a:pt x="24" y="24"/>
                      <a:pt x="26" y="32"/>
                      <a:pt x="16" y="35"/>
                    </a:cubicBezTo>
                    <a:cubicBezTo>
                      <a:pt x="11" y="34"/>
                      <a:pt x="10" y="33"/>
                      <a:pt x="7" y="29"/>
                    </a:cubicBezTo>
                    <a:cubicBezTo>
                      <a:pt x="17" y="23"/>
                      <a:pt x="7" y="13"/>
                      <a:pt x="0" y="10"/>
                    </a:cubicBezTo>
                    <a:cubicBezTo>
                      <a:pt x="3" y="0"/>
                      <a:pt x="27" y="9"/>
                      <a:pt x="13" y="4"/>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6" name="Freeform 2473">
                <a:extLst>
                  <a:ext uri="{FF2B5EF4-FFF2-40B4-BE49-F238E27FC236}">
                    <a16:creationId xmlns:a16="http://schemas.microsoft.com/office/drawing/2014/main" id="{55A237F8-B427-4464-9437-2CD9297FD94B}"/>
                  </a:ext>
                </a:extLst>
              </p:cNvPr>
              <p:cNvSpPr>
                <a:spLocks noChangeAspect="1"/>
              </p:cNvSpPr>
              <p:nvPr/>
            </p:nvSpPr>
            <p:spPr bwMode="auto">
              <a:xfrm>
                <a:off x="5911845" y="5402045"/>
                <a:ext cx="250582" cy="70163"/>
              </a:xfrm>
              <a:custGeom>
                <a:avLst/>
                <a:gdLst>
                  <a:gd name="T0" fmla="*/ 8 w 175"/>
                  <a:gd name="T1" fmla="*/ 24 h 49"/>
                  <a:gd name="T2" fmla="*/ 13 w 175"/>
                  <a:gd name="T3" fmla="*/ 6 h 49"/>
                  <a:gd name="T4" fmla="*/ 25 w 175"/>
                  <a:gd name="T5" fmla="*/ 19 h 49"/>
                  <a:gd name="T6" fmla="*/ 34 w 175"/>
                  <a:gd name="T7" fmla="*/ 11 h 49"/>
                  <a:gd name="T8" fmla="*/ 40 w 175"/>
                  <a:gd name="T9" fmla="*/ 23 h 49"/>
                  <a:gd name="T10" fmla="*/ 52 w 175"/>
                  <a:gd name="T11" fmla="*/ 23 h 49"/>
                  <a:gd name="T12" fmla="*/ 70 w 175"/>
                  <a:gd name="T13" fmla="*/ 12 h 49"/>
                  <a:gd name="T14" fmla="*/ 88 w 175"/>
                  <a:gd name="T15" fmla="*/ 13 h 49"/>
                  <a:gd name="T16" fmla="*/ 101 w 175"/>
                  <a:gd name="T17" fmla="*/ 16 h 49"/>
                  <a:gd name="T18" fmla="*/ 114 w 175"/>
                  <a:gd name="T19" fmla="*/ 12 h 49"/>
                  <a:gd name="T20" fmla="*/ 128 w 175"/>
                  <a:gd name="T21" fmla="*/ 12 h 49"/>
                  <a:gd name="T22" fmla="*/ 136 w 175"/>
                  <a:gd name="T23" fmla="*/ 6 h 49"/>
                  <a:gd name="T24" fmla="*/ 134 w 175"/>
                  <a:gd name="T25" fmla="*/ 18 h 49"/>
                  <a:gd name="T26" fmla="*/ 150 w 175"/>
                  <a:gd name="T27" fmla="*/ 19 h 49"/>
                  <a:gd name="T28" fmla="*/ 162 w 175"/>
                  <a:gd name="T29" fmla="*/ 10 h 49"/>
                  <a:gd name="T30" fmla="*/ 175 w 175"/>
                  <a:gd name="T31" fmla="*/ 18 h 49"/>
                  <a:gd name="T32" fmla="*/ 163 w 175"/>
                  <a:gd name="T33" fmla="*/ 28 h 49"/>
                  <a:gd name="T34" fmla="*/ 142 w 175"/>
                  <a:gd name="T35" fmla="*/ 30 h 49"/>
                  <a:gd name="T36" fmla="*/ 122 w 175"/>
                  <a:gd name="T37" fmla="*/ 35 h 49"/>
                  <a:gd name="T38" fmla="*/ 100 w 175"/>
                  <a:gd name="T39" fmla="*/ 43 h 49"/>
                  <a:gd name="T40" fmla="*/ 88 w 175"/>
                  <a:gd name="T41" fmla="*/ 49 h 49"/>
                  <a:gd name="T42" fmla="*/ 52 w 175"/>
                  <a:gd name="T43" fmla="*/ 38 h 49"/>
                  <a:gd name="T44" fmla="*/ 24 w 175"/>
                  <a:gd name="T45" fmla="*/ 37 h 49"/>
                  <a:gd name="T46" fmla="*/ 0 w 175"/>
                  <a:gd name="T47" fmla="*/ 32 h 49"/>
                  <a:gd name="T48" fmla="*/ 2 w 175"/>
                  <a:gd name="T49" fmla="*/ 29 h 49"/>
                  <a:gd name="T50" fmla="*/ 11 w 175"/>
                  <a:gd name="T51" fmla="*/ 23 h 49"/>
                  <a:gd name="T52" fmla="*/ 8 w 175"/>
                  <a:gd name="T53" fmla="*/ 24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5"/>
                  <a:gd name="T82" fmla="*/ 0 h 49"/>
                  <a:gd name="T83" fmla="*/ 175 w 175"/>
                  <a:gd name="T84" fmla="*/ 49 h 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5" h="49">
                    <a:moveTo>
                      <a:pt x="8" y="24"/>
                    </a:moveTo>
                    <a:cubicBezTo>
                      <a:pt x="13" y="21"/>
                      <a:pt x="13" y="6"/>
                      <a:pt x="13" y="6"/>
                    </a:cubicBezTo>
                    <a:cubicBezTo>
                      <a:pt x="23" y="9"/>
                      <a:pt x="9" y="17"/>
                      <a:pt x="25" y="19"/>
                    </a:cubicBezTo>
                    <a:cubicBezTo>
                      <a:pt x="32" y="18"/>
                      <a:pt x="29" y="16"/>
                      <a:pt x="34" y="11"/>
                    </a:cubicBezTo>
                    <a:cubicBezTo>
                      <a:pt x="38" y="0"/>
                      <a:pt x="32" y="25"/>
                      <a:pt x="40" y="23"/>
                    </a:cubicBezTo>
                    <a:cubicBezTo>
                      <a:pt x="41" y="19"/>
                      <a:pt x="47" y="22"/>
                      <a:pt x="52" y="23"/>
                    </a:cubicBezTo>
                    <a:cubicBezTo>
                      <a:pt x="57" y="22"/>
                      <a:pt x="64" y="14"/>
                      <a:pt x="70" y="12"/>
                    </a:cubicBezTo>
                    <a:cubicBezTo>
                      <a:pt x="76" y="10"/>
                      <a:pt x="83" y="12"/>
                      <a:pt x="88" y="13"/>
                    </a:cubicBezTo>
                    <a:cubicBezTo>
                      <a:pt x="92" y="7"/>
                      <a:pt x="97" y="12"/>
                      <a:pt x="101" y="16"/>
                    </a:cubicBezTo>
                    <a:cubicBezTo>
                      <a:pt x="111" y="13"/>
                      <a:pt x="107" y="14"/>
                      <a:pt x="114" y="12"/>
                    </a:cubicBezTo>
                    <a:cubicBezTo>
                      <a:pt x="121" y="14"/>
                      <a:pt x="120" y="14"/>
                      <a:pt x="128" y="12"/>
                    </a:cubicBezTo>
                    <a:cubicBezTo>
                      <a:pt x="130" y="7"/>
                      <a:pt x="131" y="4"/>
                      <a:pt x="136" y="6"/>
                    </a:cubicBezTo>
                    <a:cubicBezTo>
                      <a:pt x="137" y="12"/>
                      <a:pt x="137" y="13"/>
                      <a:pt x="134" y="18"/>
                    </a:cubicBezTo>
                    <a:cubicBezTo>
                      <a:pt x="136" y="23"/>
                      <a:pt x="150" y="19"/>
                      <a:pt x="150" y="19"/>
                    </a:cubicBezTo>
                    <a:cubicBezTo>
                      <a:pt x="156" y="16"/>
                      <a:pt x="155" y="11"/>
                      <a:pt x="162" y="10"/>
                    </a:cubicBezTo>
                    <a:cubicBezTo>
                      <a:pt x="174" y="11"/>
                      <a:pt x="173" y="9"/>
                      <a:pt x="175" y="18"/>
                    </a:cubicBezTo>
                    <a:cubicBezTo>
                      <a:pt x="173" y="25"/>
                      <a:pt x="169" y="25"/>
                      <a:pt x="163" y="28"/>
                    </a:cubicBezTo>
                    <a:cubicBezTo>
                      <a:pt x="158" y="36"/>
                      <a:pt x="154" y="25"/>
                      <a:pt x="142" y="30"/>
                    </a:cubicBezTo>
                    <a:cubicBezTo>
                      <a:pt x="135" y="31"/>
                      <a:pt x="129" y="35"/>
                      <a:pt x="122" y="35"/>
                    </a:cubicBezTo>
                    <a:cubicBezTo>
                      <a:pt x="114" y="36"/>
                      <a:pt x="108" y="43"/>
                      <a:pt x="100" y="43"/>
                    </a:cubicBezTo>
                    <a:cubicBezTo>
                      <a:pt x="95" y="44"/>
                      <a:pt x="92" y="46"/>
                      <a:pt x="88" y="49"/>
                    </a:cubicBezTo>
                    <a:cubicBezTo>
                      <a:pt x="63" y="43"/>
                      <a:pt x="100" y="42"/>
                      <a:pt x="52" y="38"/>
                    </a:cubicBezTo>
                    <a:cubicBezTo>
                      <a:pt x="42" y="35"/>
                      <a:pt x="33" y="34"/>
                      <a:pt x="24" y="37"/>
                    </a:cubicBezTo>
                    <a:cubicBezTo>
                      <a:pt x="8" y="36"/>
                      <a:pt x="3" y="45"/>
                      <a:pt x="0" y="32"/>
                    </a:cubicBezTo>
                    <a:cubicBezTo>
                      <a:pt x="1" y="31"/>
                      <a:pt x="2" y="30"/>
                      <a:pt x="2" y="29"/>
                    </a:cubicBezTo>
                    <a:cubicBezTo>
                      <a:pt x="4" y="28"/>
                      <a:pt x="10" y="24"/>
                      <a:pt x="11" y="23"/>
                    </a:cubicBezTo>
                    <a:lnTo>
                      <a:pt x="8" y="24"/>
                    </a:ln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7" name="Freeform 2474">
                <a:extLst>
                  <a:ext uri="{FF2B5EF4-FFF2-40B4-BE49-F238E27FC236}">
                    <a16:creationId xmlns:a16="http://schemas.microsoft.com/office/drawing/2014/main" id="{B176B9B4-7FC6-4A7B-85DD-963E77D12F47}"/>
                  </a:ext>
                </a:extLst>
              </p:cNvPr>
              <p:cNvSpPr>
                <a:spLocks noChangeAspect="1"/>
              </p:cNvSpPr>
              <p:nvPr/>
            </p:nvSpPr>
            <p:spPr bwMode="auto">
              <a:xfrm>
                <a:off x="6075081" y="5151463"/>
                <a:ext cx="30070" cy="25774"/>
              </a:xfrm>
              <a:custGeom>
                <a:avLst/>
                <a:gdLst>
                  <a:gd name="T0" fmla="*/ 17 w 21"/>
                  <a:gd name="T1" fmla="*/ 2 h 18"/>
                  <a:gd name="T2" fmla="*/ 8 w 21"/>
                  <a:gd name="T3" fmla="*/ 7 h 18"/>
                  <a:gd name="T4" fmla="*/ 0 w 21"/>
                  <a:gd name="T5" fmla="*/ 17 h 18"/>
                  <a:gd name="T6" fmla="*/ 10 w 21"/>
                  <a:gd name="T7" fmla="*/ 13 h 18"/>
                  <a:gd name="T8" fmla="*/ 19 w 21"/>
                  <a:gd name="T9" fmla="*/ 5 h 18"/>
                  <a:gd name="T10" fmla="*/ 17 w 21"/>
                  <a:gd name="T11" fmla="*/ 2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17" y="2"/>
                    </a:moveTo>
                    <a:cubicBezTo>
                      <a:pt x="13" y="3"/>
                      <a:pt x="12" y="6"/>
                      <a:pt x="8" y="7"/>
                    </a:cubicBezTo>
                    <a:cubicBezTo>
                      <a:pt x="6" y="13"/>
                      <a:pt x="3" y="11"/>
                      <a:pt x="0" y="17"/>
                    </a:cubicBezTo>
                    <a:cubicBezTo>
                      <a:pt x="6" y="18"/>
                      <a:pt x="5" y="16"/>
                      <a:pt x="10" y="13"/>
                    </a:cubicBezTo>
                    <a:cubicBezTo>
                      <a:pt x="13" y="9"/>
                      <a:pt x="15" y="9"/>
                      <a:pt x="19" y="5"/>
                    </a:cubicBezTo>
                    <a:cubicBezTo>
                      <a:pt x="20" y="0"/>
                      <a:pt x="21" y="1"/>
                      <a:pt x="17" y="2"/>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8" name="Freeform 2475">
                <a:extLst>
                  <a:ext uri="{FF2B5EF4-FFF2-40B4-BE49-F238E27FC236}">
                    <a16:creationId xmlns:a16="http://schemas.microsoft.com/office/drawing/2014/main" id="{4CDFCBF8-E6D6-489E-A11D-F964A79F1D85}"/>
                  </a:ext>
                </a:extLst>
              </p:cNvPr>
              <p:cNvSpPr>
                <a:spLocks noChangeAspect="1"/>
              </p:cNvSpPr>
              <p:nvPr/>
            </p:nvSpPr>
            <p:spPr bwMode="auto">
              <a:xfrm>
                <a:off x="6168155" y="5217330"/>
                <a:ext cx="30070" cy="34366"/>
              </a:xfrm>
              <a:custGeom>
                <a:avLst/>
                <a:gdLst>
                  <a:gd name="T0" fmla="*/ 12 w 21"/>
                  <a:gd name="T1" fmla="*/ 5 h 24"/>
                  <a:gd name="T2" fmla="*/ 3 w 21"/>
                  <a:gd name="T3" fmla="*/ 16 h 24"/>
                  <a:gd name="T4" fmla="*/ 12 w 21"/>
                  <a:gd name="T5" fmla="*/ 21 h 24"/>
                  <a:gd name="T6" fmla="*/ 21 w 21"/>
                  <a:gd name="T7" fmla="*/ 4 h 24"/>
                  <a:gd name="T8" fmla="*/ 9 w 21"/>
                  <a:gd name="T9" fmla="*/ 0 h 24"/>
                  <a:gd name="T10" fmla="*/ 12 w 21"/>
                  <a:gd name="T11" fmla="*/ 5 h 24"/>
                  <a:gd name="T12" fmla="*/ 0 60000 65536"/>
                  <a:gd name="T13" fmla="*/ 0 60000 65536"/>
                  <a:gd name="T14" fmla="*/ 0 60000 65536"/>
                  <a:gd name="T15" fmla="*/ 0 60000 65536"/>
                  <a:gd name="T16" fmla="*/ 0 60000 65536"/>
                  <a:gd name="T17" fmla="*/ 0 60000 65536"/>
                  <a:gd name="T18" fmla="*/ 0 w 21"/>
                  <a:gd name="T19" fmla="*/ 0 h 24"/>
                  <a:gd name="T20" fmla="*/ 21 w 2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1" h="24">
                    <a:moveTo>
                      <a:pt x="12" y="5"/>
                    </a:moveTo>
                    <a:cubicBezTo>
                      <a:pt x="11" y="9"/>
                      <a:pt x="7" y="13"/>
                      <a:pt x="3" y="16"/>
                    </a:cubicBezTo>
                    <a:cubicBezTo>
                      <a:pt x="0" y="24"/>
                      <a:pt x="4" y="22"/>
                      <a:pt x="12" y="21"/>
                    </a:cubicBezTo>
                    <a:cubicBezTo>
                      <a:pt x="16" y="14"/>
                      <a:pt x="19" y="14"/>
                      <a:pt x="21" y="4"/>
                    </a:cubicBezTo>
                    <a:cubicBezTo>
                      <a:pt x="21" y="1"/>
                      <a:pt x="10" y="0"/>
                      <a:pt x="9" y="0"/>
                    </a:cubicBezTo>
                    <a:cubicBezTo>
                      <a:pt x="8" y="0"/>
                      <a:pt x="13" y="2"/>
                      <a:pt x="12" y="5"/>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29" name="Freeform 2476">
                <a:extLst>
                  <a:ext uri="{FF2B5EF4-FFF2-40B4-BE49-F238E27FC236}">
                    <a16:creationId xmlns:a16="http://schemas.microsoft.com/office/drawing/2014/main" id="{3A71CE0D-9EA5-44C8-AFEB-3F249B15B39B}"/>
                  </a:ext>
                </a:extLst>
              </p:cNvPr>
              <p:cNvSpPr>
                <a:spLocks noChangeAspect="1"/>
              </p:cNvSpPr>
              <p:nvPr/>
            </p:nvSpPr>
            <p:spPr bwMode="auto">
              <a:xfrm>
                <a:off x="5561030" y="4730485"/>
                <a:ext cx="471094" cy="459639"/>
              </a:xfrm>
              <a:custGeom>
                <a:avLst/>
                <a:gdLst>
                  <a:gd name="T0" fmla="*/ 312 w 329"/>
                  <a:gd name="T1" fmla="*/ 75 h 321"/>
                  <a:gd name="T2" fmla="*/ 321 w 329"/>
                  <a:gd name="T3" fmla="*/ 57 h 321"/>
                  <a:gd name="T4" fmla="*/ 305 w 329"/>
                  <a:gd name="T5" fmla="*/ 5 h 321"/>
                  <a:gd name="T6" fmla="*/ 304 w 329"/>
                  <a:gd name="T7" fmla="*/ 26 h 321"/>
                  <a:gd name="T8" fmla="*/ 250 w 329"/>
                  <a:gd name="T9" fmla="*/ 49 h 321"/>
                  <a:gd name="T10" fmla="*/ 216 w 329"/>
                  <a:gd name="T11" fmla="*/ 42 h 321"/>
                  <a:gd name="T12" fmla="*/ 187 w 329"/>
                  <a:gd name="T13" fmla="*/ 47 h 321"/>
                  <a:gd name="T14" fmla="*/ 178 w 329"/>
                  <a:gd name="T15" fmla="*/ 59 h 321"/>
                  <a:gd name="T16" fmla="*/ 132 w 329"/>
                  <a:gd name="T17" fmla="*/ 67 h 321"/>
                  <a:gd name="T18" fmla="*/ 75 w 329"/>
                  <a:gd name="T19" fmla="*/ 103 h 321"/>
                  <a:gd name="T20" fmla="*/ 22 w 329"/>
                  <a:gd name="T21" fmla="*/ 126 h 321"/>
                  <a:gd name="T22" fmla="*/ 35 w 329"/>
                  <a:gd name="T23" fmla="*/ 149 h 321"/>
                  <a:gd name="T24" fmla="*/ 19 w 329"/>
                  <a:gd name="T25" fmla="*/ 157 h 321"/>
                  <a:gd name="T26" fmla="*/ 4 w 329"/>
                  <a:gd name="T27" fmla="*/ 188 h 321"/>
                  <a:gd name="T28" fmla="*/ 4 w 329"/>
                  <a:gd name="T29" fmla="*/ 233 h 321"/>
                  <a:gd name="T30" fmla="*/ 19 w 329"/>
                  <a:gd name="T31" fmla="*/ 245 h 321"/>
                  <a:gd name="T32" fmla="*/ 43 w 329"/>
                  <a:gd name="T33" fmla="*/ 254 h 321"/>
                  <a:gd name="T34" fmla="*/ 43 w 329"/>
                  <a:gd name="T35" fmla="*/ 269 h 321"/>
                  <a:gd name="T36" fmla="*/ 66 w 329"/>
                  <a:gd name="T37" fmla="*/ 302 h 321"/>
                  <a:gd name="T38" fmla="*/ 90 w 329"/>
                  <a:gd name="T39" fmla="*/ 302 h 321"/>
                  <a:gd name="T40" fmla="*/ 154 w 329"/>
                  <a:gd name="T41" fmla="*/ 295 h 321"/>
                  <a:gd name="T42" fmla="*/ 178 w 329"/>
                  <a:gd name="T43" fmla="*/ 301 h 321"/>
                  <a:gd name="T44" fmla="*/ 198 w 329"/>
                  <a:gd name="T45" fmla="*/ 308 h 321"/>
                  <a:gd name="T46" fmla="*/ 231 w 329"/>
                  <a:gd name="T47" fmla="*/ 319 h 321"/>
                  <a:gd name="T48" fmla="*/ 239 w 329"/>
                  <a:gd name="T49" fmla="*/ 312 h 321"/>
                  <a:gd name="T50" fmla="*/ 216 w 329"/>
                  <a:gd name="T51" fmla="*/ 277 h 321"/>
                  <a:gd name="T52" fmla="*/ 135 w 329"/>
                  <a:gd name="T53" fmla="*/ 253 h 321"/>
                  <a:gd name="T54" fmla="*/ 156 w 329"/>
                  <a:gd name="T55" fmla="*/ 234 h 321"/>
                  <a:gd name="T56" fmla="*/ 180 w 329"/>
                  <a:gd name="T57" fmla="*/ 222 h 321"/>
                  <a:gd name="T58" fmla="*/ 157 w 329"/>
                  <a:gd name="T59" fmla="*/ 197 h 321"/>
                  <a:gd name="T60" fmla="*/ 144 w 329"/>
                  <a:gd name="T61" fmla="*/ 180 h 321"/>
                  <a:gd name="T62" fmla="*/ 127 w 329"/>
                  <a:gd name="T63" fmla="*/ 162 h 321"/>
                  <a:gd name="T64" fmla="*/ 130 w 329"/>
                  <a:gd name="T65" fmla="*/ 125 h 321"/>
                  <a:gd name="T66" fmla="*/ 147 w 329"/>
                  <a:gd name="T67" fmla="*/ 135 h 321"/>
                  <a:gd name="T68" fmla="*/ 177 w 329"/>
                  <a:gd name="T69" fmla="*/ 168 h 321"/>
                  <a:gd name="T70" fmla="*/ 177 w 329"/>
                  <a:gd name="T71" fmla="*/ 144 h 321"/>
                  <a:gd name="T72" fmla="*/ 172 w 329"/>
                  <a:gd name="T73" fmla="*/ 137 h 321"/>
                  <a:gd name="T74" fmla="*/ 199 w 329"/>
                  <a:gd name="T75" fmla="*/ 144 h 321"/>
                  <a:gd name="T76" fmla="*/ 207 w 329"/>
                  <a:gd name="T77" fmla="*/ 135 h 321"/>
                  <a:gd name="T78" fmla="*/ 228 w 329"/>
                  <a:gd name="T79" fmla="*/ 141 h 321"/>
                  <a:gd name="T80" fmla="*/ 199 w 329"/>
                  <a:gd name="T81" fmla="*/ 121 h 321"/>
                  <a:gd name="T82" fmla="*/ 186 w 329"/>
                  <a:gd name="T83" fmla="*/ 105 h 321"/>
                  <a:gd name="T84" fmla="*/ 217 w 329"/>
                  <a:gd name="T85" fmla="*/ 87 h 321"/>
                  <a:gd name="T86" fmla="*/ 257 w 329"/>
                  <a:gd name="T87" fmla="*/ 77 h 321"/>
                  <a:gd name="T88" fmla="*/ 297 w 329"/>
                  <a:gd name="T89" fmla="*/ 75 h 3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9"/>
                  <a:gd name="T136" fmla="*/ 0 h 321"/>
                  <a:gd name="T137" fmla="*/ 329 w 329"/>
                  <a:gd name="T138" fmla="*/ 321 h 3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9" h="321">
                    <a:moveTo>
                      <a:pt x="310" y="79"/>
                    </a:moveTo>
                    <a:cubicBezTo>
                      <a:pt x="311" y="78"/>
                      <a:pt x="311" y="76"/>
                      <a:pt x="312" y="75"/>
                    </a:cubicBezTo>
                    <a:cubicBezTo>
                      <a:pt x="313" y="74"/>
                      <a:pt x="314" y="74"/>
                      <a:pt x="315" y="73"/>
                    </a:cubicBezTo>
                    <a:cubicBezTo>
                      <a:pt x="318" y="69"/>
                      <a:pt x="318" y="62"/>
                      <a:pt x="321" y="57"/>
                    </a:cubicBezTo>
                    <a:cubicBezTo>
                      <a:pt x="317" y="41"/>
                      <a:pt x="321" y="36"/>
                      <a:pt x="329" y="24"/>
                    </a:cubicBezTo>
                    <a:cubicBezTo>
                      <a:pt x="326" y="15"/>
                      <a:pt x="310" y="8"/>
                      <a:pt x="305" y="5"/>
                    </a:cubicBezTo>
                    <a:cubicBezTo>
                      <a:pt x="301" y="0"/>
                      <a:pt x="299" y="0"/>
                      <a:pt x="297" y="6"/>
                    </a:cubicBezTo>
                    <a:cubicBezTo>
                      <a:pt x="299" y="13"/>
                      <a:pt x="302" y="19"/>
                      <a:pt x="304" y="26"/>
                    </a:cubicBezTo>
                    <a:cubicBezTo>
                      <a:pt x="302" y="37"/>
                      <a:pt x="297" y="36"/>
                      <a:pt x="287" y="37"/>
                    </a:cubicBezTo>
                    <a:cubicBezTo>
                      <a:pt x="273" y="48"/>
                      <a:pt x="271" y="48"/>
                      <a:pt x="250" y="49"/>
                    </a:cubicBezTo>
                    <a:cubicBezTo>
                      <a:pt x="243" y="49"/>
                      <a:pt x="235" y="50"/>
                      <a:pt x="228" y="47"/>
                    </a:cubicBezTo>
                    <a:cubicBezTo>
                      <a:pt x="224" y="45"/>
                      <a:pt x="216" y="42"/>
                      <a:pt x="216" y="42"/>
                    </a:cubicBezTo>
                    <a:cubicBezTo>
                      <a:pt x="213" y="39"/>
                      <a:pt x="203" y="37"/>
                      <a:pt x="203" y="37"/>
                    </a:cubicBezTo>
                    <a:cubicBezTo>
                      <a:pt x="197" y="38"/>
                      <a:pt x="192" y="43"/>
                      <a:pt x="187" y="47"/>
                    </a:cubicBezTo>
                    <a:cubicBezTo>
                      <a:pt x="185" y="49"/>
                      <a:pt x="181" y="53"/>
                      <a:pt x="181" y="53"/>
                    </a:cubicBezTo>
                    <a:cubicBezTo>
                      <a:pt x="180" y="55"/>
                      <a:pt x="180" y="58"/>
                      <a:pt x="178" y="59"/>
                    </a:cubicBezTo>
                    <a:cubicBezTo>
                      <a:pt x="176" y="60"/>
                      <a:pt x="172" y="61"/>
                      <a:pt x="172" y="61"/>
                    </a:cubicBezTo>
                    <a:cubicBezTo>
                      <a:pt x="155" y="60"/>
                      <a:pt x="147" y="62"/>
                      <a:pt x="132" y="67"/>
                    </a:cubicBezTo>
                    <a:cubicBezTo>
                      <a:pt x="126" y="92"/>
                      <a:pt x="119" y="89"/>
                      <a:pt x="90" y="90"/>
                    </a:cubicBezTo>
                    <a:cubicBezTo>
                      <a:pt x="82" y="97"/>
                      <a:pt x="79" y="99"/>
                      <a:pt x="75" y="103"/>
                    </a:cubicBezTo>
                    <a:cubicBezTo>
                      <a:pt x="71" y="108"/>
                      <a:pt x="71" y="110"/>
                      <a:pt x="64" y="113"/>
                    </a:cubicBezTo>
                    <a:cubicBezTo>
                      <a:pt x="51" y="119"/>
                      <a:pt x="36" y="121"/>
                      <a:pt x="22" y="126"/>
                    </a:cubicBezTo>
                    <a:cubicBezTo>
                      <a:pt x="31" y="128"/>
                      <a:pt x="27" y="133"/>
                      <a:pt x="31" y="140"/>
                    </a:cubicBezTo>
                    <a:cubicBezTo>
                      <a:pt x="33" y="143"/>
                      <a:pt x="35" y="149"/>
                      <a:pt x="35" y="149"/>
                    </a:cubicBezTo>
                    <a:cubicBezTo>
                      <a:pt x="33" y="155"/>
                      <a:pt x="36" y="150"/>
                      <a:pt x="27" y="153"/>
                    </a:cubicBezTo>
                    <a:cubicBezTo>
                      <a:pt x="24" y="154"/>
                      <a:pt x="19" y="157"/>
                      <a:pt x="19" y="157"/>
                    </a:cubicBezTo>
                    <a:cubicBezTo>
                      <a:pt x="22" y="163"/>
                      <a:pt x="22" y="179"/>
                      <a:pt x="16" y="183"/>
                    </a:cubicBezTo>
                    <a:cubicBezTo>
                      <a:pt x="12" y="185"/>
                      <a:pt x="4" y="188"/>
                      <a:pt x="4" y="188"/>
                    </a:cubicBezTo>
                    <a:cubicBezTo>
                      <a:pt x="2" y="193"/>
                      <a:pt x="0" y="193"/>
                      <a:pt x="3" y="198"/>
                    </a:cubicBezTo>
                    <a:cubicBezTo>
                      <a:pt x="2" y="205"/>
                      <a:pt x="6" y="224"/>
                      <a:pt x="4" y="233"/>
                    </a:cubicBezTo>
                    <a:cubicBezTo>
                      <a:pt x="5" y="238"/>
                      <a:pt x="15" y="240"/>
                      <a:pt x="15" y="240"/>
                    </a:cubicBezTo>
                    <a:cubicBezTo>
                      <a:pt x="17" y="241"/>
                      <a:pt x="17" y="244"/>
                      <a:pt x="19" y="245"/>
                    </a:cubicBezTo>
                    <a:cubicBezTo>
                      <a:pt x="22" y="246"/>
                      <a:pt x="31" y="248"/>
                      <a:pt x="34" y="249"/>
                    </a:cubicBezTo>
                    <a:cubicBezTo>
                      <a:pt x="37" y="251"/>
                      <a:pt x="40" y="252"/>
                      <a:pt x="43" y="254"/>
                    </a:cubicBezTo>
                    <a:cubicBezTo>
                      <a:pt x="47" y="260"/>
                      <a:pt x="51" y="260"/>
                      <a:pt x="57" y="261"/>
                    </a:cubicBezTo>
                    <a:cubicBezTo>
                      <a:pt x="49" y="263"/>
                      <a:pt x="46" y="262"/>
                      <a:pt x="43" y="269"/>
                    </a:cubicBezTo>
                    <a:cubicBezTo>
                      <a:pt x="44" y="273"/>
                      <a:pt x="44" y="283"/>
                      <a:pt x="47" y="287"/>
                    </a:cubicBezTo>
                    <a:cubicBezTo>
                      <a:pt x="52" y="293"/>
                      <a:pt x="60" y="296"/>
                      <a:pt x="66" y="302"/>
                    </a:cubicBezTo>
                    <a:cubicBezTo>
                      <a:pt x="67" y="306"/>
                      <a:pt x="69" y="306"/>
                      <a:pt x="73" y="305"/>
                    </a:cubicBezTo>
                    <a:cubicBezTo>
                      <a:pt x="80" y="298"/>
                      <a:pt x="79" y="298"/>
                      <a:pt x="90" y="302"/>
                    </a:cubicBezTo>
                    <a:cubicBezTo>
                      <a:pt x="98" y="301"/>
                      <a:pt x="100" y="297"/>
                      <a:pt x="108" y="294"/>
                    </a:cubicBezTo>
                    <a:cubicBezTo>
                      <a:pt x="124" y="296"/>
                      <a:pt x="138" y="296"/>
                      <a:pt x="154" y="295"/>
                    </a:cubicBezTo>
                    <a:cubicBezTo>
                      <a:pt x="160" y="294"/>
                      <a:pt x="168" y="293"/>
                      <a:pt x="174" y="295"/>
                    </a:cubicBezTo>
                    <a:cubicBezTo>
                      <a:pt x="176" y="296"/>
                      <a:pt x="176" y="300"/>
                      <a:pt x="178" y="301"/>
                    </a:cubicBezTo>
                    <a:cubicBezTo>
                      <a:pt x="187" y="299"/>
                      <a:pt x="185" y="303"/>
                      <a:pt x="183" y="311"/>
                    </a:cubicBezTo>
                    <a:cubicBezTo>
                      <a:pt x="185" y="321"/>
                      <a:pt x="193" y="310"/>
                      <a:pt x="198" y="308"/>
                    </a:cubicBezTo>
                    <a:cubicBezTo>
                      <a:pt x="212" y="309"/>
                      <a:pt x="211" y="311"/>
                      <a:pt x="221" y="315"/>
                    </a:cubicBezTo>
                    <a:cubicBezTo>
                      <a:pt x="224" y="316"/>
                      <a:pt x="231" y="319"/>
                      <a:pt x="231" y="319"/>
                    </a:cubicBezTo>
                    <a:cubicBezTo>
                      <a:pt x="234" y="319"/>
                      <a:pt x="238" y="320"/>
                      <a:pt x="241" y="318"/>
                    </a:cubicBezTo>
                    <a:cubicBezTo>
                      <a:pt x="243" y="317"/>
                      <a:pt x="239" y="312"/>
                      <a:pt x="239" y="312"/>
                    </a:cubicBezTo>
                    <a:cubicBezTo>
                      <a:pt x="238" y="298"/>
                      <a:pt x="235" y="297"/>
                      <a:pt x="226" y="288"/>
                    </a:cubicBezTo>
                    <a:cubicBezTo>
                      <a:pt x="225" y="285"/>
                      <a:pt x="220" y="278"/>
                      <a:pt x="216" y="277"/>
                    </a:cubicBezTo>
                    <a:cubicBezTo>
                      <a:pt x="212" y="269"/>
                      <a:pt x="205" y="271"/>
                      <a:pt x="197" y="270"/>
                    </a:cubicBezTo>
                    <a:cubicBezTo>
                      <a:pt x="180" y="257"/>
                      <a:pt x="154" y="259"/>
                      <a:pt x="135" y="253"/>
                    </a:cubicBezTo>
                    <a:cubicBezTo>
                      <a:pt x="139" y="245"/>
                      <a:pt x="150" y="248"/>
                      <a:pt x="159" y="247"/>
                    </a:cubicBezTo>
                    <a:cubicBezTo>
                      <a:pt x="162" y="242"/>
                      <a:pt x="161" y="237"/>
                      <a:pt x="156" y="234"/>
                    </a:cubicBezTo>
                    <a:cubicBezTo>
                      <a:pt x="154" y="231"/>
                      <a:pt x="153" y="228"/>
                      <a:pt x="151" y="225"/>
                    </a:cubicBezTo>
                    <a:cubicBezTo>
                      <a:pt x="156" y="217"/>
                      <a:pt x="171" y="223"/>
                      <a:pt x="180" y="222"/>
                    </a:cubicBezTo>
                    <a:cubicBezTo>
                      <a:pt x="179" y="218"/>
                      <a:pt x="178" y="216"/>
                      <a:pt x="174" y="215"/>
                    </a:cubicBezTo>
                    <a:cubicBezTo>
                      <a:pt x="172" y="208"/>
                      <a:pt x="164" y="199"/>
                      <a:pt x="157" y="197"/>
                    </a:cubicBezTo>
                    <a:cubicBezTo>
                      <a:pt x="156" y="193"/>
                      <a:pt x="154" y="193"/>
                      <a:pt x="150" y="191"/>
                    </a:cubicBezTo>
                    <a:cubicBezTo>
                      <a:pt x="148" y="185"/>
                      <a:pt x="149" y="183"/>
                      <a:pt x="144" y="180"/>
                    </a:cubicBezTo>
                    <a:cubicBezTo>
                      <a:pt x="142" y="177"/>
                      <a:pt x="136" y="175"/>
                      <a:pt x="136" y="175"/>
                    </a:cubicBezTo>
                    <a:cubicBezTo>
                      <a:pt x="133" y="171"/>
                      <a:pt x="131" y="166"/>
                      <a:pt x="127" y="162"/>
                    </a:cubicBezTo>
                    <a:cubicBezTo>
                      <a:pt x="125" y="157"/>
                      <a:pt x="124" y="152"/>
                      <a:pt x="121" y="147"/>
                    </a:cubicBezTo>
                    <a:cubicBezTo>
                      <a:pt x="122" y="136"/>
                      <a:pt x="120" y="128"/>
                      <a:pt x="130" y="125"/>
                    </a:cubicBezTo>
                    <a:cubicBezTo>
                      <a:pt x="132" y="122"/>
                      <a:pt x="138" y="120"/>
                      <a:pt x="138" y="120"/>
                    </a:cubicBezTo>
                    <a:cubicBezTo>
                      <a:pt x="150" y="122"/>
                      <a:pt x="152" y="127"/>
                      <a:pt x="147" y="135"/>
                    </a:cubicBezTo>
                    <a:cubicBezTo>
                      <a:pt x="150" y="145"/>
                      <a:pt x="161" y="139"/>
                      <a:pt x="169" y="144"/>
                    </a:cubicBezTo>
                    <a:cubicBezTo>
                      <a:pt x="170" y="150"/>
                      <a:pt x="170" y="166"/>
                      <a:pt x="177" y="168"/>
                    </a:cubicBezTo>
                    <a:cubicBezTo>
                      <a:pt x="186" y="167"/>
                      <a:pt x="197" y="168"/>
                      <a:pt x="187" y="162"/>
                    </a:cubicBezTo>
                    <a:cubicBezTo>
                      <a:pt x="185" y="156"/>
                      <a:pt x="181" y="149"/>
                      <a:pt x="177" y="144"/>
                    </a:cubicBezTo>
                    <a:cubicBezTo>
                      <a:pt x="174" y="141"/>
                      <a:pt x="166" y="133"/>
                      <a:pt x="169" y="135"/>
                    </a:cubicBezTo>
                    <a:cubicBezTo>
                      <a:pt x="170" y="136"/>
                      <a:pt x="171" y="136"/>
                      <a:pt x="172" y="137"/>
                    </a:cubicBezTo>
                    <a:cubicBezTo>
                      <a:pt x="178" y="147"/>
                      <a:pt x="194" y="153"/>
                      <a:pt x="205" y="156"/>
                    </a:cubicBezTo>
                    <a:cubicBezTo>
                      <a:pt x="215" y="153"/>
                      <a:pt x="207" y="147"/>
                      <a:pt x="199" y="144"/>
                    </a:cubicBezTo>
                    <a:cubicBezTo>
                      <a:pt x="197" y="138"/>
                      <a:pt x="195" y="138"/>
                      <a:pt x="190" y="135"/>
                    </a:cubicBezTo>
                    <a:cubicBezTo>
                      <a:pt x="195" y="131"/>
                      <a:pt x="201" y="134"/>
                      <a:pt x="207" y="135"/>
                    </a:cubicBezTo>
                    <a:cubicBezTo>
                      <a:pt x="210" y="140"/>
                      <a:pt x="217" y="140"/>
                      <a:pt x="222" y="143"/>
                    </a:cubicBezTo>
                    <a:cubicBezTo>
                      <a:pt x="224" y="142"/>
                      <a:pt x="227" y="142"/>
                      <a:pt x="228" y="141"/>
                    </a:cubicBezTo>
                    <a:cubicBezTo>
                      <a:pt x="230" y="139"/>
                      <a:pt x="225" y="136"/>
                      <a:pt x="223" y="135"/>
                    </a:cubicBezTo>
                    <a:cubicBezTo>
                      <a:pt x="215" y="131"/>
                      <a:pt x="207" y="124"/>
                      <a:pt x="199" y="121"/>
                    </a:cubicBezTo>
                    <a:cubicBezTo>
                      <a:pt x="197" y="117"/>
                      <a:pt x="196" y="114"/>
                      <a:pt x="192" y="113"/>
                    </a:cubicBezTo>
                    <a:cubicBezTo>
                      <a:pt x="191" y="109"/>
                      <a:pt x="187" y="109"/>
                      <a:pt x="186" y="105"/>
                    </a:cubicBezTo>
                    <a:cubicBezTo>
                      <a:pt x="188" y="96"/>
                      <a:pt x="197" y="98"/>
                      <a:pt x="205" y="97"/>
                    </a:cubicBezTo>
                    <a:cubicBezTo>
                      <a:pt x="211" y="95"/>
                      <a:pt x="212" y="90"/>
                      <a:pt x="217" y="87"/>
                    </a:cubicBezTo>
                    <a:cubicBezTo>
                      <a:pt x="222" y="84"/>
                      <a:pt x="232" y="83"/>
                      <a:pt x="237" y="83"/>
                    </a:cubicBezTo>
                    <a:cubicBezTo>
                      <a:pt x="243" y="79"/>
                      <a:pt x="250" y="78"/>
                      <a:pt x="257" y="77"/>
                    </a:cubicBezTo>
                    <a:cubicBezTo>
                      <a:pt x="262" y="74"/>
                      <a:pt x="268" y="73"/>
                      <a:pt x="274" y="72"/>
                    </a:cubicBezTo>
                    <a:cubicBezTo>
                      <a:pt x="282" y="73"/>
                      <a:pt x="297" y="75"/>
                      <a:pt x="297" y="75"/>
                    </a:cubicBezTo>
                    <a:cubicBezTo>
                      <a:pt x="301" y="78"/>
                      <a:pt x="305" y="79"/>
                      <a:pt x="310" y="79"/>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17" name="Freeform 2477">
              <a:extLst>
                <a:ext uri="{FF2B5EF4-FFF2-40B4-BE49-F238E27FC236}">
                  <a16:creationId xmlns:a16="http://schemas.microsoft.com/office/drawing/2014/main" id="{6AB145EE-2472-4DC8-96E2-689062663997}"/>
                </a:ext>
              </a:extLst>
            </p:cNvPr>
            <p:cNvSpPr>
              <a:spLocks noChangeAspect="1"/>
            </p:cNvSpPr>
            <p:nvPr>
              <p:custDataLst>
                <p:tags r:id="rId10"/>
              </p:custDataLst>
            </p:nvPr>
          </p:nvSpPr>
          <p:spPr bwMode="auto">
            <a:xfrm>
              <a:off x="5203056" y="4015968"/>
              <a:ext cx="385181" cy="203329"/>
            </a:xfrm>
            <a:custGeom>
              <a:avLst/>
              <a:gdLst>
                <a:gd name="T0" fmla="*/ 254 w 270"/>
                <a:gd name="T1" fmla="*/ 67 h 142"/>
                <a:gd name="T2" fmla="*/ 266 w 270"/>
                <a:gd name="T3" fmla="*/ 26 h 142"/>
                <a:gd name="T4" fmla="*/ 270 w 270"/>
                <a:gd name="T5" fmla="*/ 16 h 142"/>
                <a:gd name="T6" fmla="*/ 216 w 270"/>
                <a:gd name="T7" fmla="*/ 0 h 142"/>
                <a:gd name="T8" fmla="*/ 185 w 270"/>
                <a:gd name="T9" fmla="*/ 9 h 142"/>
                <a:gd name="T10" fmla="*/ 171 w 270"/>
                <a:gd name="T11" fmla="*/ 9 h 142"/>
                <a:gd name="T12" fmla="*/ 147 w 270"/>
                <a:gd name="T13" fmla="*/ 18 h 142"/>
                <a:gd name="T14" fmla="*/ 136 w 270"/>
                <a:gd name="T15" fmla="*/ 25 h 142"/>
                <a:gd name="T16" fmla="*/ 126 w 270"/>
                <a:gd name="T17" fmla="*/ 18 h 142"/>
                <a:gd name="T18" fmla="*/ 113 w 270"/>
                <a:gd name="T19" fmla="*/ 7 h 142"/>
                <a:gd name="T20" fmla="*/ 108 w 270"/>
                <a:gd name="T21" fmla="*/ 2 h 142"/>
                <a:gd name="T22" fmla="*/ 101 w 270"/>
                <a:gd name="T23" fmla="*/ 14 h 142"/>
                <a:gd name="T24" fmla="*/ 86 w 270"/>
                <a:gd name="T25" fmla="*/ 8 h 142"/>
                <a:gd name="T26" fmla="*/ 70 w 270"/>
                <a:gd name="T27" fmla="*/ 13 h 142"/>
                <a:gd name="T28" fmla="*/ 63 w 270"/>
                <a:gd name="T29" fmla="*/ 22 h 142"/>
                <a:gd name="T30" fmla="*/ 54 w 270"/>
                <a:gd name="T31" fmla="*/ 36 h 142"/>
                <a:gd name="T32" fmla="*/ 47 w 270"/>
                <a:gd name="T33" fmla="*/ 46 h 142"/>
                <a:gd name="T34" fmla="*/ 41 w 270"/>
                <a:gd name="T35" fmla="*/ 57 h 142"/>
                <a:gd name="T36" fmla="*/ 6 w 270"/>
                <a:gd name="T37" fmla="*/ 69 h 142"/>
                <a:gd name="T38" fmla="*/ 0 w 270"/>
                <a:gd name="T39" fmla="*/ 92 h 142"/>
                <a:gd name="T40" fmla="*/ 6 w 270"/>
                <a:gd name="T41" fmla="*/ 103 h 142"/>
                <a:gd name="T42" fmla="*/ 10 w 270"/>
                <a:gd name="T43" fmla="*/ 124 h 142"/>
                <a:gd name="T44" fmla="*/ 23 w 270"/>
                <a:gd name="T45" fmla="*/ 128 h 142"/>
                <a:gd name="T46" fmla="*/ 26 w 270"/>
                <a:gd name="T47" fmla="*/ 129 h 142"/>
                <a:gd name="T48" fmla="*/ 35 w 270"/>
                <a:gd name="T49" fmla="*/ 135 h 142"/>
                <a:gd name="T50" fmla="*/ 41 w 270"/>
                <a:gd name="T51" fmla="*/ 142 h 142"/>
                <a:gd name="T52" fmla="*/ 92 w 270"/>
                <a:gd name="T53" fmla="*/ 139 h 142"/>
                <a:gd name="T54" fmla="*/ 101 w 270"/>
                <a:gd name="T55" fmla="*/ 130 h 142"/>
                <a:gd name="T56" fmla="*/ 124 w 270"/>
                <a:gd name="T57" fmla="*/ 108 h 142"/>
                <a:gd name="T58" fmla="*/ 134 w 270"/>
                <a:gd name="T59" fmla="*/ 100 h 142"/>
                <a:gd name="T60" fmla="*/ 138 w 270"/>
                <a:gd name="T61" fmla="*/ 96 h 142"/>
                <a:gd name="T62" fmla="*/ 147 w 270"/>
                <a:gd name="T63" fmla="*/ 99 h 142"/>
                <a:gd name="T64" fmla="*/ 164 w 270"/>
                <a:gd name="T65" fmla="*/ 96 h 142"/>
                <a:gd name="T66" fmla="*/ 186 w 270"/>
                <a:gd name="T67" fmla="*/ 66 h 142"/>
                <a:gd name="T68" fmla="*/ 212 w 270"/>
                <a:gd name="T69" fmla="*/ 66 h 142"/>
                <a:gd name="T70" fmla="*/ 228 w 270"/>
                <a:gd name="T71" fmla="*/ 67 h 142"/>
                <a:gd name="T72" fmla="*/ 237 w 270"/>
                <a:gd name="T73" fmla="*/ 72 h 142"/>
                <a:gd name="T74" fmla="*/ 254 w 270"/>
                <a:gd name="T75" fmla="*/ 67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0"/>
                <a:gd name="T115" fmla="*/ 0 h 142"/>
                <a:gd name="T116" fmla="*/ 270 w 270"/>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0" h="142">
                  <a:moveTo>
                    <a:pt x="254" y="67"/>
                  </a:moveTo>
                  <a:cubicBezTo>
                    <a:pt x="257" y="58"/>
                    <a:pt x="256" y="33"/>
                    <a:pt x="266" y="26"/>
                  </a:cubicBezTo>
                  <a:cubicBezTo>
                    <a:pt x="267" y="22"/>
                    <a:pt x="269" y="20"/>
                    <a:pt x="270" y="16"/>
                  </a:cubicBezTo>
                  <a:cubicBezTo>
                    <a:pt x="251" y="13"/>
                    <a:pt x="234" y="4"/>
                    <a:pt x="216" y="0"/>
                  </a:cubicBezTo>
                  <a:cubicBezTo>
                    <a:pt x="202" y="1"/>
                    <a:pt x="197" y="5"/>
                    <a:pt x="185" y="9"/>
                  </a:cubicBezTo>
                  <a:cubicBezTo>
                    <a:pt x="182" y="17"/>
                    <a:pt x="176" y="11"/>
                    <a:pt x="171" y="9"/>
                  </a:cubicBezTo>
                  <a:cubicBezTo>
                    <a:pt x="158" y="10"/>
                    <a:pt x="154" y="9"/>
                    <a:pt x="147" y="18"/>
                  </a:cubicBezTo>
                  <a:cubicBezTo>
                    <a:pt x="146" y="27"/>
                    <a:pt x="145" y="26"/>
                    <a:pt x="136" y="25"/>
                  </a:cubicBezTo>
                  <a:cubicBezTo>
                    <a:pt x="133" y="23"/>
                    <a:pt x="126" y="18"/>
                    <a:pt x="126" y="18"/>
                  </a:cubicBezTo>
                  <a:cubicBezTo>
                    <a:pt x="124" y="12"/>
                    <a:pt x="117" y="11"/>
                    <a:pt x="113" y="7"/>
                  </a:cubicBezTo>
                  <a:cubicBezTo>
                    <a:pt x="112" y="5"/>
                    <a:pt x="112" y="1"/>
                    <a:pt x="108" y="2"/>
                  </a:cubicBezTo>
                  <a:cubicBezTo>
                    <a:pt x="108" y="2"/>
                    <a:pt x="104" y="12"/>
                    <a:pt x="101" y="14"/>
                  </a:cubicBezTo>
                  <a:cubicBezTo>
                    <a:pt x="96" y="23"/>
                    <a:pt x="91" y="11"/>
                    <a:pt x="86" y="8"/>
                  </a:cubicBezTo>
                  <a:cubicBezTo>
                    <a:pt x="80" y="9"/>
                    <a:pt x="76" y="12"/>
                    <a:pt x="70" y="13"/>
                  </a:cubicBezTo>
                  <a:cubicBezTo>
                    <a:pt x="69" y="17"/>
                    <a:pt x="63" y="22"/>
                    <a:pt x="63" y="22"/>
                  </a:cubicBezTo>
                  <a:cubicBezTo>
                    <a:pt x="62" y="28"/>
                    <a:pt x="58" y="32"/>
                    <a:pt x="54" y="36"/>
                  </a:cubicBezTo>
                  <a:cubicBezTo>
                    <a:pt x="52" y="41"/>
                    <a:pt x="52" y="44"/>
                    <a:pt x="47" y="46"/>
                  </a:cubicBezTo>
                  <a:cubicBezTo>
                    <a:pt x="45" y="52"/>
                    <a:pt x="46" y="54"/>
                    <a:pt x="41" y="57"/>
                  </a:cubicBezTo>
                  <a:cubicBezTo>
                    <a:pt x="32" y="70"/>
                    <a:pt x="22" y="68"/>
                    <a:pt x="6" y="69"/>
                  </a:cubicBezTo>
                  <a:cubicBezTo>
                    <a:pt x="1" y="76"/>
                    <a:pt x="3" y="84"/>
                    <a:pt x="0" y="92"/>
                  </a:cubicBezTo>
                  <a:cubicBezTo>
                    <a:pt x="2" y="98"/>
                    <a:pt x="4" y="98"/>
                    <a:pt x="6" y="103"/>
                  </a:cubicBezTo>
                  <a:cubicBezTo>
                    <a:pt x="4" y="109"/>
                    <a:pt x="3" y="120"/>
                    <a:pt x="10" y="124"/>
                  </a:cubicBezTo>
                  <a:cubicBezTo>
                    <a:pt x="14" y="126"/>
                    <a:pt x="19" y="127"/>
                    <a:pt x="23" y="128"/>
                  </a:cubicBezTo>
                  <a:cubicBezTo>
                    <a:pt x="24" y="128"/>
                    <a:pt x="26" y="129"/>
                    <a:pt x="26" y="129"/>
                  </a:cubicBezTo>
                  <a:cubicBezTo>
                    <a:pt x="29" y="132"/>
                    <a:pt x="32" y="133"/>
                    <a:pt x="35" y="135"/>
                  </a:cubicBezTo>
                  <a:cubicBezTo>
                    <a:pt x="36" y="139"/>
                    <a:pt x="39" y="138"/>
                    <a:pt x="41" y="142"/>
                  </a:cubicBezTo>
                  <a:cubicBezTo>
                    <a:pt x="58" y="141"/>
                    <a:pt x="75" y="140"/>
                    <a:pt x="92" y="139"/>
                  </a:cubicBezTo>
                  <a:cubicBezTo>
                    <a:pt x="97" y="137"/>
                    <a:pt x="99" y="135"/>
                    <a:pt x="101" y="130"/>
                  </a:cubicBezTo>
                  <a:cubicBezTo>
                    <a:pt x="99" y="106"/>
                    <a:pt x="99" y="109"/>
                    <a:pt x="124" y="108"/>
                  </a:cubicBezTo>
                  <a:cubicBezTo>
                    <a:pt x="129" y="106"/>
                    <a:pt x="131" y="104"/>
                    <a:pt x="134" y="100"/>
                  </a:cubicBezTo>
                  <a:cubicBezTo>
                    <a:pt x="135" y="98"/>
                    <a:pt x="135" y="96"/>
                    <a:pt x="138" y="96"/>
                  </a:cubicBezTo>
                  <a:cubicBezTo>
                    <a:pt x="141" y="96"/>
                    <a:pt x="147" y="99"/>
                    <a:pt x="147" y="99"/>
                  </a:cubicBezTo>
                  <a:cubicBezTo>
                    <a:pt x="153" y="98"/>
                    <a:pt x="164" y="96"/>
                    <a:pt x="164" y="96"/>
                  </a:cubicBezTo>
                  <a:cubicBezTo>
                    <a:pt x="169" y="82"/>
                    <a:pt x="169" y="70"/>
                    <a:pt x="186" y="66"/>
                  </a:cubicBezTo>
                  <a:cubicBezTo>
                    <a:pt x="195" y="67"/>
                    <a:pt x="203" y="69"/>
                    <a:pt x="212" y="66"/>
                  </a:cubicBezTo>
                  <a:cubicBezTo>
                    <a:pt x="217" y="66"/>
                    <a:pt x="223" y="66"/>
                    <a:pt x="228" y="67"/>
                  </a:cubicBezTo>
                  <a:cubicBezTo>
                    <a:pt x="231" y="67"/>
                    <a:pt x="237" y="72"/>
                    <a:pt x="237" y="72"/>
                  </a:cubicBezTo>
                  <a:cubicBezTo>
                    <a:pt x="238" y="72"/>
                    <a:pt x="254" y="72"/>
                    <a:pt x="254" y="67"/>
                  </a:cubicBezTo>
                  <a:close/>
                </a:path>
              </a:pathLst>
            </a:custGeom>
            <a:solidFill>
              <a:schemeClr val="accent2"/>
            </a:solidFill>
            <a:ln w="3175">
              <a:solidFill>
                <a:schemeClr val="accent2"/>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18" name="Group 2478">
              <a:extLst>
                <a:ext uri="{FF2B5EF4-FFF2-40B4-BE49-F238E27FC236}">
                  <a16:creationId xmlns:a16="http://schemas.microsoft.com/office/drawing/2014/main" id="{1944F156-4865-41D8-AA34-8DC62867F053}"/>
                </a:ext>
              </a:extLst>
            </p:cNvPr>
            <p:cNvGrpSpPr>
              <a:grpSpLocks noChangeAspect="1"/>
            </p:cNvGrpSpPr>
            <p:nvPr>
              <p:custDataLst>
                <p:tags r:id="rId11"/>
              </p:custDataLst>
            </p:nvPr>
          </p:nvGrpSpPr>
          <p:grpSpPr bwMode="auto">
            <a:xfrm>
              <a:off x="4985408" y="4353896"/>
              <a:ext cx="431001" cy="413819"/>
              <a:chOff x="2859" y="3044"/>
              <a:chExt cx="302" cy="289"/>
            </a:xfrm>
          </p:grpSpPr>
          <p:sp>
            <p:nvSpPr>
              <p:cNvPr id="300" name="Freeform 2479">
                <a:extLst>
                  <a:ext uri="{FF2B5EF4-FFF2-40B4-BE49-F238E27FC236}">
                    <a16:creationId xmlns:a16="http://schemas.microsoft.com/office/drawing/2014/main" id="{9FDA5BB7-45C7-4E41-B6DF-18F85840E879}"/>
                  </a:ext>
                </a:extLst>
              </p:cNvPr>
              <p:cNvSpPr>
                <a:spLocks noChangeAspect="1"/>
              </p:cNvSpPr>
              <p:nvPr/>
            </p:nvSpPr>
            <p:spPr bwMode="auto">
              <a:xfrm>
                <a:off x="2901" y="3158"/>
                <a:ext cx="24" cy="49"/>
              </a:xfrm>
              <a:custGeom>
                <a:avLst/>
                <a:gdLst>
                  <a:gd name="T0" fmla="*/ 0 w 24"/>
                  <a:gd name="T1" fmla="*/ 0 h 49"/>
                  <a:gd name="T2" fmla="*/ 16 w 24"/>
                  <a:gd name="T3" fmla="*/ 43 h 49"/>
                  <a:gd name="T4" fmla="*/ 22 w 24"/>
                  <a:gd name="T5" fmla="*/ 43 h 49"/>
                  <a:gd name="T6" fmla="*/ 14 w 24"/>
                  <a:gd name="T7" fmla="*/ 10 h 49"/>
                  <a:gd name="T8" fmla="*/ 0 w 24"/>
                  <a:gd name="T9" fmla="*/ 0 h 49"/>
                  <a:gd name="T10" fmla="*/ 0 60000 65536"/>
                  <a:gd name="T11" fmla="*/ 0 60000 65536"/>
                  <a:gd name="T12" fmla="*/ 0 60000 65536"/>
                  <a:gd name="T13" fmla="*/ 0 60000 65536"/>
                  <a:gd name="T14" fmla="*/ 0 60000 65536"/>
                  <a:gd name="T15" fmla="*/ 0 w 24"/>
                  <a:gd name="T16" fmla="*/ 0 h 49"/>
                  <a:gd name="T17" fmla="*/ 24 w 24"/>
                  <a:gd name="T18" fmla="*/ 49 h 49"/>
                </a:gdLst>
                <a:ahLst/>
                <a:cxnLst>
                  <a:cxn ang="T10">
                    <a:pos x="T0" y="T1"/>
                  </a:cxn>
                  <a:cxn ang="T11">
                    <a:pos x="T2" y="T3"/>
                  </a:cxn>
                  <a:cxn ang="T12">
                    <a:pos x="T4" y="T5"/>
                  </a:cxn>
                  <a:cxn ang="T13">
                    <a:pos x="T6" y="T7"/>
                  </a:cxn>
                  <a:cxn ang="T14">
                    <a:pos x="T8" y="T9"/>
                  </a:cxn>
                </a:cxnLst>
                <a:rect l="T15" t="T16" r="T17" b="T18"/>
                <a:pathLst>
                  <a:path w="24" h="49">
                    <a:moveTo>
                      <a:pt x="0" y="0"/>
                    </a:moveTo>
                    <a:cubicBezTo>
                      <a:pt x="2" y="12"/>
                      <a:pt x="7" y="34"/>
                      <a:pt x="16" y="43"/>
                    </a:cubicBezTo>
                    <a:cubicBezTo>
                      <a:pt x="18" y="49"/>
                      <a:pt x="19" y="49"/>
                      <a:pt x="22" y="43"/>
                    </a:cubicBezTo>
                    <a:cubicBezTo>
                      <a:pt x="21" y="34"/>
                      <a:pt x="24" y="17"/>
                      <a:pt x="14" y="10"/>
                    </a:cubicBezTo>
                    <a:cubicBezTo>
                      <a:pt x="11" y="5"/>
                      <a:pt x="6" y="0"/>
                      <a:pt x="0" y="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1" name="Freeform 2480">
                <a:extLst>
                  <a:ext uri="{FF2B5EF4-FFF2-40B4-BE49-F238E27FC236}">
                    <a16:creationId xmlns:a16="http://schemas.microsoft.com/office/drawing/2014/main" id="{EA9B8EF5-BDA9-41DD-BF43-3B7341D449AF}"/>
                  </a:ext>
                </a:extLst>
              </p:cNvPr>
              <p:cNvSpPr>
                <a:spLocks noChangeAspect="1"/>
              </p:cNvSpPr>
              <p:nvPr/>
            </p:nvSpPr>
            <p:spPr bwMode="auto">
              <a:xfrm>
                <a:off x="2933" y="3220"/>
                <a:ext cx="39" cy="37"/>
              </a:xfrm>
              <a:custGeom>
                <a:avLst/>
                <a:gdLst>
                  <a:gd name="T0" fmla="*/ 0 w 39"/>
                  <a:gd name="T1" fmla="*/ 0 h 37"/>
                  <a:gd name="T2" fmla="*/ 20 w 39"/>
                  <a:gd name="T3" fmla="*/ 11 h 37"/>
                  <a:gd name="T4" fmla="*/ 26 w 39"/>
                  <a:gd name="T5" fmla="*/ 15 h 37"/>
                  <a:gd name="T6" fmla="*/ 36 w 39"/>
                  <a:gd name="T7" fmla="*/ 33 h 37"/>
                  <a:gd name="T8" fmla="*/ 38 w 39"/>
                  <a:gd name="T9" fmla="*/ 36 h 37"/>
                  <a:gd name="T10" fmla="*/ 34 w 39"/>
                  <a:gd name="T11" fmla="*/ 35 h 37"/>
                  <a:gd name="T12" fmla="*/ 0 w 39"/>
                  <a:gd name="T13" fmla="*/ 0 h 37"/>
                  <a:gd name="T14" fmla="*/ 0 60000 65536"/>
                  <a:gd name="T15" fmla="*/ 0 60000 65536"/>
                  <a:gd name="T16" fmla="*/ 0 60000 65536"/>
                  <a:gd name="T17" fmla="*/ 0 60000 65536"/>
                  <a:gd name="T18" fmla="*/ 0 60000 65536"/>
                  <a:gd name="T19" fmla="*/ 0 60000 65536"/>
                  <a:gd name="T20" fmla="*/ 0 60000 65536"/>
                  <a:gd name="T21" fmla="*/ 0 w 39"/>
                  <a:gd name="T22" fmla="*/ 0 h 37"/>
                  <a:gd name="T23" fmla="*/ 39 w 39"/>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7">
                    <a:moveTo>
                      <a:pt x="0" y="0"/>
                    </a:moveTo>
                    <a:cubicBezTo>
                      <a:pt x="8" y="3"/>
                      <a:pt x="12" y="8"/>
                      <a:pt x="20" y="11"/>
                    </a:cubicBezTo>
                    <a:cubicBezTo>
                      <a:pt x="22" y="13"/>
                      <a:pt x="24" y="13"/>
                      <a:pt x="26" y="15"/>
                    </a:cubicBezTo>
                    <a:cubicBezTo>
                      <a:pt x="31" y="20"/>
                      <a:pt x="33" y="27"/>
                      <a:pt x="36" y="33"/>
                    </a:cubicBezTo>
                    <a:cubicBezTo>
                      <a:pt x="37" y="34"/>
                      <a:pt x="39" y="35"/>
                      <a:pt x="38" y="36"/>
                    </a:cubicBezTo>
                    <a:cubicBezTo>
                      <a:pt x="37" y="37"/>
                      <a:pt x="35" y="35"/>
                      <a:pt x="34" y="35"/>
                    </a:cubicBezTo>
                    <a:cubicBezTo>
                      <a:pt x="28" y="29"/>
                      <a:pt x="2" y="4"/>
                      <a:pt x="0" y="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2" name="Freeform 2481">
                <a:extLst>
                  <a:ext uri="{FF2B5EF4-FFF2-40B4-BE49-F238E27FC236}">
                    <a16:creationId xmlns:a16="http://schemas.microsoft.com/office/drawing/2014/main" id="{09C1B262-E723-4D8F-B29F-2231E0DB74CC}"/>
                  </a:ext>
                </a:extLst>
              </p:cNvPr>
              <p:cNvSpPr>
                <a:spLocks noChangeAspect="1"/>
              </p:cNvSpPr>
              <p:nvPr/>
            </p:nvSpPr>
            <p:spPr bwMode="auto">
              <a:xfrm>
                <a:off x="2926" y="3185"/>
                <a:ext cx="31" cy="34"/>
              </a:xfrm>
              <a:custGeom>
                <a:avLst/>
                <a:gdLst>
                  <a:gd name="T0" fmla="*/ 5 w 31"/>
                  <a:gd name="T1" fmla="*/ 2 h 34"/>
                  <a:gd name="T2" fmla="*/ 27 w 31"/>
                  <a:gd name="T3" fmla="*/ 23 h 34"/>
                  <a:gd name="T4" fmla="*/ 21 w 31"/>
                  <a:gd name="T5" fmla="*/ 27 h 34"/>
                  <a:gd name="T6" fmla="*/ 10 w 31"/>
                  <a:gd name="T7" fmla="*/ 13 h 34"/>
                  <a:gd name="T8" fmla="*/ 5 w 31"/>
                  <a:gd name="T9" fmla="*/ 2 h 34"/>
                  <a:gd name="T10" fmla="*/ 0 60000 65536"/>
                  <a:gd name="T11" fmla="*/ 0 60000 65536"/>
                  <a:gd name="T12" fmla="*/ 0 60000 65536"/>
                  <a:gd name="T13" fmla="*/ 0 60000 65536"/>
                  <a:gd name="T14" fmla="*/ 0 60000 65536"/>
                  <a:gd name="T15" fmla="*/ 0 w 31"/>
                  <a:gd name="T16" fmla="*/ 0 h 34"/>
                  <a:gd name="T17" fmla="*/ 31 w 31"/>
                  <a:gd name="T18" fmla="*/ 34 h 34"/>
                </a:gdLst>
                <a:ahLst/>
                <a:cxnLst>
                  <a:cxn ang="T10">
                    <a:pos x="T0" y="T1"/>
                  </a:cxn>
                  <a:cxn ang="T11">
                    <a:pos x="T2" y="T3"/>
                  </a:cxn>
                  <a:cxn ang="T12">
                    <a:pos x="T4" y="T5"/>
                  </a:cxn>
                  <a:cxn ang="T13">
                    <a:pos x="T6" y="T7"/>
                  </a:cxn>
                  <a:cxn ang="T14">
                    <a:pos x="T8" y="T9"/>
                  </a:cxn>
                </a:cxnLst>
                <a:rect l="T15" t="T16" r="T17" b="T18"/>
                <a:pathLst>
                  <a:path w="31" h="34">
                    <a:moveTo>
                      <a:pt x="5" y="2"/>
                    </a:moveTo>
                    <a:cubicBezTo>
                      <a:pt x="13" y="8"/>
                      <a:pt x="19" y="17"/>
                      <a:pt x="27" y="23"/>
                    </a:cubicBezTo>
                    <a:cubicBezTo>
                      <a:pt x="31" y="34"/>
                      <a:pt x="31" y="33"/>
                      <a:pt x="21" y="27"/>
                    </a:cubicBezTo>
                    <a:cubicBezTo>
                      <a:pt x="18" y="21"/>
                      <a:pt x="15" y="16"/>
                      <a:pt x="10" y="13"/>
                    </a:cubicBezTo>
                    <a:cubicBezTo>
                      <a:pt x="9" y="11"/>
                      <a:pt x="0" y="0"/>
                      <a:pt x="5" y="2"/>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3" name="Freeform 2482">
                <a:extLst>
                  <a:ext uri="{FF2B5EF4-FFF2-40B4-BE49-F238E27FC236}">
                    <a16:creationId xmlns:a16="http://schemas.microsoft.com/office/drawing/2014/main" id="{401CE513-8F91-42D6-9648-84597D56D271}"/>
                  </a:ext>
                </a:extLst>
              </p:cNvPr>
              <p:cNvSpPr>
                <a:spLocks noChangeAspect="1"/>
              </p:cNvSpPr>
              <p:nvPr/>
            </p:nvSpPr>
            <p:spPr bwMode="auto">
              <a:xfrm>
                <a:off x="3023" y="3273"/>
                <a:ext cx="27" cy="13"/>
              </a:xfrm>
              <a:custGeom>
                <a:avLst/>
                <a:gdLst>
                  <a:gd name="T0" fmla="*/ 0 w 27"/>
                  <a:gd name="T1" fmla="*/ 0 h 13"/>
                  <a:gd name="T2" fmla="*/ 11 w 27"/>
                  <a:gd name="T3" fmla="*/ 6 h 13"/>
                  <a:gd name="T4" fmla="*/ 27 w 27"/>
                  <a:gd name="T5" fmla="*/ 4 h 13"/>
                  <a:gd name="T6" fmla="*/ 12 w 27"/>
                  <a:gd name="T7" fmla="*/ 13 h 13"/>
                  <a:gd name="T8" fmla="*/ 0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0" y="0"/>
                    </a:moveTo>
                    <a:cubicBezTo>
                      <a:pt x="3" y="3"/>
                      <a:pt x="11" y="6"/>
                      <a:pt x="11" y="6"/>
                    </a:cubicBezTo>
                    <a:cubicBezTo>
                      <a:pt x="17" y="5"/>
                      <a:pt x="22" y="3"/>
                      <a:pt x="27" y="4"/>
                    </a:cubicBezTo>
                    <a:cubicBezTo>
                      <a:pt x="24" y="12"/>
                      <a:pt x="19" y="12"/>
                      <a:pt x="12" y="13"/>
                    </a:cubicBezTo>
                    <a:cubicBezTo>
                      <a:pt x="5" y="11"/>
                      <a:pt x="0" y="8"/>
                      <a:pt x="0" y="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4" name="Freeform 2483">
                <a:extLst>
                  <a:ext uri="{FF2B5EF4-FFF2-40B4-BE49-F238E27FC236}">
                    <a16:creationId xmlns:a16="http://schemas.microsoft.com/office/drawing/2014/main" id="{55D004D7-72AE-41B5-A2CF-FACF8A1A3FA3}"/>
                  </a:ext>
                </a:extLst>
              </p:cNvPr>
              <p:cNvSpPr>
                <a:spLocks noChangeAspect="1"/>
              </p:cNvSpPr>
              <p:nvPr/>
            </p:nvSpPr>
            <p:spPr bwMode="auto">
              <a:xfrm>
                <a:off x="3008" y="3284"/>
                <a:ext cx="55" cy="11"/>
              </a:xfrm>
              <a:custGeom>
                <a:avLst/>
                <a:gdLst>
                  <a:gd name="T0" fmla="*/ 12 w 55"/>
                  <a:gd name="T1" fmla="*/ 4 h 11"/>
                  <a:gd name="T2" fmla="*/ 55 w 55"/>
                  <a:gd name="T3" fmla="*/ 4 h 11"/>
                  <a:gd name="T4" fmla="*/ 31 w 55"/>
                  <a:gd name="T5" fmla="*/ 8 h 11"/>
                  <a:gd name="T6" fmla="*/ 12 w 55"/>
                  <a:gd name="T7" fmla="*/ 4 h 11"/>
                  <a:gd name="T8" fmla="*/ 0 60000 65536"/>
                  <a:gd name="T9" fmla="*/ 0 60000 65536"/>
                  <a:gd name="T10" fmla="*/ 0 60000 65536"/>
                  <a:gd name="T11" fmla="*/ 0 60000 65536"/>
                  <a:gd name="T12" fmla="*/ 0 w 55"/>
                  <a:gd name="T13" fmla="*/ 0 h 11"/>
                  <a:gd name="T14" fmla="*/ 55 w 55"/>
                  <a:gd name="T15" fmla="*/ 11 h 11"/>
                </a:gdLst>
                <a:ahLst/>
                <a:cxnLst>
                  <a:cxn ang="T8">
                    <a:pos x="T0" y="T1"/>
                  </a:cxn>
                  <a:cxn ang="T9">
                    <a:pos x="T2" y="T3"/>
                  </a:cxn>
                  <a:cxn ang="T10">
                    <a:pos x="T4" y="T5"/>
                  </a:cxn>
                  <a:cxn ang="T11">
                    <a:pos x="T6" y="T7"/>
                  </a:cxn>
                </a:cxnLst>
                <a:rect l="T12" t="T13" r="T14" b="T15"/>
                <a:pathLst>
                  <a:path w="55" h="11">
                    <a:moveTo>
                      <a:pt x="12" y="4"/>
                    </a:moveTo>
                    <a:cubicBezTo>
                      <a:pt x="27" y="0"/>
                      <a:pt x="39" y="2"/>
                      <a:pt x="55" y="4"/>
                    </a:cubicBezTo>
                    <a:cubicBezTo>
                      <a:pt x="53" y="11"/>
                      <a:pt x="38" y="7"/>
                      <a:pt x="31" y="8"/>
                    </a:cubicBezTo>
                    <a:cubicBezTo>
                      <a:pt x="25" y="7"/>
                      <a:pt x="0" y="11"/>
                      <a:pt x="12" y="4"/>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5" name="Freeform 2484">
                <a:extLst>
                  <a:ext uri="{FF2B5EF4-FFF2-40B4-BE49-F238E27FC236}">
                    <a16:creationId xmlns:a16="http://schemas.microsoft.com/office/drawing/2014/main" id="{0851E9EA-3150-4F05-9EEA-2EF2390583A8}"/>
                  </a:ext>
                </a:extLst>
              </p:cNvPr>
              <p:cNvSpPr>
                <a:spLocks noChangeAspect="1"/>
              </p:cNvSpPr>
              <p:nvPr/>
            </p:nvSpPr>
            <p:spPr bwMode="auto">
              <a:xfrm>
                <a:off x="3032" y="3300"/>
                <a:ext cx="33" cy="9"/>
              </a:xfrm>
              <a:custGeom>
                <a:avLst/>
                <a:gdLst>
                  <a:gd name="T0" fmla="*/ 5 w 33"/>
                  <a:gd name="T1" fmla="*/ 2 h 9"/>
                  <a:gd name="T2" fmla="*/ 30 w 33"/>
                  <a:gd name="T3" fmla="*/ 2 h 9"/>
                  <a:gd name="T4" fmla="*/ 19 w 33"/>
                  <a:gd name="T5" fmla="*/ 9 h 9"/>
                  <a:gd name="T6" fmla="*/ 5 w 33"/>
                  <a:gd name="T7" fmla="*/ 8 h 9"/>
                  <a:gd name="T8" fmla="*/ 5 w 33"/>
                  <a:gd name="T9" fmla="*/ 2 h 9"/>
                  <a:gd name="T10" fmla="*/ 0 60000 65536"/>
                  <a:gd name="T11" fmla="*/ 0 60000 65536"/>
                  <a:gd name="T12" fmla="*/ 0 60000 65536"/>
                  <a:gd name="T13" fmla="*/ 0 60000 65536"/>
                  <a:gd name="T14" fmla="*/ 0 60000 65536"/>
                  <a:gd name="T15" fmla="*/ 0 w 33"/>
                  <a:gd name="T16" fmla="*/ 0 h 9"/>
                  <a:gd name="T17" fmla="*/ 33 w 33"/>
                  <a:gd name="T18" fmla="*/ 9 h 9"/>
                </a:gdLst>
                <a:ahLst/>
                <a:cxnLst>
                  <a:cxn ang="T10">
                    <a:pos x="T0" y="T1"/>
                  </a:cxn>
                  <a:cxn ang="T11">
                    <a:pos x="T2" y="T3"/>
                  </a:cxn>
                  <a:cxn ang="T12">
                    <a:pos x="T4" y="T5"/>
                  </a:cxn>
                  <a:cxn ang="T13">
                    <a:pos x="T6" y="T7"/>
                  </a:cxn>
                  <a:cxn ang="T14">
                    <a:pos x="T8" y="T9"/>
                  </a:cxn>
                </a:cxnLst>
                <a:rect l="T15" t="T16" r="T17" b="T18"/>
                <a:pathLst>
                  <a:path w="33" h="9">
                    <a:moveTo>
                      <a:pt x="5" y="2"/>
                    </a:moveTo>
                    <a:cubicBezTo>
                      <a:pt x="6" y="2"/>
                      <a:pt x="27" y="0"/>
                      <a:pt x="30" y="2"/>
                    </a:cubicBezTo>
                    <a:cubicBezTo>
                      <a:pt x="33" y="4"/>
                      <a:pt x="19" y="9"/>
                      <a:pt x="19" y="9"/>
                    </a:cubicBezTo>
                    <a:cubicBezTo>
                      <a:pt x="14" y="9"/>
                      <a:pt x="9" y="9"/>
                      <a:pt x="5" y="8"/>
                    </a:cubicBezTo>
                    <a:cubicBezTo>
                      <a:pt x="0" y="6"/>
                      <a:pt x="5" y="0"/>
                      <a:pt x="5" y="2"/>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6" name="Freeform 2485">
                <a:extLst>
                  <a:ext uri="{FF2B5EF4-FFF2-40B4-BE49-F238E27FC236}">
                    <a16:creationId xmlns:a16="http://schemas.microsoft.com/office/drawing/2014/main" id="{4EDA679A-9F2B-4273-A230-A6CF28105178}"/>
                  </a:ext>
                </a:extLst>
              </p:cNvPr>
              <p:cNvSpPr>
                <a:spLocks noChangeAspect="1"/>
              </p:cNvSpPr>
              <p:nvPr/>
            </p:nvSpPr>
            <p:spPr bwMode="auto">
              <a:xfrm>
                <a:off x="3074" y="3312"/>
                <a:ext cx="20" cy="10"/>
              </a:xfrm>
              <a:custGeom>
                <a:avLst/>
                <a:gdLst>
                  <a:gd name="T0" fmla="*/ 0 w 20"/>
                  <a:gd name="T1" fmla="*/ 2 h 10"/>
                  <a:gd name="T2" fmla="*/ 20 w 20"/>
                  <a:gd name="T3" fmla="*/ 4 h 10"/>
                  <a:gd name="T4" fmla="*/ 0 w 20"/>
                  <a:gd name="T5" fmla="*/ 2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2"/>
                    </a:moveTo>
                    <a:cubicBezTo>
                      <a:pt x="6" y="0"/>
                      <a:pt x="14" y="2"/>
                      <a:pt x="20" y="4"/>
                    </a:cubicBezTo>
                    <a:cubicBezTo>
                      <a:pt x="20" y="4"/>
                      <a:pt x="0" y="10"/>
                      <a:pt x="0" y="2"/>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7" name="Freeform 2486">
                <a:extLst>
                  <a:ext uri="{FF2B5EF4-FFF2-40B4-BE49-F238E27FC236}">
                    <a16:creationId xmlns:a16="http://schemas.microsoft.com/office/drawing/2014/main" id="{EDEF35DB-B99E-4B77-AA8B-48CEB5A4DD4C}"/>
                  </a:ext>
                </a:extLst>
              </p:cNvPr>
              <p:cNvSpPr>
                <a:spLocks noChangeAspect="1"/>
              </p:cNvSpPr>
              <p:nvPr/>
            </p:nvSpPr>
            <p:spPr bwMode="auto">
              <a:xfrm>
                <a:off x="2859" y="3044"/>
                <a:ext cx="302" cy="289"/>
              </a:xfrm>
              <a:custGeom>
                <a:avLst/>
                <a:gdLst>
                  <a:gd name="T0" fmla="*/ 248 w 302"/>
                  <a:gd name="T1" fmla="*/ 268 h 289"/>
                  <a:gd name="T2" fmla="*/ 235 w 302"/>
                  <a:gd name="T3" fmla="*/ 256 h 289"/>
                  <a:gd name="T4" fmla="*/ 220 w 302"/>
                  <a:gd name="T5" fmla="*/ 244 h 289"/>
                  <a:gd name="T6" fmla="*/ 192 w 302"/>
                  <a:gd name="T7" fmla="*/ 215 h 289"/>
                  <a:gd name="T8" fmla="*/ 170 w 302"/>
                  <a:gd name="T9" fmla="*/ 193 h 289"/>
                  <a:gd name="T10" fmla="*/ 131 w 302"/>
                  <a:gd name="T11" fmla="*/ 140 h 289"/>
                  <a:gd name="T12" fmla="*/ 119 w 302"/>
                  <a:gd name="T13" fmla="*/ 98 h 289"/>
                  <a:gd name="T14" fmla="*/ 158 w 302"/>
                  <a:gd name="T15" fmla="*/ 101 h 289"/>
                  <a:gd name="T16" fmla="*/ 196 w 302"/>
                  <a:gd name="T17" fmla="*/ 101 h 289"/>
                  <a:gd name="T18" fmla="*/ 244 w 302"/>
                  <a:gd name="T19" fmla="*/ 94 h 289"/>
                  <a:gd name="T20" fmla="*/ 277 w 302"/>
                  <a:gd name="T21" fmla="*/ 110 h 289"/>
                  <a:gd name="T22" fmla="*/ 293 w 302"/>
                  <a:gd name="T23" fmla="*/ 91 h 289"/>
                  <a:gd name="T24" fmla="*/ 295 w 302"/>
                  <a:gd name="T25" fmla="*/ 77 h 289"/>
                  <a:gd name="T26" fmla="*/ 283 w 302"/>
                  <a:gd name="T27" fmla="*/ 67 h 289"/>
                  <a:gd name="T28" fmla="*/ 275 w 302"/>
                  <a:gd name="T29" fmla="*/ 53 h 289"/>
                  <a:gd name="T30" fmla="*/ 250 w 302"/>
                  <a:gd name="T31" fmla="*/ 44 h 289"/>
                  <a:gd name="T32" fmla="*/ 204 w 302"/>
                  <a:gd name="T33" fmla="*/ 44 h 289"/>
                  <a:gd name="T34" fmla="*/ 186 w 302"/>
                  <a:gd name="T35" fmla="*/ 30 h 289"/>
                  <a:gd name="T36" fmla="*/ 145 w 302"/>
                  <a:gd name="T37" fmla="*/ 4 h 289"/>
                  <a:gd name="T38" fmla="*/ 133 w 302"/>
                  <a:gd name="T39" fmla="*/ 7 h 289"/>
                  <a:gd name="T40" fmla="*/ 109 w 302"/>
                  <a:gd name="T41" fmla="*/ 25 h 289"/>
                  <a:gd name="T42" fmla="*/ 91 w 302"/>
                  <a:gd name="T43" fmla="*/ 64 h 289"/>
                  <a:gd name="T44" fmla="*/ 85 w 302"/>
                  <a:gd name="T45" fmla="*/ 90 h 289"/>
                  <a:gd name="T46" fmla="*/ 62 w 302"/>
                  <a:gd name="T47" fmla="*/ 86 h 289"/>
                  <a:gd name="T48" fmla="*/ 54 w 302"/>
                  <a:gd name="T49" fmla="*/ 76 h 289"/>
                  <a:gd name="T50" fmla="*/ 47 w 302"/>
                  <a:gd name="T51" fmla="*/ 88 h 289"/>
                  <a:gd name="T52" fmla="*/ 34 w 302"/>
                  <a:gd name="T53" fmla="*/ 89 h 289"/>
                  <a:gd name="T54" fmla="*/ 20 w 302"/>
                  <a:gd name="T55" fmla="*/ 89 h 289"/>
                  <a:gd name="T56" fmla="*/ 1 w 302"/>
                  <a:gd name="T57" fmla="*/ 95 h 289"/>
                  <a:gd name="T58" fmla="*/ 16 w 302"/>
                  <a:gd name="T59" fmla="*/ 122 h 289"/>
                  <a:gd name="T60" fmla="*/ 34 w 302"/>
                  <a:gd name="T61" fmla="*/ 115 h 289"/>
                  <a:gd name="T62" fmla="*/ 52 w 302"/>
                  <a:gd name="T63" fmla="*/ 97 h 289"/>
                  <a:gd name="T64" fmla="*/ 76 w 302"/>
                  <a:gd name="T65" fmla="*/ 112 h 289"/>
                  <a:gd name="T66" fmla="*/ 88 w 302"/>
                  <a:gd name="T67" fmla="*/ 145 h 289"/>
                  <a:gd name="T68" fmla="*/ 103 w 302"/>
                  <a:gd name="T69" fmla="*/ 168 h 289"/>
                  <a:gd name="T70" fmla="*/ 121 w 302"/>
                  <a:gd name="T71" fmla="*/ 199 h 289"/>
                  <a:gd name="T72" fmla="*/ 192 w 302"/>
                  <a:gd name="T73" fmla="*/ 229 h 289"/>
                  <a:gd name="T74" fmla="*/ 209 w 302"/>
                  <a:gd name="T75" fmla="*/ 246 h 289"/>
                  <a:gd name="T76" fmla="*/ 239 w 302"/>
                  <a:gd name="T77" fmla="*/ 266 h 289"/>
                  <a:gd name="T78" fmla="*/ 262 w 302"/>
                  <a:gd name="T79" fmla="*/ 278 h 289"/>
                  <a:gd name="T80" fmla="*/ 275 w 302"/>
                  <a:gd name="T81" fmla="*/ 289 h 2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89"/>
                  <a:gd name="T125" fmla="*/ 302 w 302"/>
                  <a:gd name="T126" fmla="*/ 289 h 2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89">
                    <a:moveTo>
                      <a:pt x="275" y="289"/>
                    </a:moveTo>
                    <a:cubicBezTo>
                      <a:pt x="272" y="273"/>
                      <a:pt x="260" y="274"/>
                      <a:pt x="248" y="268"/>
                    </a:cubicBezTo>
                    <a:cubicBezTo>
                      <a:pt x="246" y="265"/>
                      <a:pt x="243" y="262"/>
                      <a:pt x="241" y="260"/>
                    </a:cubicBezTo>
                    <a:cubicBezTo>
                      <a:pt x="239" y="258"/>
                      <a:pt x="235" y="256"/>
                      <a:pt x="235" y="256"/>
                    </a:cubicBezTo>
                    <a:cubicBezTo>
                      <a:pt x="233" y="251"/>
                      <a:pt x="231" y="248"/>
                      <a:pt x="226" y="246"/>
                    </a:cubicBezTo>
                    <a:cubicBezTo>
                      <a:pt x="224" y="245"/>
                      <a:pt x="220" y="244"/>
                      <a:pt x="220" y="244"/>
                    </a:cubicBezTo>
                    <a:cubicBezTo>
                      <a:pt x="213" y="237"/>
                      <a:pt x="210" y="232"/>
                      <a:pt x="204" y="223"/>
                    </a:cubicBezTo>
                    <a:cubicBezTo>
                      <a:pt x="199" y="218"/>
                      <a:pt x="196" y="218"/>
                      <a:pt x="192" y="215"/>
                    </a:cubicBezTo>
                    <a:cubicBezTo>
                      <a:pt x="190" y="206"/>
                      <a:pt x="189" y="204"/>
                      <a:pt x="180" y="203"/>
                    </a:cubicBezTo>
                    <a:cubicBezTo>
                      <a:pt x="175" y="201"/>
                      <a:pt x="175" y="196"/>
                      <a:pt x="170" y="193"/>
                    </a:cubicBezTo>
                    <a:cubicBezTo>
                      <a:pt x="158" y="185"/>
                      <a:pt x="152" y="173"/>
                      <a:pt x="145" y="162"/>
                    </a:cubicBezTo>
                    <a:cubicBezTo>
                      <a:pt x="141" y="154"/>
                      <a:pt x="137" y="146"/>
                      <a:pt x="131" y="140"/>
                    </a:cubicBezTo>
                    <a:cubicBezTo>
                      <a:pt x="127" y="136"/>
                      <a:pt x="119" y="131"/>
                      <a:pt x="119" y="131"/>
                    </a:cubicBezTo>
                    <a:cubicBezTo>
                      <a:pt x="115" y="120"/>
                      <a:pt x="115" y="110"/>
                      <a:pt x="119" y="98"/>
                    </a:cubicBezTo>
                    <a:cubicBezTo>
                      <a:pt x="129" y="100"/>
                      <a:pt x="132" y="105"/>
                      <a:pt x="140" y="110"/>
                    </a:cubicBezTo>
                    <a:cubicBezTo>
                      <a:pt x="153" y="109"/>
                      <a:pt x="150" y="107"/>
                      <a:pt x="158" y="101"/>
                    </a:cubicBezTo>
                    <a:cubicBezTo>
                      <a:pt x="160" y="98"/>
                      <a:pt x="162" y="96"/>
                      <a:pt x="166" y="95"/>
                    </a:cubicBezTo>
                    <a:cubicBezTo>
                      <a:pt x="181" y="96"/>
                      <a:pt x="184" y="97"/>
                      <a:pt x="196" y="101"/>
                    </a:cubicBezTo>
                    <a:cubicBezTo>
                      <a:pt x="209" y="100"/>
                      <a:pt x="219" y="98"/>
                      <a:pt x="232" y="97"/>
                    </a:cubicBezTo>
                    <a:cubicBezTo>
                      <a:pt x="236" y="96"/>
                      <a:pt x="244" y="94"/>
                      <a:pt x="244" y="94"/>
                    </a:cubicBezTo>
                    <a:cubicBezTo>
                      <a:pt x="250" y="96"/>
                      <a:pt x="262" y="96"/>
                      <a:pt x="268" y="97"/>
                    </a:cubicBezTo>
                    <a:cubicBezTo>
                      <a:pt x="274" y="103"/>
                      <a:pt x="269" y="109"/>
                      <a:pt x="277" y="110"/>
                    </a:cubicBezTo>
                    <a:cubicBezTo>
                      <a:pt x="284" y="113"/>
                      <a:pt x="286" y="111"/>
                      <a:pt x="292" y="107"/>
                    </a:cubicBezTo>
                    <a:cubicBezTo>
                      <a:pt x="293" y="102"/>
                      <a:pt x="290" y="96"/>
                      <a:pt x="293" y="91"/>
                    </a:cubicBezTo>
                    <a:cubicBezTo>
                      <a:pt x="295" y="88"/>
                      <a:pt x="302" y="84"/>
                      <a:pt x="302" y="84"/>
                    </a:cubicBezTo>
                    <a:cubicBezTo>
                      <a:pt x="301" y="79"/>
                      <a:pt x="300" y="79"/>
                      <a:pt x="295" y="77"/>
                    </a:cubicBezTo>
                    <a:cubicBezTo>
                      <a:pt x="293" y="73"/>
                      <a:pt x="288" y="71"/>
                      <a:pt x="284" y="70"/>
                    </a:cubicBezTo>
                    <a:cubicBezTo>
                      <a:pt x="284" y="69"/>
                      <a:pt x="284" y="68"/>
                      <a:pt x="283" y="67"/>
                    </a:cubicBezTo>
                    <a:cubicBezTo>
                      <a:pt x="282" y="66"/>
                      <a:pt x="280" y="67"/>
                      <a:pt x="280" y="66"/>
                    </a:cubicBezTo>
                    <a:cubicBezTo>
                      <a:pt x="274" y="51"/>
                      <a:pt x="282" y="58"/>
                      <a:pt x="275" y="53"/>
                    </a:cubicBezTo>
                    <a:cubicBezTo>
                      <a:pt x="272" y="44"/>
                      <a:pt x="272" y="47"/>
                      <a:pt x="271" y="34"/>
                    </a:cubicBezTo>
                    <a:cubicBezTo>
                      <a:pt x="263" y="37"/>
                      <a:pt x="258" y="41"/>
                      <a:pt x="250" y="44"/>
                    </a:cubicBezTo>
                    <a:cubicBezTo>
                      <a:pt x="248" y="45"/>
                      <a:pt x="244" y="48"/>
                      <a:pt x="244" y="48"/>
                    </a:cubicBezTo>
                    <a:cubicBezTo>
                      <a:pt x="230" y="47"/>
                      <a:pt x="218" y="46"/>
                      <a:pt x="204" y="44"/>
                    </a:cubicBezTo>
                    <a:cubicBezTo>
                      <a:pt x="201" y="41"/>
                      <a:pt x="200" y="36"/>
                      <a:pt x="196" y="35"/>
                    </a:cubicBezTo>
                    <a:cubicBezTo>
                      <a:pt x="193" y="31"/>
                      <a:pt x="191" y="31"/>
                      <a:pt x="186" y="30"/>
                    </a:cubicBezTo>
                    <a:cubicBezTo>
                      <a:pt x="183" y="22"/>
                      <a:pt x="163" y="16"/>
                      <a:pt x="155" y="13"/>
                    </a:cubicBezTo>
                    <a:cubicBezTo>
                      <a:pt x="150" y="6"/>
                      <a:pt x="150" y="6"/>
                      <a:pt x="145" y="4"/>
                    </a:cubicBezTo>
                    <a:cubicBezTo>
                      <a:pt x="145" y="4"/>
                      <a:pt x="141" y="0"/>
                      <a:pt x="139" y="1"/>
                    </a:cubicBezTo>
                    <a:cubicBezTo>
                      <a:pt x="137" y="2"/>
                      <a:pt x="133" y="7"/>
                      <a:pt x="133" y="7"/>
                    </a:cubicBezTo>
                    <a:cubicBezTo>
                      <a:pt x="132" y="13"/>
                      <a:pt x="126" y="19"/>
                      <a:pt x="119" y="22"/>
                    </a:cubicBezTo>
                    <a:cubicBezTo>
                      <a:pt x="116" y="23"/>
                      <a:pt x="109" y="25"/>
                      <a:pt x="109" y="25"/>
                    </a:cubicBezTo>
                    <a:cubicBezTo>
                      <a:pt x="104" y="32"/>
                      <a:pt x="107" y="41"/>
                      <a:pt x="110" y="49"/>
                    </a:cubicBezTo>
                    <a:cubicBezTo>
                      <a:pt x="108" y="54"/>
                      <a:pt x="96" y="58"/>
                      <a:pt x="91" y="64"/>
                    </a:cubicBezTo>
                    <a:cubicBezTo>
                      <a:pt x="93" y="71"/>
                      <a:pt x="94" y="74"/>
                      <a:pt x="95" y="82"/>
                    </a:cubicBezTo>
                    <a:cubicBezTo>
                      <a:pt x="92" y="84"/>
                      <a:pt x="88" y="89"/>
                      <a:pt x="85" y="90"/>
                    </a:cubicBezTo>
                    <a:cubicBezTo>
                      <a:pt x="78" y="89"/>
                      <a:pt x="78" y="89"/>
                      <a:pt x="76" y="83"/>
                    </a:cubicBezTo>
                    <a:cubicBezTo>
                      <a:pt x="71" y="84"/>
                      <a:pt x="67" y="85"/>
                      <a:pt x="62" y="86"/>
                    </a:cubicBezTo>
                    <a:cubicBezTo>
                      <a:pt x="52" y="84"/>
                      <a:pt x="63" y="88"/>
                      <a:pt x="56" y="72"/>
                    </a:cubicBezTo>
                    <a:cubicBezTo>
                      <a:pt x="55" y="71"/>
                      <a:pt x="55" y="75"/>
                      <a:pt x="54" y="76"/>
                    </a:cubicBezTo>
                    <a:cubicBezTo>
                      <a:pt x="52" y="79"/>
                      <a:pt x="52" y="79"/>
                      <a:pt x="49" y="82"/>
                    </a:cubicBezTo>
                    <a:cubicBezTo>
                      <a:pt x="48" y="84"/>
                      <a:pt x="48" y="86"/>
                      <a:pt x="47" y="88"/>
                    </a:cubicBezTo>
                    <a:cubicBezTo>
                      <a:pt x="46" y="90"/>
                      <a:pt x="41" y="90"/>
                      <a:pt x="41" y="90"/>
                    </a:cubicBezTo>
                    <a:cubicBezTo>
                      <a:pt x="39" y="90"/>
                      <a:pt x="36" y="90"/>
                      <a:pt x="34" y="89"/>
                    </a:cubicBezTo>
                    <a:cubicBezTo>
                      <a:pt x="33" y="89"/>
                      <a:pt x="33" y="86"/>
                      <a:pt x="32" y="86"/>
                    </a:cubicBezTo>
                    <a:cubicBezTo>
                      <a:pt x="28" y="86"/>
                      <a:pt x="20" y="89"/>
                      <a:pt x="20" y="89"/>
                    </a:cubicBezTo>
                    <a:cubicBezTo>
                      <a:pt x="15" y="92"/>
                      <a:pt x="10" y="95"/>
                      <a:pt x="5" y="96"/>
                    </a:cubicBezTo>
                    <a:cubicBezTo>
                      <a:pt x="4" y="96"/>
                      <a:pt x="0" y="95"/>
                      <a:pt x="1" y="95"/>
                    </a:cubicBezTo>
                    <a:cubicBezTo>
                      <a:pt x="3" y="95"/>
                      <a:pt x="5" y="94"/>
                      <a:pt x="6" y="96"/>
                    </a:cubicBezTo>
                    <a:cubicBezTo>
                      <a:pt x="12" y="113"/>
                      <a:pt x="3" y="113"/>
                      <a:pt x="16" y="122"/>
                    </a:cubicBezTo>
                    <a:cubicBezTo>
                      <a:pt x="18" y="127"/>
                      <a:pt x="18" y="133"/>
                      <a:pt x="22" y="136"/>
                    </a:cubicBezTo>
                    <a:cubicBezTo>
                      <a:pt x="30" y="132"/>
                      <a:pt x="30" y="123"/>
                      <a:pt x="34" y="115"/>
                    </a:cubicBezTo>
                    <a:cubicBezTo>
                      <a:pt x="35" y="109"/>
                      <a:pt x="35" y="104"/>
                      <a:pt x="40" y="101"/>
                    </a:cubicBezTo>
                    <a:cubicBezTo>
                      <a:pt x="45" y="94"/>
                      <a:pt x="44" y="94"/>
                      <a:pt x="52" y="97"/>
                    </a:cubicBezTo>
                    <a:cubicBezTo>
                      <a:pt x="55" y="101"/>
                      <a:pt x="64" y="104"/>
                      <a:pt x="64" y="104"/>
                    </a:cubicBezTo>
                    <a:cubicBezTo>
                      <a:pt x="67" y="108"/>
                      <a:pt x="72" y="109"/>
                      <a:pt x="76" y="112"/>
                    </a:cubicBezTo>
                    <a:cubicBezTo>
                      <a:pt x="78" y="113"/>
                      <a:pt x="82" y="114"/>
                      <a:pt x="82" y="114"/>
                    </a:cubicBezTo>
                    <a:cubicBezTo>
                      <a:pt x="75" y="123"/>
                      <a:pt x="78" y="138"/>
                      <a:pt x="88" y="145"/>
                    </a:cubicBezTo>
                    <a:cubicBezTo>
                      <a:pt x="90" y="151"/>
                      <a:pt x="90" y="153"/>
                      <a:pt x="95" y="156"/>
                    </a:cubicBezTo>
                    <a:cubicBezTo>
                      <a:pt x="96" y="161"/>
                      <a:pt x="98" y="165"/>
                      <a:pt x="103" y="168"/>
                    </a:cubicBezTo>
                    <a:cubicBezTo>
                      <a:pt x="104" y="174"/>
                      <a:pt x="107" y="186"/>
                      <a:pt x="112" y="191"/>
                    </a:cubicBezTo>
                    <a:cubicBezTo>
                      <a:pt x="115" y="194"/>
                      <a:pt x="121" y="199"/>
                      <a:pt x="121" y="199"/>
                    </a:cubicBezTo>
                    <a:cubicBezTo>
                      <a:pt x="122" y="203"/>
                      <a:pt x="126" y="208"/>
                      <a:pt x="130" y="210"/>
                    </a:cubicBezTo>
                    <a:cubicBezTo>
                      <a:pt x="136" y="233"/>
                      <a:pt x="173" y="228"/>
                      <a:pt x="192" y="229"/>
                    </a:cubicBezTo>
                    <a:cubicBezTo>
                      <a:pt x="195" y="231"/>
                      <a:pt x="202" y="236"/>
                      <a:pt x="202" y="236"/>
                    </a:cubicBezTo>
                    <a:cubicBezTo>
                      <a:pt x="203" y="240"/>
                      <a:pt x="205" y="245"/>
                      <a:pt x="209" y="246"/>
                    </a:cubicBezTo>
                    <a:cubicBezTo>
                      <a:pt x="212" y="252"/>
                      <a:pt x="221" y="257"/>
                      <a:pt x="226" y="262"/>
                    </a:cubicBezTo>
                    <a:cubicBezTo>
                      <a:pt x="229" y="265"/>
                      <a:pt x="239" y="266"/>
                      <a:pt x="239" y="266"/>
                    </a:cubicBezTo>
                    <a:cubicBezTo>
                      <a:pt x="242" y="270"/>
                      <a:pt x="246" y="274"/>
                      <a:pt x="251" y="275"/>
                    </a:cubicBezTo>
                    <a:cubicBezTo>
                      <a:pt x="255" y="276"/>
                      <a:pt x="262" y="278"/>
                      <a:pt x="262" y="278"/>
                    </a:cubicBezTo>
                    <a:cubicBezTo>
                      <a:pt x="264" y="280"/>
                      <a:pt x="265" y="281"/>
                      <a:pt x="266" y="282"/>
                    </a:cubicBezTo>
                    <a:lnTo>
                      <a:pt x="275" y="289"/>
                    </a:ln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19" name="Group 2487">
              <a:extLst>
                <a:ext uri="{FF2B5EF4-FFF2-40B4-BE49-F238E27FC236}">
                  <a16:creationId xmlns:a16="http://schemas.microsoft.com/office/drawing/2014/main" id="{47AC1FF0-88DA-4F6F-A8E3-EB634FC9AB02}"/>
                </a:ext>
              </a:extLst>
            </p:cNvPr>
            <p:cNvGrpSpPr>
              <a:grpSpLocks/>
            </p:cNvGrpSpPr>
            <p:nvPr>
              <p:custDataLst>
                <p:tags r:id="rId12"/>
              </p:custDataLst>
            </p:nvPr>
          </p:nvGrpSpPr>
          <p:grpSpPr bwMode="auto">
            <a:xfrm>
              <a:off x="4469925" y="4319530"/>
              <a:ext cx="943621" cy="1083947"/>
              <a:chOff x="1971" y="6871"/>
              <a:chExt cx="2639" cy="3027"/>
            </a:xfrm>
          </p:grpSpPr>
          <p:sp>
            <p:nvSpPr>
              <p:cNvPr id="295" name="Freeform 2488">
                <a:extLst>
                  <a:ext uri="{FF2B5EF4-FFF2-40B4-BE49-F238E27FC236}">
                    <a16:creationId xmlns:a16="http://schemas.microsoft.com/office/drawing/2014/main" id="{39E93108-C89B-4F52-96CF-BC6F31F62850}"/>
                  </a:ext>
                </a:extLst>
              </p:cNvPr>
              <p:cNvSpPr>
                <a:spLocks noChangeAspect="1"/>
              </p:cNvSpPr>
              <p:nvPr/>
            </p:nvSpPr>
            <p:spPr bwMode="auto">
              <a:xfrm>
                <a:off x="3259" y="9410"/>
                <a:ext cx="764" cy="488"/>
              </a:xfrm>
              <a:custGeom>
                <a:avLst/>
                <a:gdLst>
                  <a:gd name="T0" fmla="*/ 180 w 191"/>
                  <a:gd name="T1" fmla="*/ 0 h 122"/>
                  <a:gd name="T2" fmla="*/ 165 w 191"/>
                  <a:gd name="T3" fmla="*/ 8 h 122"/>
                  <a:gd name="T4" fmla="*/ 156 w 191"/>
                  <a:gd name="T5" fmla="*/ 14 h 122"/>
                  <a:gd name="T6" fmla="*/ 135 w 191"/>
                  <a:gd name="T7" fmla="*/ 13 h 122"/>
                  <a:gd name="T8" fmla="*/ 114 w 191"/>
                  <a:gd name="T9" fmla="*/ 25 h 122"/>
                  <a:gd name="T10" fmla="*/ 97 w 191"/>
                  <a:gd name="T11" fmla="*/ 24 h 122"/>
                  <a:gd name="T12" fmla="*/ 78 w 191"/>
                  <a:gd name="T13" fmla="*/ 33 h 122"/>
                  <a:gd name="T14" fmla="*/ 63 w 191"/>
                  <a:gd name="T15" fmla="*/ 26 h 122"/>
                  <a:gd name="T16" fmla="*/ 62 w 191"/>
                  <a:gd name="T17" fmla="*/ 21 h 122"/>
                  <a:gd name="T18" fmla="*/ 58 w 191"/>
                  <a:gd name="T19" fmla="*/ 20 h 122"/>
                  <a:gd name="T20" fmla="*/ 52 w 191"/>
                  <a:gd name="T21" fmla="*/ 13 h 122"/>
                  <a:gd name="T22" fmla="*/ 38 w 191"/>
                  <a:gd name="T23" fmla="*/ 18 h 122"/>
                  <a:gd name="T24" fmla="*/ 30 w 191"/>
                  <a:gd name="T25" fmla="*/ 27 h 122"/>
                  <a:gd name="T26" fmla="*/ 18 w 191"/>
                  <a:gd name="T27" fmla="*/ 19 h 122"/>
                  <a:gd name="T28" fmla="*/ 3 w 191"/>
                  <a:gd name="T29" fmla="*/ 27 h 122"/>
                  <a:gd name="T30" fmla="*/ 0 w 191"/>
                  <a:gd name="T31" fmla="*/ 33 h 122"/>
                  <a:gd name="T32" fmla="*/ 2 w 191"/>
                  <a:gd name="T33" fmla="*/ 39 h 122"/>
                  <a:gd name="T34" fmla="*/ 3 w 191"/>
                  <a:gd name="T35" fmla="*/ 55 h 122"/>
                  <a:gd name="T36" fmla="*/ 9 w 191"/>
                  <a:gd name="T37" fmla="*/ 57 h 122"/>
                  <a:gd name="T38" fmla="*/ 18 w 191"/>
                  <a:gd name="T39" fmla="*/ 66 h 122"/>
                  <a:gd name="T40" fmla="*/ 36 w 191"/>
                  <a:gd name="T41" fmla="*/ 65 h 122"/>
                  <a:gd name="T42" fmla="*/ 46 w 191"/>
                  <a:gd name="T43" fmla="*/ 69 h 122"/>
                  <a:gd name="T44" fmla="*/ 55 w 191"/>
                  <a:gd name="T45" fmla="*/ 73 h 122"/>
                  <a:gd name="T46" fmla="*/ 72 w 191"/>
                  <a:gd name="T47" fmla="*/ 85 h 122"/>
                  <a:gd name="T48" fmla="*/ 82 w 191"/>
                  <a:gd name="T49" fmla="*/ 92 h 122"/>
                  <a:gd name="T50" fmla="*/ 111 w 191"/>
                  <a:gd name="T51" fmla="*/ 95 h 122"/>
                  <a:gd name="T52" fmla="*/ 121 w 191"/>
                  <a:gd name="T53" fmla="*/ 103 h 122"/>
                  <a:gd name="T54" fmla="*/ 136 w 191"/>
                  <a:gd name="T55" fmla="*/ 120 h 122"/>
                  <a:gd name="T56" fmla="*/ 164 w 191"/>
                  <a:gd name="T57" fmla="*/ 122 h 122"/>
                  <a:gd name="T58" fmla="*/ 164 w 191"/>
                  <a:gd name="T59" fmla="*/ 111 h 122"/>
                  <a:gd name="T60" fmla="*/ 169 w 191"/>
                  <a:gd name="T61" fmla="*/ 102 h 122"/>
                  <a:gd name="T62" fmla="*/ 177 w 191"/>
                  <a:gd name="T63" fmla="*/ 92 h 122"/>
                  <a:gd name="T64" fmla="*/ 171 w 191"/>
                  <a:gd name="T65" fmla="*/ 84 h 122"/>
                  <a:gd name="T66" fmla="*/ 160 w 191"/>
                  <a:gd name="T67" fmla="*/ 73 h 122"/>
                  <a:gd name="T68" fmla="*/ 164 w 191"/>
                  <a:gd name="T69" fmla="*/ 56 h 122"/>
                  <a:gd name="T70" fmla="*/ 168 w 191"/>
                  <a:gd name="T71" fmla="*/ 50 h 122"/>
                  <a:gd name="T72" fmla="*/ 184 w 191"/>
                  <a:gd name="T73" fmla="*/ 18 h 122"/>
                  <a:gd name="T74" fmla="*/ 180 w 191"/>
                  <a:gd name="T75" fmla="*/ 0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1"/>
                  <a:gd name="T115" fmla="*/ 0 h 122"/>
                  <a:gd name="T116" fmla="*/ 191 w 191"/>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1" h="122">
                    <a:moveTo>
                      <a:pt x="180" y="0"/>
                    </a:moveTo>
                    <a:cubicBezTo>
                      <a:pt x="174" y="2"/>
                      <a:pt x="171" y="6"/>
                      <a:pt x="165" y="8"/>
                    </a:cubicBezTo>
                    <a:cubicBezTo>
                      <a:pt x="162" y="11"/>
                      <a:pt x="159" y="12"/>
                      <a:pt x="156" y="14"/>
                    </a:cubicBezTo>
                    <a:cubicBezTo>
                      <a:pt x="149" y="13"/>
                      <a:pt x="142" y="11"/>
                      <a:pt x="135" y="13"/>
                    </a:cubicBezTo>
                    <a:cubicBezTo>
                      <a:pt x="129" y="21"/>
                      <a:pt x="124" y="24"/>
                      <a:pt x="114" y="25"/>
                    </a:cubicBezTo>
                    <a:cubicBezTo>
                      <a:pt x="107" y="27"/>
                      <a:pt x="104" y="26"/>
                      <a:pt x="97" y="24"/>
                    </a:cubicBezTo>
                    <a:cubicBezTo>
                      <a:pt x="89" y="25"/>
                      <a:pt x="86" y="30"/>
                      <a:pt x="78" y="33"/>
                    </a:cubicBezTo>
                    <a:cubicBezTo>
                      <a:pt x="71" y="31"/>
                      <a:pt x="72" y="27"/>
                      <a:pt x="63" y="26"/>
                    </a:cubicBezTo>
                    <a:cubicBezTo>
                      <a:pt x="63" y="24"/>
                      <a:pt x="63" y="22"/>
                      <a:pt x="62" y="21"/>
                    </a:cubicBezTo>
                    <a:cubicBezTo>
                      <a:pt x="61" y="20"/>
                      <a:pt x="59" y="21"/>
                      <a:pt x="58" y="20"/>
                    </a:cubicBezTo>
                    <a:cubicBezTo>
                      <a:pt x="51" y="11"/>
                      <a:pt x="61" y="15"/>
                      <a:pt x="52" y="13"/>
                    </a:cubicBezTo>
                    <a:cubicBezTo>
                      <a:pt x="46" y="15"/>
                      <a:pt x="45" y="17"/>
                      <a:pt x="38" y="18"/>
                    </a:cubicBezTo>
                    <a:cubicBezTo>
                      <a:pt x="36" y="24"/>
                      <a:pt x="36" y="25"/>
                      <a:pt x="30" y="27"/>
                    </a:cubicBezTo>
                    <a:cubicBezTo>
                      <a:pt x="21" y="26"/>
                      <a:pt x="25" y="21"/>
                      <a:pt x="18" y="19"/>
                    </a:cubicBezTo>
                    <a:cubicBezTo>
                      <a:pt x="13" y="28"/>
                      <a:pt x="18" y="26"/>
                      <a:pt x="3" y="27"/>
                    </a:cubicBezTo>
                    <a:cubicBezTo>
                      <a:pt x="2" y="28"/>
                      <a:pt x="0" y="31"/>
                      <a:pt x="0" y="33"/>
                    </a:cubicBezTo>
                    <a:cubicBezTo>
                      <a:pt x="0" y="35"/>
                      <a:pt x="2" y="39"/>
                      <a:pt x="2" y="39"/>
                    </a:cubicBezTo>
                    <a:cubicBezTo>
                      <a:pt x="2" y="44"/>
                      <a:pt x="1" y="50"/>
                      <a:pt x="3" y="55"/>
                    </a:cubicBezTo>
                    <a:cubicBezTo>
                      <a:pt x="4" y="57"/>
                      <a:pt x="9" y="57"/>
                      <a:pt x="9" y="57"/>
                    </a:cubicBezTo>
                    <a:cubicBezTo>
                      <a:pt x="11" y="62"/>
                      <a:pt x="13" y="64"/>
                      <a:pt x="18" y="66"/>
                    </a:cubicBezTo>
                    <a:cubicBezTo>
                      <a:pt x="28" y="64"/>
                      <a:pt x="25" y="63"/>
                      <a:pt x="36" y="65"/>
                    </a:cubicBezTo>
                    <a:cubicBezTo>
                      <a:pt x="39" y="67"/>
                      <a:pt x="42" y="68"/>
                      <a:pt x="46" y="69"/>
                    </a:cubicBezTo>
                    <a:cubicBezTo>
                      <a:pt x="49" y="71"/>
                      <a:pt x="55" y="73"/>
                      <a:pt x="55" y="73"/>
                    </a:cubicBezTo>
                    <a:cubicBezTo>
                      <a:pt x="58" y="84"/>
                      <a:pt x="61" y="84"/>
                      <a:pt x="72" y="85"/>
                    </a:cubicBezTo>
                    <a:cubicBezTo>
                      <a:pt x="78" y="87"/>
                      <a:pt x="77" y="91"/>
                      <a:pt x="82" y="92"/>
                    </a:cubicBezTo>
                    <a:cubicBezTo>
                      <a:pt x="91" y="95"/>
                      <a:pt x="101" y="94"/>
                      <a:pt x="111" y="95"/>
                    </a:cubicBezTo>
                    <a:cubicBezTo>
                      <a:pt x="113" y="101"/>
                      <a:pt x="116" y="100"/>
                      <a:pt x="121" y="103"/>
                    </a:cubicBezTo>
                    <a:cubicBezTo>
                      <a:pt x="123" y="113"/>
                      <a:pt x="126" y="117"/>
                      <a:pt x="136" y="120"/>
                    </a:cubicBezTo>
                    <a:cubicBezTo>
                      <a:pt x="150" y="118"/>
                      <a:pt x="150" y="119"/>
                      <a:pt x="164" y="122"/>
                    </a:cubicBezTo>
                    <a:cubicBezTo>
                      <a:pt x="166" y="119"/>
                      <a:pt x="164" y="111"/>
                      <a:pt x="164" y="111"/>
                    </a:cubicBezTo>
                    <a:cubicBezTo>
                      <a:pt x="165" y="106"/>
                      <a:pt x="165" y="105"/>
                      <a:pt x="169" y="102"/>
                    </a:cubicBezTo>
                    <a:cubicBezTo>
                      <a:pt x="172" y="98"/>
                      <a:pt x="175" y="98"/>
                      <a:pt x="177" y="92"/>
                    </a:cubicBezTo>
                    <a:cubicBezTo>
                      <a:pt x="176" y="88"/>
                      <a:pt x="174" y="86"/>
                      <a:pt x="171" y="84"/>
                    </a:cubicBezTo>
                    <a:cubicBezTo>
                      <a:pt x="168" y="75"/>
                      <a:pt x="170" y="75"/>
                      <a:pt x="160" y="73"/>
                    </a:cubicBezTo>
                    <a:cubicBezTo>
                      <a:pt x="162" y="68"/>
                      <a:pt x="162" y="61"/>
                      <a:pt x="164" y="56"/>
                    </a:cubicBezTo>
                    <a:cubicBezTo>
                      <a:pt x="165" y="54"/>
                      <a:pt x="168" y="50"/>
                      <a:pt x="168" y="50"/>
                    </a:cubicBezTo>
                    <a:cubicBezTo>
                      <a:pt x="170" y="21"/>
                      <a:pt x="169" y="33"/>
                      <a:pt x="184" y="18"/>
                    </a:cubicBezTo>
                    <a:cubicBezTo>
                      <a:pt x="186" y="1"/>
                      <a:pt x="191" y="5"/>
                      <a:pt x="180"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96" name="Group 2489">
                <a:extLst>
                  <a:ext uri="{FF2B5EF4-FFF2-40B4-BE49-F238E27FC236}">
                    <a16:creationId xmlns:a16="http://schemas.microsoft.com/office/drawing/2014/main" id="{B6EF167A-A5B6-41F0-A40A-E4A65000E410}"/>
                  </a:ext>
                </a:extLst>
              </p:cNvPr>
              <p:cNvGrpSpPr>
                <a:grpSpLocks noChangeAspect="1"/>
              </p:cNvGrpSpPr>
              <p:nvPr/>
            </p:nvGrpSpPr>
            <p:grpSpPr bwMode="auto">
              <a:xfrm>
                <a:off x="1971" y="6871"/>
                <a:ext cx="2639" cy="2667"/>
                <a:chOff x="2499" y="3020"/>
                <a:chExt cx="660" cy="667"/>
              </a:xfrm>
            </p:grpSpPr>
            <p:sp>
              <p:nvSpPr>
                <p:cNvPr id="297" name="Freeform 2490">
                  <a:extLst>
                    <a:ext uri="{FF2B5EF4-FFF2-40B4-BE49-F238E27FC236}">
                      <a16:creationId xmlns:a16="http://schemas.microsoft.com/office/drawing/2014/main" id="{9EC0EA68-B374-4D52-8F2F-0FBCFE0A715F}"/>
                    </a:ext>
                  </a:extLst>
                </p:cNvPr>
                <p:cNvSpPr>
                  <a:spLocks noChangeAspect="1"/>
                </p:cNvSpPr>
                <p:nvPr/>
              </p:nvSpPr>
              <p:spPr bwMode="auto">
                <a:xfrm>
                  <a:off x="2575" y="3447"/>
                  <a:ext cx="92" cy="181"/>
                </a:xfrm>
                <a:custGeom>
                  <a:avLst/>
                  <a:gdLst>
                    <a:gd name="T0" fmla="*/ 61 w 92"/>
                    <a:gd name="T1" fmla="*/ 0 h 181"/>
                    <a:gd name="T2" fmla="*/ 52 w 92"/>
                    <a:gd name="T3" fmla="*/ 6 h 181"/>
                    <a:gd name="T4" fmla="*/ 45 w 92"/>
                    <a:gd name="T5" fmla="*/ 13 h 181"/>
                    <a:gd name="T6" fmla="*/ 33 w 92"/>
                    <a:gd name="T7" fmla="*/ 24 h 181"/>
                    <a:gd name="T8" fmla="*/ 21 w 92"/>
                    <a:gd name="T9" fmla="*/ 30 h 181"/>
                    <a:gd name="T10" fmla="*/ 10 w 92"/>
                    <a:gd name="T11" fmla="*/ 29 h 181"/>
                    <a:gd name="T12" fmla="*/ 3 w 92"/>
                    <a:gd name="T13" fmla="*/ 18 h 181"/>
                    <a:gd name="T14" fmla="*/ 0 w 92"/>
                    <a:gd name="T15" fmla="*/ 36 h 181"/>
                    <a:gd name="T16" fmla="*/ 7 w 92"/>
                    <a:gd name="T17" fmla="*/ 49 h 181"/>
                    <a:gd name="T18" fmla="*/ 13 w 92"/>
                    <a:gd name="T19" fmla="*/ 58 h 181"/>
                    <a:gd name="T20" fmla="*/ 18 w 92"/>
                    <a:gd name="T21" fmla="*/ 76 h 181"/>
                    <a:gd name="T22" fmla="*/ 21 w 92"/>
                    <a:gd name="T23" fmla="*/ 106 h 181"/>
                    <a:gd name="T24" fmla="*/ 15 w 92"/>
                    <a:gd name="T25" fmla="*/ 118 h 181"/>
                    <a:gd name="T26" fmla="*/ 12 w 92"/>
                    <a:gd name="T27" fmla="*/ 132 h 181"/>
                    <a:gd name="T28" fmla="*/ 14 w 92"/>
                    <a:gd name="T29" fmla="*/ 145 h 181"/>
                    <a:gd name="T30" fmla="*/ 8 w 92"/>
                    <a:gd name="T31" fmla="*/ 154 h 181"/>
                    <a:gd name="T32" fmla="*/ 8 w 92"/>
                    <a:gd name="T33" fmla="*/ 168 h 181"/>
                    <a:gd name="T34" fmla="*/ 18 w 92"/>
                    <a:gd name="T35" fmla="*/ 165 h 181"/>
                    <a:gd name="T36" fmla="*/ 24 w 92"/>
                    <a:gd name="T37" fmla="*/ 177 h 181"/>
                    <a:gd name="T38" fmla="*/ 36 w 92"/>
                    <a:gd name="T39" fmla="*/ 180 h 181"/>
                    <a:gd name="T40" fmla="*/ 48 w 92"/>
                    <a:gd name="T41" fmla="*/ 159 h 181"/>
                    <a:gd name="T42" fmla="*/ 55 w 92"/>
                    <a:gd name="T43" fmla="*/ 154 h 181"/>
                    <a:gd name="T44" fmla="*/ 72 w 92"/>
                    <a:gd name="T45" fmla="*/ 160 h 181"/>
                    <a:gd name="T46" fmla="*/ 84 w 92"/>
                    <a:gd name="T47" fmla="*/ 145 h 181"/>
                    <a:gd name="T48" fmla="*/ 91 w 92"/>
                    <a:gd name="T49" fmla="*/ 96 h 181"/>
                    <a:gd name="T50" fmla="*/ 81 w 92"/>
                    <a:gd name="T51" fmla="*/ 72 h 181"/>
                    <a:gd name="T52" fmla="*/ 86 w 92"/>
                    <a:gd name="T53" fmla="*/ 63 h 181"/>
                    <a:gd name="T54" fmla="*/ 90 w 92"/>
                    <a:gd name="T55" fmla="*/ 57 h 181"/>
                    <a:gd name="T56" fmla="*/ 90 w 92"/>
                    <a:gd name="T57" fmla="*/ 28 h 181"/>
                    <a:gd name="T58" fmla="*/ 79 w 92"/>
                    <a:gd name="T59" fmla="*/ 21 h 181"/>
                    <a:gd name="T60" fmla="*/ 79 w 92"/>
                    <a:gd name="T61" fmla="*/ 4 h 181"/>
                    <a:gd name="T62" fmla="*/ 61 w 92"/>
                    <a:gd name="T63" fmla="*/ 0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181"/>
                    <a:gd name="T98" fmla="*/ 92 w 92"/>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181">
                      <a:moveTo>
                        <a:pt x="61" y="0"/>
                      </a:moveTo>
                      <a:cubicBezTo>
                        <a:pt x="58" y="3"/>
                        <a:pt x="55" y="4"/>
                        <a:pt x="52" y="6"/>
                      </a:cubicBezTo>
                      <a:cubicBezTo>
                        <a:pt x="47" y="13"/>
                        <a:pt x="50" y="11"/>
                        <a:pt x="45" y="13"/>
                      </a:cubicBezTo>
                      <a:cubicBezTo>
                        <a:pt x="44" y="17"/>
                        <a:pt x="38" y="22"/>
                        <a:pt x="33" y="24"/>
                      </a:cubicBezTo>
                      <a:cubicBezTo>
                        <a:pt x="30" y="28"/>
                        <a:pt x="26" y="29"/>
                        <a:pt x="21" y="30"/>
                      </a:cubicBezTo>
                      <a:cubicBezTo>
                        <a:pt x="17" y="30"/>
                        <a:pt x="13" y="30"/>
                        <a:pt x="10" y="29"/>
                      </a:cubicBezTo>
                      <a:cubicBezTo>
                        <a:pt x="4" y="27"/>
                        <a:pt x="9" y="20"/>
                        <a:pt x="3" y="18"/>
                      </a:cubicBezTo>
                      <a:cubicBezTo>
                        <a:pt x="2" y="24"/>
                        <a:pt x="2" y="30"/>
                        <a:pt x="0" y="36"/>
                      </a:cubicBezTo>
                      <a:cubicBezTo>
                        <a:pt x="1" y="40"/>
                        <a:pt x="3" y="48"/>
                        <a:pt x="7" y="49"/>
                      </a:cubicBezTo>
                      <a:cubicBezTo>
                        <a:pt x="8" y="53"/>
                        <a:pt x="10" y="55"/>
                        <a:pt x="13" y="58"/>
                      </a:cubicBezTo>
                      <a:cubicBezTo>
                        <a:pt x="15" y="64"/>
                        <a:pt x="15" y="70"/>
                        <a:pt x="18" y="76"/>
                      </a:cubicBezTo>
                      <a:cubicBezTo>
                        <a:pt x="15" y="93"/>
                        <a:pt x="16" y="92"/>
                        <a:pt x="21" y="106"/>
                      </a:cubicBezTo>
                      <a:cubicBezTo>
                        <a:pt x="20" y="110"/>
                        <a:pt x="16" y="114"/>
                        <a:pt x="15" y="118"/>
                      </a:cubicBezTo>
                      <a:cubicBezTo>
                        <a:pt x="16" y="124"/>
                        <a:pt x="18" y="128"/>
                        <a:pt x="12" y="132"/>
                      </a:cubicBezTo>
                      <a:cubicBezTo>
                        <a:pt x="9" y="137"/>
                        <a:pt x="11" y="140"/>
                        <a:pt x="14" y="145"/>
                      </a:cubicBezTo>
                      <a:cubicBezTo>
                        <a:pt x="12" y="148"/>
                        <a:pt x="9" y="150"/>
                        <a:pt x="8" y="154"/>
                      </a:cubicBezTo>
                      <a:cubicBezTo>
                        <a:pt x="10" y="160"/>
                        <a:pt x="10" y="162"/>
                        <a:pt x="8" y="168"/>
                      </a:cubicBezTo>
                      <a:cubicBezTo>
                        <a:pt x="11" y="169"/>
                        <a:pt x="18" y="165"/>
                        <a:pt x="18" y="165"/>
                      </a:cubicBezTo>
                      <a:cubicBezTo>
                        <a:pt x="23" y="157"/>
                        <a:pt x="23" y="175"/>
                        <a:pt x="24" y="177"/>
                      </a:cubicBezTo>
                      <a:cubicBezTo>
                        <a:pt x="25" y="181"/>
                        <a:pt x="32" y="179"/>
                        <a:pt x="36" y="180"/>
                      </a:cubicBezTo>
                      <a:cubicBezTo>
                        <a:pt x="52" y="178"/>
                        <a:pt x="36" y="167"/>
                        <a:pt x="48" y="159"/>
                      </a:cubicBezTo>
                      <a:cubicBezTo>
                        <a:pt x="49" y="156"/>
                        <a:pt x="55" y="154"/>
                        <a:pt x="55" y="154"/>
                      </a:cubicBezTo>
                      <a:cubicBezTo>
                        <a:pt x="63" y="155"/>
                        <a:pt x="65" y="158"/>
                        <a:pt x="72" y="160"/>
                      </a:cubicBezTo>
                      <a:cubicBezTo>
                        <a:pt x="81" y="158"/>
                        <a:pt x="80" y="151"/>
                        <a:pt x="84" y="145"/>
                      </a:cubicBezTo>
                      <a:cubicBezTo>
                        <a:pt x="86" y="128"/>
                        <a:pt x="88" y="112"/>
                        <a:pt x="91" y="96"/>
                      </a:cubicBezTo>
                      <a:cubicBezTo>
                        <a:pt x="90" y="86"/>
                        <a:pt x="86" y="81"/>
                        <a:pt x="81" y="72"/>
                      </a:cubicBezTo>
                      <a:cubicBezTo>
                        <a:pt x="83" y="61"/>
                        <a:pt x="80" y="70"/>
                        <a:pt x="86" y="63"/>
                      </a:cubicBezTo>
                      <a:cubicBezTo>
                        <a:pt x="88" y="61"/>
                        <a:pt x="90" y="57"/>
                        <a:pt x="90" y="57"/>
                      </a:cubicBezTo>
                      <a:cubicBezTo>
                        <a:pt x="91" y="55"/>
                        <a:pt x="92" y="34"/>
                        <a:pt x="90" y="28"/>
                      </a:cubicBezTo>
                      <a:lnTo>
                        <a:pt x="79" y="21"/>
                      </a:lnTo>
                      <a:lnTo>
                        <a:pt x="79" y="4"/>
                      </a:lnTo>
                      <a:lnTo>
                        <a:pt x="61" y="0"/>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8" name="Freeform 2491">
                  <a:extLst>
                    <a:ext uri="{FF2B5EF4-FFF2-40B4-BE49-F238E27FC236}">
                      <a16:creationId xmlns:a16="http://schemas.microsoft.com/office/drawing/2014/main" id="{DEDA87DE-959F-4998-BF42-552AAF67C373}"/>
                    </a:ext>
                  </a:extLst>
                </p:cNvPr>
                <p:cNvSpPr>
                  <a:spLocks noChangeAspect="1"/>
                </p:cNvSpPr>
                <p:nvPr/>
              </p:nvSpPr>
              <p:spPr bwMode="auto">
                <a:xfrm>
                  <a:off x="2686" y="3330"/>
                  <a:ext cx="17" cy="14"/>
                </a:xfrm>
                <a:custGeom>
                  <a:avLst/>
                  <a:gdLst>
                    <a:gd name="T0" fmla="*/ 0 w 17"/>
                    <a:gd name="T1" fmla="*/ 3 h 14"/>
                    <a:gd name="T2" fmla="*/ 16 w 17"/>
                    <a:gd name="T3" fmla="*/ 2 h 14"/>
                    <a:gd name="T4" fmla="*/ 15 w 17"/>
                    <a:gd name="T5" fmla="*/ 14 h 14"/>
                    <a:gd name="T6" fmla="*/ 0 w 17"/>
                    <a:gd name="T7" fmla="*/ 3 h 14"/>
                    <a:gd name="T8" fmla="*/ 0 60000 65536"/>
                    <a:gd name="T9" fmla="*/ 0 60000 65536"/>
                    <a:gd name="T10" fmla="*/ 0 60000 65536"/>
                    <a:gd name="T11" fmla="*/ 0 60000 65536"/>
                    <a:gd name="T12" fmla="*/ 0 w 17"/>
                    <a:gd name="T13" fmla="*/ 0 h 14"/>
                    <a:gd name="T14" fmla="*/ 17 w 17"/>
                    <a:gd name="T15" fmla="*/ 14 h 14"/>
                  </a:gdLst>
                  <a:ahLst/>
                  <a:cxnLst>
                    <a:cxn ang="T8">
                      <a:pos x="T0" y="T1"/>
                    </a:cxn>
                    <a:cxn ang="T9">
                      <a:pos x="T2" y="T3"/>
                    </a:cxn>
                    <a:cxn ang="T10">
                      <a:pos x="T4" y="T5"/>
                    </a:cxn>
                    <a:cxn ang="T11">
                      <a:pos x="T6" y="T7"/>
                    </a:cxn>
                  </a:cxnLst>
                  <a:rect l="T12" t="T13" r="T14" b="T15"/>
                  <a:pathLst>
                    <a:path w="17" h="14">
                      <a:moveTo>
                        <a:pt x="0" y="3"/>
                      </a:moveTo>
                      <a:cubicBezTo>
                        <a:pt x="5" y="3"/>
                        <a:pt x="11" y="0"/>
                        <a:pt x="16" y="2"/>
                      </a:cubicBezTo>
                      <a:cubicBezTo>
                        <a:pt x="16" y="6"/>
                        <a:pt x="17" y="10"/>
                        <a:pt x="15" y="14"/>
                      </a:cubicBezTo>
                      <a:cubicBezTo>
                        <a:pt x="12" y="14"/>
                        <a:pt x="0" y="5"/>
                        <a:pt x="0" y="3"/>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9" name="Freeform 2492">
                  <a:extLst>
                    <a:ext uri="{FF2B5EF4-FFF2-40B4-BE49-F238E27FC236}">
                      <a16:creationId xmlns:a16="http://schemas.microsoft.com/office/drawing/2014/main" id="{0C3D0793-1411-416E-9619-B5DA552D4C85}"/>
                    </a:ext>
                  </a:extLst>
                </p:cNvPr>
                <p:cNvSpPr>
                  <a:spLocks noChangeAspect="1"/>
                </p:cNvSpPr>
                <p:nvPr/>
              </p:nvSpPr>
              <p:spPr bwMode="auto">
                <a:xfrm>
                  <a:off x="2499" y="3020"/>
                  <a:ext cx="660" cy="667"/>
                </a:xfrm>
                <a:custGeom>
                  <a:avLst/>
                  <a:gdLst>
                    <a:gd name="T0" fmla="*/ 355 w 660"/>
                    <a:gd name="T1" fmla="*/ 73 h 667"/>
                    <a:gd name="T2" fmla="*/ 353 w 660"/>
                    <a:gd name="T3" fmla="*/ 58 h 667"/>
                    <a:gd name="T4" fmla="*/ 302 w 660"/>
                    <a:gd name="T5" fmla="*/ 24 h 667"/>
                    <a:gd name="T6" fmla="*/ 280 w 660"/>
                    <a:gd name="T7" fmla="*/ 0 h 667"/>
                    <a:gd name="T8" fmla="*/ 211 w 660"/>
                    <a:gd name="T9" fmla="*/ 14 h 667"/>
                    <a:gd name="T10" fmla="*/ 184 w 660"/>
                    <a:gd name="T11" fmla="*/ 48 h 667"/>
                    <a:gd name="T12" fmla="*/ 155 w 660"/>
                    <a:gd name="T13" fmla="*/ 52 h 667"/>
                    <a:gd name="T14" fmla="*/ 137 w 660"/>
                    <a:gd name="T15" fmla="*/ 62 h 667"/>
                    <a:gd name="T16" fmla="*/ 118 w 660"/>
                    <a:gd name="T17" fmla="*/ 80 h 667"/>
                    <a:gd name="T18" fmla="*/ 88 w 660"/>
                    <a:gd name="T19" fmla="*/ 62 h 667"/>
                    <a:gd name="T20" fmla="*/ 53 w 660"/>
                    <a:gd name="T21" fmla="*/ 80 h 667"/>
                    <a:gd name="T22" fmla="*/ 22 w 660"/>
                    <a:gd name="T23" fmla="*/ 91 h 667"/>
                    <a:gd name="T24" fmla="*/ 5 w 660"/>
                    <a:gd name="T25" fmla="*/ 150 h 667"/>
                    <a:gd name="T26" fmla="*/ 32 w 660"/>
                    <a:gd name="T27" fmla="*/ 212 h 667"/>
                    <a:gd name="T28" fmla="*/ 64 w 660"/>
                    <a:gd name="T29" fmla="*/ 238 h 667"/>
                    <a:gd name="T30" fmla="*/ 100 w 660"/>
                    <a:gd name="T31" fmla="*/ 208 h 667"/>
                    <a:gd name="T32" fmla="*/ 131 w 660"/>
                    <a:gd name="T33" fmla="*/ 194 h 667"/>
                    <a:gd name="T34" fmla="*/ 176 w 660"/>
                    <a:gd name="T35" fmla="*/ 218 h 667"/>
                    <a:gd name="T36" fmla="*/ 236 w 660"/>
                    <a:gd name="T37" fmla="*/ 323 h 667"/>
                    <a:gd name="T38" fmla="*/ 266 w 660"/>
                    <a:gd name="T39" fmla="*/ 350 h 667"/>
                    <a:gd name="T40" fmla="*/ 335 w 660"/>
                    <a:gd name="T41" fmla="*/ 409 h 667"/>
                    <a:gd name="T42" fmla="*/ 388 w 660"/>
                    <a:gd name="T43" fmla="*/ 420 h 667"/>
                    <a:gd name="T44" fmla="*/ 424 w 660"/>
                    <a:gd name="T45" fmla="*/ 454 h 667"/>
                    <a:gd name="T46" fmla="*/ 502 w 660"/>
                    <a:gd name="T47" fmla="*/ 503 h 667"/>
                    <a:gd name="T48" fmla="*/ 535 w 660"/>
                    <a:gd name="T49" fmla="*/ 571 h 667"/>
                    <a:gd name="T50" fmla="*/ 527 w 660"/>
                    <a:gd name="T51" fmla="*/ 662 h 667"/>
                    <a:gd name="T52" fmla="*/ 551 w 660"/>
                    <a:gd name="T53" fmla="*/ 638 h 667"/>
                    <a:gd name="T54" fmla="*/ 592 w 660"/>
                    <a:gd name="T55" fmla="*/ 582 h 667"/>
                    <a:gd name="T56" fmla="*/ 557 w 660"/>
                    <a:gd name="T57" fmla="*/ 526 h 667"/>
                    <a:gd name="T58" fmla="*/ 583 w 660"/>
                    <a:gd name="T59" fmla="*/ 467 h 667"/>
                    <a:gd name="T60" fmla="*/ 635 w 660"/>
                    <a:gd name="T61" fmla="*/ 498 h 667"/>
                    <a:gd name="T62" fmla="*/ 659 w 660"/>
                    <a:gd name="T63" fmla="*/ 469 h 667"/>
                    <a:gd name="T64" fmla="*/ 608 w 660"/>
                    <a:gd name="T65" fmla="*/ 437 h 667"/>
                    <a:gd name="T66" fmla="*/ 566 w 660"/>
                    <a:gd name="T67" fmla="*/ 424 h 667"/>
                    <a:gd name="T68" fmla="*/ 516 w 660"/>
                    <a:gd name="T69" fmla="*/ 377 h 667"/>
                    <a:gd name="T70" fmla="*/ 469 w 660"/>
                    <a:gd name="T71" fmla="*/ 367 h 667"/>
                    <a:gd name="T72" fmla="*/ 398 w 660"/>
                    <a:gd name="T73" fmla="*/ 323 h 667"/>
                    <a:gd name="T74" fmla="*/ 350 w 660"/>
                    <a:gd name="T75" fmla="*/ 244 h 667"/>
                    <a:gd name="T76" fmla="*/ 314 w 660"/>
                    <a:gd name="T77" fmla="*/ 217 h 667"/>
                    <a:gd name="T78" fmla="*/ 305 w 660"/>
                    <a:gd name="T79" fmla="*/ 168 h 667"/>
                    <a:gd name="T80" fmla="*/ 299 w 660"/>
                    <a:gd name="T81" fmla="*/ 142 h 667"/>
                    <a:gd name="T82" fmla="*/ 336 w 660"/>
                    <a:gd name="T83" fmla="*/ 107 h 6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0"/>
                    <a:gd name="T127" fmla="*/ 0 h 667"/>
                    <a:gd name="T128" fmla="*/ 660 w 660"/>
                    <a:gd name="T129" fmla="*/ 667 h 6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grpSp>
          <p:nvGrpSpPr>
            <p:cNvPr id="220" name="Group 2493">
              <a:extLst>
                <a:ext uri="{FF2B5EF4-FFF2-40B4-BE49-F238E27FC236}">
                  <a16:creationId xmlns:a16="http://schemas.microsoft.com/office/drawing/2014/main" id="{C107DEC3-0A4A-4A0D-91A0-DA9F955B9825}"/>
                </a:ext>
              </a:extLst>
            </p:cNvPr>
            <p:cNvGrpSpPr>
              <a:grpSpLocks noChangeAspect="1"/>
            </p:cNvGrpSpPr>
            <p:nvPr>
              <p:custDataLst>
                <p:tags r:id="rId13"/>
              </p:custDataLst>
            </p:nvPr>
          </p:nvGrpSpPr>
          <p:grpSpPr bwMode="auto">
            <a:xfrm>
              <a:off x="3251380" y="4498518"/>
              <a:ext cx="1012352" cy="844819"/>
              <a:chOff x="1648" y="3145"/>
              <a:chExt cx="707" cy="590"/>
            </a:xfrm>
          </p:grpSpPr>
          <p:sp>
            <p:nvSpPr>
              <p:cNvPr id="290" name="Freeform 2494">
                <a:extLst>
                  <a:ext uri="{FF2B5EF4-FFF2-40B4-BE49-F238E27FC236}">
                    <a16:creationId xmlns:a16="http://schemas.microsoft.com/office/drawing/2014/main" id="{C75D7153-2903-4CC2-995A-3079EC70DB8B}"/>
                  </a:ext>
                </a:extLst>
              </p:cNvPr>
              <p:cNvSpPr>
                <a:spLocks noChangeAspect="1"/>
              </p:cNvSpPr>
              <p:nvPr/>
            </p:nvSpPr>
            <p:spPr bwMode="auto">
              <a:xfrm>
                <a:off x="2167" y="3576"/>
                <a:ext cx="27" cy="21"/>
              </a:xfrm>
              <a:custGeom>
                <a:avLst/>
                <a:gdLst>
                  <a:gd name="T0" fmla="*/ 25 w 27"/>
                  <a:gd name="T1" fmla="*/ 0 h 21"/>
                  <a:gd name="T2" fmla="*/ 0 w 27"/>
                  <a:gd name="T3" fmla="*/ 10 h 21"/>
                  <a:gd name="T4" fmla="*/ 10 w 27"/>
                  <a:gd name="T5" fmla="*/ 20 h 21"/>
                  <a:gd name="T6" fmla="*/ 27 w 27"/>
                  <a:gd name="T7" fmla="*/ 15 h 21"/>
                  <a:gd name="T8" fmla="*/ 19 w 27"/>
                  <a:gd name="T9" fmla="*/ 1 h 21"/>
                  <a:gd name="T10" fmla="*/ 9 w 27"/>
                  <a:gd name="T11" fmla="*/ 3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25" y="0"/>
                    </a:moveTo>
                    <a:cubicBezTo>
                      <a:pt x="5" y="2"/>
                      <a:pt x="12" y="2"/>
                      <a:pt x="0" y="10"/>
                    </a:cubicBezTo>
                    <a:cubicBezTo>
                      <a:pt x="1" y="15"/>
                      <a:pt x="10" y="20"/>
                      <a:pt x="10" y="20"/>
                    </a:cubicBezTo>
                    <a:cubicBezTo>
                      <a:pt x="16" y="19"/>
                      <a:pt x="23" y="21"/>
                      <a:pt x="27" y="15"/>
                    </a:cubicBezTo>
                    <a:cubicBezTo>
                      <a:pt x="25" y="10"/>
                      <a:pt x="24" y="3"/>
                      <a:pt x="19" y="1"/>
                    </a:cubicBezTo>
                    <a:cubicBezTo>
                      <a:pt x="16" y="2"/>
                      <a:pt x="9" y="3"/>
                      <a:pt x="9" y="3"/>
                    </a:cubicBezTo>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1" name="Freeform 2495">
                <a:extLst>
                  <a:ext uri="{FF2B5EF4-FFF2-40B4-BE49-F238E27FC236}">
                    <a16:creationId xmlns:a16="http://schemas.microsoft.com/office/drawing/2014/main" id="{2550E23D-D9D5-4CC8-97BE-2395AA817C13}"/>
                  </a:ext>
                </a:extLst>
              </p:cNvPr>
              <p:cNvSpPr>
                <a:spLocks noChangeAspect="1"/>
              </p:cNvSpPr>
              <p:nvPr/>
            </p:nvSpPr>
            <p:spPr bwMode="auto">
              <a:xfrm>
                <a:off x="2178" y="3606"/>
                <a:ext cx="23" cy="9"/>
              </a:xfrm>
              <a:custGeom>
                <a:avLst/>
                <a:gdLst>
                  <a:gd name="T0" fmla="*/ 1 w 23"/>
                  <a:gd name="T1" fmla="*/ 0 h 9"/>
                  <a:gd name="T2" fmla="*/ 3 w 23"/>
                  <a:gd name="T3" fmla="*/ 7 h 9"/>
                  <a:gd name="T4" fmla="*/ 1 w 23"/>
                  <a:gd name="T5" fmla="*/ 0 h 9"/>
                  <a:gd name="T6" fmla="*/ 0 60000 65536"/>
                  <a:gd name="T7" fmla="*/ 0 60000 65536"/>
                  <a:gd name="T8" fmla="*/ 0 60000 65536"/>
                  <a:gd name="T9" fmla="*/ 0 w 23"/>
                  <a:gd name="T10" fmla="*/ 0 h 9"/>
                  <a:gd name="T11" fmla="*/ 23 w 23"/>
                  <a:gd name="T12" fmla="*/ 9 h 9"/>
                </a:gdLst>
                <a:ahLst/>
                <a:cxnLst>
                  <a:cxn ang="T6">
                    <a:pos x="T0" y="T1"/>
                  </a:cxn>
                  <a:cxn ang="T7">
                    <a:pos x="T2" y="T3"/>
                  </a:cxn>
                  <a:cxn ang="T8">
                    <a:pos x="T4" y="T5"/>
                  </a:cxn>
                </a:cxnLst>
                <a:rect l="T9" t="T10" r="T11" b="T12"/>
                <a:pathLst>
                  <a:path w="23" h="9">
                    <a:moveTo>
                      <a:pt x="1" y="0"/>
                    </a:moveTo>
                    <a:cubicBezTo>
                      <a:pt x="23" y="2"/>
                      <a:pt x="19" y="9"/>
                      <a:pt x="3" y="7"/>
                    </a:cubicBezTo>
                    <a:cubicBezTo>
                      <a:pt x="0" y="3"/>
                      <a:pt x="1" y="5"/>
                      <a:pt x="1"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2" name="Freeform 2496">
                <a:extLst>
                  <a:ext uri="{FF2B5EF4-FFF2-40B4-BE49-F238E27FC236}">
                    <a16:creationId xmlns:a16="http://schemas.microsoft.com/office/drawing/2014/main" id="{CD95F11E-A7A7-4C13-A017-BB1F8BF76158}"/>
                  </a:ext>
                </a:extLst>
              </p:cNvPr>
              <p:cNvSpPr>
                <a:spLocks noChangeAspect="1"/>
              </p:cNvSpPr>
              <p:nvPr/>
            </p:nvSpPr>
            <p:spPr bwMode="auto">
              <a:xfrm>
                <a:off x="2239" y="3523"/>
                <a:ext cx="64" cy="50"/>
              </a:xfrm>
              <a:custGeom>
                <a:avLst/>
                <a:gdLst>
                  <a:gd name="T0" fmla="*/ 3 w 64"/>
                  <a:gd name="T1" fmla="*/ 19 h 50"/>
                  <a:gd name="T2" fmla="*/ 18 w 64"/>
                  <a:gd name="T3" fmla="*/ 14 h 50"/>
                  <a:gd name="T4" fmla="*/ 30 w 64"/>
                  <a:gd name="T5" fmla="*/ 6 h 50"/>
                  <a:gd name="T6" fmla="*/ 44 w 64"/>
                  <a:gd name="T7" fmla="*/ 0 h 50"/>
                  <a:gd name="T8" fmla="*/ 52 w 64"/>
                  <a:gd name="T9" fmla="*/ 21 h 50"/>
                  <a:gd name="T10" fmla="*/ 64 w 64"/>
                  <a:gd name="T11" fmla="*/ 18 h 50"/>
                  <a:gd name="T12" fmla="*/ 58 w 64"/>
                  <a:gd name="T13" fmla="*/ 32 h 50"/>
                  <a:gd name="T14" fmla="*/ 56 w 64"/>
                  <a:gd name="T15" fmla="*/ 35 h 50"/>
                  <a:gd name="T16" fmla="*/ 52 w 64"/>
                  <a:gd name="T17" fmla="*/ 37 h 50"/>
                  <a:gd name="T18" fmla="*/ 40 w 64"/>
                  <a:gd name="T19" fmla="*/ 50 h 50"/>
                  <a:gd name="T20" fmla="*/ 26 w 64"/>
                  <a:gd name="T21" fmla="*/ 42 h 50"/>
                  <a:gd name="T22" fmla="*/ 19 w 64"/>
                  <a:gd name="T23" fmla="*/ 31 h 50"/>
                  <a:gd name="T24" fmla="*/ 0 w 64"/>
                  <a:gd name="T25" fmla="*/ 25 h 50"/>
                  <a:gd name="T26" fmla="*/ 15 w 64"/>
                  <a:gd name="T27" fmla="*/ 15 h 50"/>
                  <a:gd name="T28" fmla="*/ 18 w 64"/>
                  <a:gd name="T29" fmla="*/ 14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50"/>
                  <a:gd name="T47" fmla="*/ 64 w 64"/>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50">
                    <a:moveTo>
                      <a:pt x="3" y="19"/>
                    </a:moveTo>
                    <a:cubicBezTo>
                      <a:pt x="8" y="17"/>
                      <a:pt x="13" y="16"/>
                      <a:pt x="18" y="14"/>
                    </a:cubicBezTo>
                    <a:cubicBezTo>
                      <a:pt x="23" y="12"/>
                      <a:pt x="25" y="8"/>
                      <a:pt x="30" y="6"/>
                    </a:cubicBezTo>
                    <a:cubicBezTo>
                      <a:pt x="33" y="2"/>
                      <a:pt x="44" y="0"/>
                      <a:pt x="44" y="0"/>
                    </a:cubicBezTo>
                    <a:cubicBezTo>
                      <a:pt x="55" y="3"/>
                      <a:pt x="43" y="15"/>
                      <a:pt x="52" y="21"/>
                    </a:cubicBezTo>
                    <a:cubicBezTo>
                      <a:pt x="60" y="16"/>
                      <a:pt x="56" y="17"/>
                      <a:pt x="64" y="18"/>
                    </a:cubicBezTo>
                    <a:cubicBezTo>
                      <a:pt x="63" y="24"/>
                      <a:pt x="63" y="29"/>
                      <a:pt x="58" y="32"/>
                    </a:cubicBezTo>
                    <a:cubicBezTo>
                      <a:pt x="57" y="33"/>
                      <a:pt x="57" y="34"/>
                      <a:pt x="56" y="35"/>
                    </a:cubicBezTo>
                    <a:cubicBezTo>
                      <a:pt x="55" y="36"/>
                      <a:pt x="53" y="36"/>
                      <a:pt x="52" y="37"/>
                    </a:cubicBezTo>
                    <a:cubicBezTo>
                      <a:pt x="45" y="45"/>
                      <a:pt x="52" y="44"/>
                      <a:pt x="40" y="50"/>
                    </a:cubicBezTo>
                    <a:cubicBezTo>
                      <a:pt x="35" y="46"/>
                      <a:pt x="33" y="43"/>
                      <a:pt x="26" y="42"/>
                    </a:cubicBezTo>
                    <a:cubicBezTo>
                      <a:pt x="24" y="36"/>
                      <a:pt x="24" y="34"/>
                      <a:pt x="19" y="31"/>
                    </a:cubicBezTo>
                    <a:cubicBezTo>
                      <a:pt x="3" y="32"/>
                      <a:pt x="0" y="38"/>
                      <a:pt x="0" y="25"/>
                    </a:cubicBezTo>
                    <a:cubicBezTo>
                      <a:pt x="0" y="19"/>
                      <a:pt x="10" y="17"/>
                      <a:pt x="15" y="15"/>
                    </a:cubicBezTo>
                    <a:cubicBezTo>
                      <a:pt x="16" y="15"/>
                      <a:pt x="18" y="14"/>
                      <a:pt x="18" y="14"/>
                    </a:cubicBezTo>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3" name="Freeform 2497">
                <a:extLst>
                  <a:ext uri="{FF2B5EF4-FFF2-40B4-BE49-F238E27FC236}">
                    <a16:creationId xmlns:a16="http://schemas.microsoft.com/office/drawing/2014/main" id="{7C4015FE-2649-4D22-9787-8CB85EF21F1D}"/>
                  </a:ext>
                </a:extLst>
              </p:cNvPr>
              <p:cNvSpPr>
                <a:spLocks noChangeAspect="1"/>
              </p:cNvSpPr>
              <p:nvPr/>
            </p:nvSpPr>
            <p:spPr bwMode="auto">
              <a:xfrm>
                <a:off x="2324" y="3522"/>
                <a:ext cx="31" cy="24"/>
              </a:xfrm>
              <a:custGeom>
                <a:avLst/>
                <a:gdLst>
                  <a:gd name="T0" fmla="*/ 1 w 31"/>
                  <a:gd name="T1" fmla="*/ 0 h 24"/>
                  <a:gd name="T2" fmla="*/ 24 w 31"/>
                  <a:gd name="T3" fmla="*/ 1 h 24"/>
                  <a:gd name="T4" fmla="*/ 29 w 31"/>
                  <a:gd name="T5" fmla="*/ 21 h 24"/>
                  <a:gd name="T6" fmla="*/ 19 w 31"/>
                  <a:gd name="T7" fmla="*/ 13 h 24"/>
                  <a:gd name="T8" fmla="*/ 6 w 31"/>
                  <a:gd name="T9" fmla="*/ 10 h 24"/>
                  <a:gd name="T10" fmla="*/ 1 w 31"/>
                  <a:gd name="T11" fmla="*/ 0 h 24"/>
                  <a:gd name="T12" fmla="*/ 0 60000 65536"/>
                  <a:gd name="T13" fmla="*/ 0 60000 65536"/>
                  <a:gd name="T14" fmla="*/ 0 60000 65536"/>
                  <a:gd name="T15" fmla="*/ 0 60000 65536"/>
                  <a:gd name="T16" fmla="*/ 0 60000 65536"/>
                  <a:gd name="T17" fmla="*/ 0 60000 65536"/>
                  <a:gd name="T18" fmla="*/ 0 w 31"/>
                  <a:gd name="T19" fmla="*/ 0 h 24"/>
                  <a:gd name="T20" fmla="*/ 31 w 3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1" h="24">
                    <a:moveTo>
                      <a:pt x="1" y="0"/>
                    </a:moveTo>
                    <a:cubicBezTo>
                      <a:pt x="9" y="0"/>
                      <a:pt x="16" y="0"/>
                      <a:pt x="24" y="1"/>
                    </a:cubicBezTo>
                    <a:cubicBezTo>
                      <a:pt x="31" y="2"/>
                      <a:pt x="29" y="21"/>
                      <a:pt x="29" y="21"/>
                    </a:cubicBezTo>
                    <a:cubicBezTo>
                      <a:pt x="21" y="24"/>
                      <a:pt x="24" y="16"/>
                      <a:pt x="19" y="13"/>
                    </a:cubicBezTo>
                    <a:cubicBezTo>
                      <a:pt x="15" y="11"/>
                      <a:pt x="10" y="11"/>
                      <a:pt x="6" y="10"/>
                    </a:cubicBezTo>
                    <a:cubicBezTo>
                      <a:pt x="0" y="6"/>
                      <a:pt x="0" y="9"/>
                      <a:pt x="1"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94" name="Freeform 2498">
                <a:extLst>
                  <a:ext uri="{FF2B5EF4-FFF2-40B4-BE49-F238E27FC236}">
                    <a16:creationId xmlns:a16="http://schemas.microsoft.com/office/drawing/2014/main" id="{33B8D5BC-531A-482A-A8CC-C2D0DC47282A}"/>
                  </a:ext>
                </a:extLst>
              </p:cNvPr>
              <p:cNvSpPr>
                <a:spLocks noChangeAspect="1"/>
              </p:cNvSpPr>
              <p:nvPr/>
            </p:nvSpPr>
            <p:spPr bwMode="auto">
              <a:xfrm>
                <a:off x="1648" y="3145"/>
                <a:ext cx="665" cy="590"/>
              </a:xfrm>
              <a:custGeom>
                <a:avLst/>
                <a:gdLst>
                  <a:gd name="T0" fmla="*/ 395 w 665"/>
                  <a:gd name="T1" fmla="*/ 96 h 590"/>
                  <a:gd name="T2" fmla="*/ 361 w 665"/>
                  <a:gd name="T3" fmla="*/ 90 h 590"/>
                  <a:gd name="T4" fmla="*/ 337 w 665"/>
                  <a:gd name="T5" fmla="*/ 86 h 590"/>
                  <a:gd name="T6" fmla="*/ 310 w 665"/>
                  <a:gd name="T7" fmla="*/ 71 h 590"/>
                  <a:gd name="T8" fmla="*/ 258 w 665"/>
                  <a:gd name="T9" fmla="*/ 61 h 590"/>
                  <a:gd name="T10" fmla="*/ 220 w 665"/>
                  <a:gd name="T11" fmla="*/ 53 h 590"/>
                  <a:gd name="T12" fmla="*/ 137 w 665"/>
                  <a:gd name="T13" fmla="*/ 26 h 590"/>
                  <a:gd name="T14" fmla="*/ 90 w 665"/>
                  <a:gd name="T15" fmla="*/ 2 h 590"/>
                  <a:gd name="T16" fmla="*/ 66 w 665"/>
                  <a:gd name="T17" fmla="*/ 18 h 590"/>
                  <a:gd name="T18" fmla="*/ 40 w 665"/>
                  <a:gd name="T19" fmla="*/ 23 h 590"/>
                  <a:gd name="T20" fmla="*/ 15 w 665"/>
                  <a:gd name="T21" fmla="*/ 20 h 590"/>
                  <a:gd name="T22" fmla="*/ 12 w 665"/>
                  <a:gd name="T23" fmla="*/ 102 h 590"/>
                  <a:gd name="T24" fmla="*/ 29 w 665"/>
                  <a:gd name="T25" fmla="*/ 115 h 590"/>
                  <a:gd name="T26" fmla="*/ 43 w 665"/>
                  <a:gd name="T27" fmla="*/ 133 h 590"/>
                  <a:gd name="T28" fmla="*/ 129 w 665"/>
                  <a:gd name="T29" fmla="*/ 147 h 590"/>
                  <a:gd name="T30" fmla="*/ 138 w 665"/>
                  <a:gd name="T31" fmla="*/ 182 h 590"/>
                  <a:gd name="T32" fmla="*/ 99 w 665"/>
                  <a:gd name="T33" fmla="*/ 212 h 590"/>
                  <a:gd name="T34" fmla="*/ 91 w 665"/>
                  <a:gd name="T35" fmla="*/ 247 h 590"/>
                  <a:gd name="T36" fmla="*/ 82 w 665"/>
                  <a:gd name="T37" fmla="*/ 275 h 590"/>
                  <a:gd name="T38" fmla="*/ 63 w 665"/>
                  <a:gd name="T39" fmla="*/ 303 h 590"/>
                  <a:gd name="T40" fmla="*/ 45 w 665"/>
                  <a:gd name="T41" fmla="*/ 309 h 590"/>
                  <a:gd name="T42" fmla="*/ 48 w 665"/>
                  <a:gd name="T43" fmla="*/ 362 h 590"/>
                  <a:gd name="T44" fmla="*/ 34 w 665"/>
                  <a:gd name="T45" fmla="*/ 392 h 590"/>
                  <a:gd name="T46" fmla="*/ 40 w 665"/>
                  <a:gd name="T47" fmla="*/ 409 h 590"/>
                  <a:gd name="T48" fmla="*/ 23 w 665"/>
                  <a:gd name="T49" fmla="*/ 428 h 590"/>
                  <a:gd name="T50" fmla="*/ 0 w 665"/>
                  <a:gd name="T51" fmla="*/ 461 h 590"/>
                  <a:gd name="T52" fmla="*/ 34 w 665"/>
                  <a:gd name="T53" fmla="*/ 492 h 590"/>
                  <a:gd name="T54" fmla="*/ 57 w 665"/>
                  <a:gd name="T55" fmla="*/ 537 h 590"/>
                  <a:gd name="T56" fmla="*/ 75 w 665"/>
                  <a:gd name="T57" fmla="*/ 590 h 590"/>
                  <a:gd name="T58" fmla="*/ 124 w 665"/>
                  <a:gd name="T59" fmla="*/ 572 h 590"/>
                  <a:gd name="T60" fmla="*/ 186 w 665"/>
                  <a:gd name="T61" fmla="*/ 554 h 590"/>
                  <a:gd name="T62" fmla="*/ 281 w 665"/>
                  <a:gd name="T63" fmla="*/ 567 h 590"/>
                  <a:gd name="T64" fmla="*/ 336 w 665"/>
                  <a:gd name="T65" fmla="*/ 537 h 590"/>
                  <a:gd name="T66" fmla="*/ 402 w 665"/>
                  <a:gd name="T67" fmla="*/ 518 h 590"/>
                  <a:gd name="T68" fmla="*/ 438 w 665"/>
                  <a:gd name="T69" fmla="*/ 455 h 590"/>
                  <a:gd name="T70" fmla="*/ 450 w 665"/>
                  <a:gd name="T71" fmla="*/ 425 h 590"/>
                  <a:gd name="T72" fmla="*/ 435 w 665"/>
                  <a:gd name="T73" fmla="*/ 405 h 590"/>
                  <a:gd name="T74" fmla="*/ 456 w 665"/>
                  <a:gd name="T75" fmla="*/ 371 h 590"/>
                  <a:gd name="T76" fmla="*/ 480 w 665"/>
                  <a:gd name="T77" fmla="*/ 341 h 590"/>
                  <a:gd name="T78" fmla="*/ 497 w 665"/>
                  <a:gd name="T79" fmla="*/ 315 h 590"/>
                  <a:gd name="T80" fmla="*/ 522 w 665"/>
                  <a:gd name="T81" fmla="*/ 297 h 590"/>
                  <a:gd name="T82" fmla="*/ 549 w 665"/>
                  <a:gd name="T83" fmla="*/ 281 h 590"/>
                  <a:gd name="T84" fmla="*/ 607 w 665"/>
                  <a:gd name="T85" fmla="*/ 267 h 590"/>
                  <a:gd name="T86" fmla="*/ 640 w 665"/>
                  <a:gd name="T87" fmla="*/ 251 h 590"/>
                  <a:gd name="T88" fmla="*/ 659 w 665"/>
                  <a:gd name="T89" fmla="*/ 191 h 590"/>
                  <a:gd name="T90" fmla="*/ 598 w 665"/>
                  <a:gd name="T91" fmla="*/ 193 h 590"/>
                  <a:gd name="T92" fmla="*/ 569 w 665"/>
                  <a:gd name="T93" fmla="*/ 170 h 590"/>
                  <a:gd name="T94" fmla="*/ 531 w 665"/>
                  <a:gd name="T95" fmla="*/ 162 h 590"/>
                  <a:gd name="T96" fmla="*/ 504 w 665"/>
                  <a:gd name="T97" fmla="*/ 159 h 590"/>
                  <a:gd name="T98" fmla="*/ 467 w 665"/>
                  <a:gd name="T99" fmla="*/ 143 h 590"/>
                  <a:gd name="T100" fmla="*/ 437 w 665"/>
                  <a:gd name="T101" fmla="*/ 131 h 590"/>
                  <a:gd name="T102" fmla="*/ 418 w 665"/>
                  <a:gd name="T103" fmla="*/ 89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21" name="Group 2499">
              <a:extLst>
                <a:ext uri="{FF2B5EF4-FFF2-40B4-BE49-F238E27FC236}">
                  <a16:creationId xmlns:a16="http://schemas.microsoft.com/office/drawing/2014/main" id="{79F2CE6D-1546-4587-B979-ABB5EAC38203}"/>
                </a:ext>
              </a:extLst>
            </p:cNvPr>
            <p:cNvGrpSpPr>
              <a:grpSpLocks/>
            </p:cNvGrpSpPr>
            <p:nvPr>
              <p:custDataLst>
                <p:tags r:id="rId14"/>
              </p:custDataLst>
            </p:nvPr>
          </p:nvGrpSpPr>
          <p:grpSpPr bwMode="auto">
            <a:xfrm>
              <a:off x="4459901" y="3496190"/>
              <a:ext cx="598533" cy="798999"/>
              <a:chOff x="2491" y="2445"/>
              <a:chExt cx="418" cy="558"/>
            </a:xfrm>
          </p:grpSpPr>
          <p:grpSp>
            <p:nvGrpSpPr>
              <p:cNvPr id="286" name="Group 2500">
                <a:extLst>
                  <a:ext uri="{FF2B5EF4-FFF2-40B4-BE49-F238E27FC236}">
                    <a16:creationId xmlns:a16="http://schemas.microsoft.com/office/drawing/2014/main" id="{7FB282E4-A4E3-40E2-9492-BCC520399797}"/>
                  </a:ext>
                </a:extLst>
              </p:cNvPr>
              <p:cNvGrpSpPr>
                <a:grpSpLocks noChangeAspect="1"/>
              </p:cNvGrpSpPr>
              <p:nvPr/>
            </p:nvGrpSpPr>
            <p:grpSpPr bwMode="auto">
              <a:xfrm>
                <a:off x="2491" y="2445"/>
                <a:ext cx="418" cy="558"/>
                <a:chOff x="2492" y="2445"/>
                <a:chExt cx="418" cy="558"/>
              </a:xfrm>
            </p:grpSpPr>
            <p:sp>
              <p:nvSpPr>
                <p:cNvPr id="288" name="Freeform 2501">
                  <a:extLst>
                    <a:ext uri="{FF2B5EF4-FFF2-40B4-BE49-F238E27FC236}">
                      <a16:creationId xmlns:a16="http://schemas.microsoft.com/office/drawing/2014/main" id="{2317C485-2F08-4982-AF22-BB004771AEED}"/>
                    </a:ext>
                  </a:extLst>
                </p:cNvPr>
                <p:cNvSpPr>
                  <a:spLocks noChangeAspect="1"/>
                </p:cNvSpPr>
                <p:nvPr/>
              </p:nvSpPr>
              <p:spPr bwMode="auto">
                <a:xfrm>
                  <a:off x="2606" y="2445"/>
                  <a:ext cx="12" cy="31"/>
                </a:xfrm>
                <a:custGeom>
                  <a:avLst/>
                  <a:gdLst>
                    <a:gd name="T0" fmla="*/ 6 w 12"/>
                    <a:gd name="T1" fmla="*/ 0 h 31"/>
                    <a:gd name="T2" fmla="*/ 0 w 12"/>
                    <a:gd name="T3" fmla="*/ 12 h 31"/>
                    <a:gd name="T4" fmla="*/ 3 w 12"/>
                    <a:gd name="T5" fmla="*/ 31 h 31"/>
                    <a:gd name="T6" fmla="*/ 6 w 12"/>
                    <a:gd name="T7" fmla="*/ 0 h 31"/>
                    <a:gd name="T8" fmla="*/ 0 60000 65536"/>
                    <a:gd name="T9" fmla="*/ 0 60000 65536"/>
                    <a:gd name="T10" fmla="*/ 0 60000 65536"/>
                    <a:gd name="T11" fmla="*/ 0 60000 65536"/>
                    <a:gd name="T12" fmla="*/ 0 w 12"/>
                    <a:gd name="T13" fmla="*/ 0 h 31"/>
                    <a:gd name="T14" fmla="*/ 12 w 12"/>
                    <a:gd name="T15" fmla="*/ 31 h 31"/>
                  </a:gdLst>
                  <a:ahLst/>
                  <a:cxnLst>
                    <a:cxn ang="T8">
                      <a:pos x="T0" y="T1"/>
                    </a:cxn>
                    <a:cxn ang="T9">
                      <a:pos x="T2" y="T3"/>
                    </a:cxn>
                    <a:cxn ang="T10">
                      <a:pos x="T4" y="T5"/>
                    </a:cxn>
                    <a:cxn ang="T11">
                      <a:pos x="T6" y="T7"/>
                    </a:cxn>
                  </a:cxnLst>
                  <a:rect l="T12" t="T13" r="T14" b="T15"/>
                  <a:pathLst>
                    <a:path w="12" h="31">
                      <a:moveTo>
                        <a:pt x="6" y="0"/>
                      </a:moveTo>
                      <a:cubicBezTo>
                        <a:pt x="5" y="4"/>
                        <a:pt x="0" y="12"/>
                        <a:pt x="0" y="12"/>
                      </a:cubicBezTo>
                      <a:cubicBezTo>
                        <a:pt x="1" y="18"/>
                        <a:pt x="2" y="25"/>
                        <a:pt x="3" y="31"/>
                      </a:cubicBezTo>
                      <a:cubicBezTo>
                        <a:pt x="12" y="22"/>
                        <a:pt x="8" y="11"/>
                        <a:pt x="6"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9" name="Freeform 2502">
                  <a:extLst>
                    <a:ext uri="{FF2B5EF4-FFF2-40B4-BE49-F238E27FC236}">
                      <a16:creationId xmlns:a16="http://schemas.microsoft.com/office/drawing/2014/main" id="{EC075DC5-CE53-4915-B76D-D9E110B9308F}"/>
                    </a:ext>
                  </a:extLst>
                </p:cNvPr>
                <p:cNvSpPr>
                  <a:spLocks noChangeAspect="1"/>
                </p:cNvSpPr>
                <p:nvPr/>
              </p:nvSpPr>
              <p:spPr bwMode="auto">
                <a:xfrm>
                  <a:off x="2492" y="2450"/>
                  <a:ext cx="418" cy="553"/>
                </a:xfrm>
                <a:custGeom>
                  <a:avLst/>
                  <a:gdLst>
                    <a:gd name="T0" fmla="*/ 351 w 418"/>
                    <a:gd name="T1" fmla="*/ 427 h 553"/>
                    <a:gd name="T2" fmla="*/ 335 w 418"/>
                    <a:gd name="T3" fmla="*/ 412 h 553"/>
                    <a:gd name="T4" fmla="*/ 320 w 418"/>
                    <a:gd name="T5" fmla="*/ 398 h 553"/>
                    <a:gd name="T6" fmla="*/ 303 w 418"/>
                    <a:gd name="T7" fmla="*/ 379 h 553"/>
                    <a:gd name="T8" fmla="*/ 287 w 418"/>
                    <a:gd name="T9" fmla="*/ 344 h 553"/>
                    <a:gd name="T10" fmla="*/ 313 w 418"/>
                    <a:gd name="T11" fmla="*/ 328 h 553"/>
                    <a:gd name="T12" fmla="*/ 354 w 418"/>
                    <a:gd name="T13" fmla="*/ 306 h 553"/>
                    <a:gd name="T14" fmla="*/ 371 w 418"/>
                    <a:gd name="T15" fmla="*/ 298 h 553"/>
                    <a:gd name="T16" fmla="*/ 398 w 418"/>
                    <a:gd name="T17" fmla="*/ 287 h 553"/>
                    <a:gd name="T18" fmla="*/ 411 w 418"/>
                    <a:gd name="T19" fmla="*/ 263 h 553"/>
                    <a:gd name="T20" fmla="*/ 411 w 418"/>
                    <a:gd name="T21" fmla="*/ 242 h 553"/>
                    <a:gd name="T22" fmla="*/ 393 w 418"/>
                    <a:gd name="T23" fmla="*/ 214 h 553"/>
                    <a:gd name="T24" fmla="*/ 392 w 418"/>
                    <a:gd name="T25" fmla="*/ 172 h 553"/>
                    <a:gd name="T26" fmla="*/ 381 w 418"/>
                    <a:gd name="T27" fmla="*/ 154 h 553"/>
                    <a:gd name="T28" fmla="*/ 371 w 418"/>
                    <a:gd name="T29" fmla="*/ 137 h 553"/>
                    <a:gd name="T30" fmla="*/ 371 w 418"/>
                    <a:gd name="T31" fmla="*/ 86 h 553"/>
                    <a:gd name="T32" fmla="*/ 345 w 418"/>
                    <a:gd name="T33" fmla="*/ 59 h 553"/>
                    <a:gd name="T34" fmla="*/ 326 w 418"/>
                    <a:gd name="T35" fmla="*/ 44 h 553"/>
                    <a:gd name="T36" fmla="*/ 303 w 418"/>
                    <a:gd name="T37" fmla="*/ 38 h 553"/>
                    <a:gd name="T38" fmla="*/ 254 w 418"/>
                    <a:gd name="T39" fmla="*/ 61 h 553"/>
                    <a:gd name="T40" fmla="*/ 233 w 418"/>
                    <a:gd name="T41" fmla="*/ 44 h 553"/>
                    <a:gd name="T42" fmla="*/ 195 w 418"/>
                    <a:gd name="T43" fmla="*/ 37 h 553"/>
                    <a:gd name="T44" fmla="*/ 162 w 418"/>
                    <a:gd name="T45" fmla="*/ 6 h 553"/>
                    <a:gd name="T46" fmla="*/ 129 w 418"/>
                    <a:gd name="T47" fmla="*/ 1 h 553"/>
                    <a:gd name="T48" fmla="*/ 138 w 418"/>
                    <a:gd name="T49" fmla="*/ 18 h 553"/>
                    <a:gd name="T50" fmla="*/ 141 w 418"/>
                    <a:gd name="T51" fmla="*/ 46 h 553"/>
                    <a:gd name="T52" fmla="*/ 131 w 418"/>
                    <a:gd name="T53" fmla="*/ 79 h 553"/>
                    <a:gd name="T54" fmla="*/ 117 w 418"/>
                    <a:gd name="T55" fmla="*/ 103 h 553"/>
                    <a:gd name="T56" fmla="*/ 92 w 418"/>
                    <a:gd name="T57" fmla="*/ 86 h 553"/>
                    <a:gd name="T58" fmla="*/ 63 w 418"/>
                    <a:gd name="T59" fmla="*/ 113 h 553"/>
                    <a:gd name="T60" fmla="*/ 63 w 418"/>
                    <a:gd name="T61" fmla="*/ 145 h 553"/>
                    <a:gd name="T62" fmla="*/ 51 w 418"/>
                    <a:gd name="T63" fmla="*/ 167 h 553"/>
                    <a:gd name="T64" fmla="*/ 39 w 418"/>
                    <a:gd name="T65" fmla="*/ 164 h 553"/>
                    <a:gd name="T66" fmla="*/ 57 w 418"/>
                    <a:gd name="T67" fmla="*/ 185 h 553"/>
                    <a:gd name="T68" fmla="*/ 44 w 418"/>
                    <a:gd name="T69" fmla="*/ 200 h 553"/>
                    <a:gd name="T70" fmla="*/ 9 w 418"/>
                    <a:gd name="T71" fmla="*/ 220 h 553"/>
                    <a:gd name="T72" fmla="*/ 13 w 418"/>
                    <a:gd name="T73" fmla="*/ 242 h 553"/>
                    <a:gd name="T74" fmla="*/ 0 w 418"/>
                    <a:gd name="T75" fmla="*/ 280 h 553"/>
                    <a:gd name="T76" fmla="*/ 3 w 418"/>
                    <a:gd name="T77" fmla="*/ 295 h 553"/>
                    <a:gd name="T78" fmla="*/ 18 w 418"/>
                    <a:gd name="T79" fmla="*/ 328 h 553"/>
                    <a:gd name="T80" fmla="*/ 7 w 418"/>
                    <a:gd name="T81" fmla="*/ 350 h 553"/>
                    <a:gd name="T82" fmla="*/ 18 w 418"/>
                    <a:gd name="T83" fmla="*/ 392 h 553"/>
                    <a:gd name="T84" fmla="*/ 65 w 418"/>
                    <a:gd name="T85" fmla="*/ 415 h 553"/>
                    <a:gd name="T86" fmla="*/ 102 w 418"/>
                    <a:gd name="T87" fmla="*/ 434 h 553"/>
                    <a:gd name="T88" fmla="*/ 81 w 418"/>
                    <a:gd name="T89" fmla="*/ 455 h 553"/>
                    <a:gd name="T90" fmla="*/ 66 w 418"/>
                    <a:gd name="T91" fmla="*/ 509 h 553"/>
                    <a:gd name="T92" fmla="*/ 111 w 418"/>
                    <a:gd name="T93" fmla="*/ 532 h 553"/>
                    <a:gd name="T94" fmla="*/ 111 w 418"/>
                    <a:gd name="T95" fmla="*/ 514 h 553"/>
                    <a:gd name="T96" fmla="*/ 134 w 418"/>
                    <a:gd name="T97" fmla="*/ 528 h 553"/>
                    <a:gd name="T98" fmla="*/ 157 w 418"/>
                    <a:gd name="T99" fmla="*/ 526 h 553"/>
                    <a:gd name="T100" fmla="*/ 188 w 418"/>
                    <a:gd name="T101" fmla="*/ 541 h 553"/>
                    <a:gd name="T102" fmla="*/ 204 w 418"/>
                    <a:gd name="T103" fmla="*/ 553 h 553"/>
                    <a:gd name="T104" fmla="*/ 231 w 418"/>
                    <a:gd name="T105" fmla="*/ 542 h 553"/>
                    <a:gd name="T106" fmla="*/ 258 w 418"/>
                    <a:gd name="T107" fmla="*/ 540 h 553"/>
                    <a:gd name="T108" fmla="*/ 299 w 418"/>
                    <a:gd name="T109" fmla="*/ 523 h 553"/>
                    <a:gd name="T110" fmla="*/ 324 w 418"/>
                    <a:gd name="T111" fmla="*/ 527 h 553"/>
                    <a:gd name="T112" fmla="*/ 333 w 418"/>
                    <a:gd name="T113" fmla="*/ 522 h 553"/>
                    <a:gd name="T114" fmla="*/ 320 w 418"/>
                    <a:gd name="T115" fmla="*/ 490 h 553"/>
                    <a:gd name="T116" fmla="*/ 348 w 418"/>
                    <a:gd name="T117" fmla="*/ 473 h 553"/>
                    <a:gd name="T118" fmla="*/ 369 w 418"/>
                    <a:gd name="T119" fmla="*/ 444 h 5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8"/>
                    <a:gd name="T181" fmla="*/ 0 h 553"/>
                    <a:gd name="T182" fmla="*/ 418 w 418"/>
                    <a:gd name="T183" fmla="*/ 553 h 5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87" name="Freeform 2503">
                <a:extLst>
                  <a:ext uri="{FF2B5EF4-FFF2-40B4-BE49-F238E27FC236}">
                    <a16:creationId xmlns:a16="http://schemas.microsoft.com/office/drawing/2014/main" id="{56C38599-EAE7-4D95-B1B8-05AA2857A5D8}"/>
                  </a:ext>
                </a:extLst>
              </p:cNvPr>
              <p:cNvSpPr>
                <a:spLocks noChangeAspect="1"/>
              </p:cNvSpPr>
              <p:nvPr/>
            </p:nvSpPr>
            <p:spPr bwMode="auto">
              <a:xfrm>
                <a:off x="2812" y="2466"/>
                <a:ext cx="24" cy="19"/>
              </a:xfrm>
              <a:custGeom>
                <a:avLst/>
                <a:gdLst>
                  <a:gd name="T0" fmla="*/ 4 w 24"/>
                  <a:gd name="T1" fmla="*/ 0 h 19"/>
                  <a:gd name="T2" fmla="*/ 9 w 24"/>
                  <a:gd name="T3" fmla="*/ 12 h 19"/>
                  <a:gd name="T4" fmla="*/ 15 w 24"/>
                  <a:gd name="T5" fmla="*/ 19 h 19"/>
                  <a:gd name="T6" fmla="*/ 18 w 24"/>
                  <a:gd name="T7" fmla="*/ 9 h 19"/>
                  <a:gd name="T8" fmla="*/ 9 w 24"/>
                  <a:gd name="T9" fmla="*/ 4 h 19"/>
                  <a:gd name="T10" fmla="*/ 3 w 24"/>
                  <a:gd name="T11" fmla="*/ 2 h 19"/>
                  <a:gd name="T12" fmla="*/ 4 w 24"/>
                  <a:gd name="T13" fmla="*/ 0 h 19"/>
                  <a:gd name="T14" fmla="*/ 0 60000 65536"/>
                  <a:gd name="T15" fmla="*/ 0 60000 65536"/>
                  <a:gd name="T16" fmla="*/ 0 60000 65536"/>
                  <a:gd name="T17" fmla="*/ 0 60000 65536"/>
                  <a:gd name="T18" fmla="*/ 0 60000 65536"/>
                  <a:gd name="T19" fmla="*/ 0 60000 65536"/>
                  <a:gd name="T20" fmla="*/ 0 60000 65536"/>
                  <a:gd name="T21" fmla="*/ 0 w 24"/>
                  <a:gd name="T22" fmla="*/ 0 h 19"/>
                  <a:gd name="T23" fmla="*/ 24 w 2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22" name="Group 2504">
              <a:extLst>
                <a:ext uri="{FF2B5EF4-FFF2-40B4-BE49-F238E27FC236}">
                  <a16:creationId xmlns:a16="http://schemas.microsoft.com/office/drawing/2014/main" id="{85E85226-A7BF-4704-8E75-880DDA568A50}"/>
                </a:ext>
              </a:extLst>
            </p:cNvPr>
            <p:cNvGrpSpPr>
              <a:grpSpLocks/>
            </p:cNvGrpSpPr>
            <p:nvPr>
              <p:custDataLst>
                <p:tags r:id="rId15"/>
              </p:custDataLst>
            </p:nvPr>
          </p:nvGrpSpPr>
          <p:grpSpPr bwMode="auto">
            <a:xfrm>
              <a:off x="4614546" y="3211242"/>
              <a:ext cx="426705" cy="337928"/>
              <a:chOff x="2599" y="2246"/>
              <a:chExt cx="298" cy="236"/>
            </a:xfrm>
          </p:grpSpPr>
          <p:sp>
            <p:nvSpPr>
              <p:cNvPr id="281" name="Freeform 2505">
                <a:extLst>
                  <a:ext uri="{FF2B5EF4-FFF2-40B4-BE49-F238E27FC236}">
                    <a16:creationId xmlns:a16="http://schemas.microsoft.com/office/drawing/2014/main" id="{43699733-1D5F-4AFE-B59A-DDD21A0C3D27}"/>
                  </a:ext>
                </a:extLst>
              </p:cNvPr>
              <p:cNvSpPr>
                <a:spLocks noChangeAspect="1"/>
              </p:cNvSpPr>
              <p:nvPr/>
            </p:nvSpPr>
            <p:spPr bwMode="auto">
              <a:xfrm>
                <a:off x="2868" y="2422"/>
                <a:ext cx="29" cy="24"/>
              </a:xfrm>
              <a:custGeom>
                <a:avLst/>
                <a:gdLst>
                  <a:gd name="T0" fmla="*/ 4 w 29"/>
                  <a:gd name="T1" fmla="*/ 0 h 24"/>
                  <a:gd name="T2" fmla="*/ 15 w 29"/>
                  <a:gd name="T3" fmla="*/ 4 h 24"/>
                  <a:gd name="T4" fmla="*/ 16 w 29"/>
                  <a:gd name="T5" fmla="*/ 24 h 24"/>
                  <a:gd name="T6" fmla="*/ 3 w 29"/>
                  <a:gd name="T7" fmla="*/ 18 h 24"/>
                  <a:gd name="T8" fmla="*/ 4 w 29"/>
                  <a:gd name="T9" fmla="*/ 0 h 24"/>
                  <a:gd name="T10" fmla="*/ 0 60000 65536"/>
                  <a:gd name="T11" fmla="*/ 0 60000 65536"/>
                  <a:gd name="T12" fmla="*/ 0 60000 65536"/>
                  <a:gd name="T13" fmla="*/ 0 60000 65536"/>
                  <a:gd name="T14" fmla="*/ 0 60000 65536"/>
                  <a:gd name="T15" fmla="*/ 0 w 29"/>
                  <a:gd name="T16" fmla="*/ 0 h 24"/>
                  <a:gd name="T17" fmla="*/ 29 w 29"/>
                  <a:gd name="T18" fmla="*/ 24 h 24"/>
                </a:gdLst>
                <a:ahLst/>
                <a:cxnLst>
                  <a:cxn ang="T10">
                    <a:pos x="T0" y="T1"/>
                  </a:cxn>
                  <a:cxn ang="T11">
                    <a:pos x="T2" y="T3"/>
                  </a:cxn>
                  <a:cxn ang="T12">
                    <a:pos x="T4" y="T5"/>
                  </a:cxn>
                  <a:cxn ang="T13">
                    <a:pos x="T6" y="T7"/>
                  </a:cxn>
                  <a:cxn ang="T14">
                    <a:pos x="T8" y="T9"/>
                  </a:cxn>
                </a:cxnLst>
                <a:rect l="T15" t="T16" r="T17" b="T18"/>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2" name="Freeform 2506">
                <a:extLst>
                  <a:ext uri="{FF2B5EF4-FFF2-40B4-BE49-F238E27FC236}">
                    <a16:creationId xmlns:a16="http://schemas.microsoft.com/office/drawing/2014/main" id="{36FF119C-FB99-44EA-AE94-1C66AB4C1DEE}"/>
                  </a:ext>
                </a:extLst>
              </p:cNvPr>
              <p:cNvSpPr>
                <a:spLocks noChangeAspect="1"/>
              </p:cNvSpPr>
              <p:nvPr/>
            </p:nvSpPr>
            <p:spPr bwMode="auto">
              <a:xfrm>
                <a:off x="2708" y="2364"/>
                <a:ext cx="79" cy="88"/>
              </a:xfrm>
              <a:custGeom>
                <a:avLst/>
                <a:gdLst>
                  <a:gd name="T0" fmla="*/ 60 w 79"/>
                  <a:gd name="T1" fmla="*/ 0 h 88"/>
                  <a:gd name="T2" fmla="*/ 49 w 79"/>
                  <a:gd name="T3" fmla="*/ 8 h 88"/>
                  <a:gd name="T4" fmla="*/ 53 w 79"/>
                  <a:gd name="T5" fmla="*/ 26 h 88"/>
                  <a:gd name="T6" fmla="*/ 52 w 79"/>
                  <a:gd name="T7" fmla="*/ 32 h 88"/>
                  <a:gd name="T8" fmla="*/ 42 w 79"/>
                  <a:gd name="T9" fmla="*/ 31 h 88"/>
                  <a:gd name="T10" fmla="*/ 40 w 79"/>
                  <a:gd name="T11" fmla="*/ 21 h 88"/>
                  <a:gd name="T12" fmla="*/ 23 w 79"/>
                  <a:gd name="T13" fmla="*/ 8 h 88"/>
                  <a:gd name="T14" fmla="*/ 17 w 79"/>
                  <a:gd name="T15" fmla="*/ 26 h 88"/>
                  <a:gd name="T16" fmla="*/ 12 w 79"/>
                  <a:gd name="T17" fmla="*/ 33 h 88"/>
                  <a:gd name="T18" fmla="*/ 19 w 79"/>
                  <a:gd name="T19" fmla="*/ 67 h 88"/>
                  <a:gd name="T20" fmla="*/ 32 w 79"/>
                  <a:gd name="T21" fmla="*/ 68 h 88"/>
                  <a:gd name="T22" fmla="*/ 40 w 79"/>
                  <a:gd name="T23" fmla="*/ 72 h 88"/>
                  <a:gd name="T24" fmla="*/ 52 w 79"/>
                  <a:gd name="T25" fmla="*/ 82 h 88"/>
                  <a:gd name="T26" fmla="*/ 61 w 79"/>
                  <a:gd name="T27" fmla="*/ 88 h 88"/>
                  <a:gd name="T28" fmla="*/ 58 w 79"/>
                  <a:gd name="T29" fmla="*/ 69 h 88"/>
                  <a:gd name="T30" fmla="*/ 70 w 79"/>
                  <a:gd name="T31" fmla="*/ 61 h 88"/>
                  <a:gd name="T32" fmla="*/ 61 w 79"/>
                  <a:gd name="T33" fmla="*/ 48 h 88"/>
                  <a:gd name="T34" fmla="*/ 76 w 79"/>
                  <a:gd name="T35" fmla="*/ 39 h 88"/>
                  <a:gd name="T36" fmla="*/ 73 w 79"/>
                  <a:gd name="T37" fmla="*/ 24 h 88"/>
                  <a:gd name="T38" fmla="*/ 76 w 79"/>
                  <a:gd name="T39" fmla="*/ 10 h 88"/>
                  <a:gd name="T40" fmla="*/ 76 w 79"/>
                  <a:gd name="T41" fmla="*/ 4 h 88"/>
                  <a:gd name="T42" fmla="*/ 60 w 79"/>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88"/>
                  <a:gd name="T68" fmla="*/ 79 w 79"/>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3" name="Freeform 2507">
                <a:extLst>
                  <a:ext uri="{FF2B5EF4-FFF2-40B4-BE49-F238E27FC236}">
                    <a16:creationId xmlns:a16="http://schemas.microsoft.com/office/drawing/2014/main" id="{E0924D40-4573-403E-9393-3DC894F54077}"/>
                  </a:ext>
                </a:extLst>
              </p:cNvPr>
              <p:cNvSpPr>
                <a:spLocks noChangeAspect="1"/>
              </p:cNvSpPr>
              <p:nvPr/>
            </p:nvSpPr>
            <p:spPr bwMode="auto">
              <a:xfrm>
                <a:off x="2717" y="2445"/>
                <a:ext cx="47" cy="37"/>
              </a:xfrm>
              <a:custGeom>
                <a:avLst/>
                <a:gdLst>
                  <a:gd name="T0" fmla="*/ 9 w 47"/>
                  <a:gd name="T1" fmla="*/ 3 h 37"/>
                  <a:gd name="T2" fmla="*/ 19 w 47"/>
                  <a:gd name="T3" fmla="*/ 9 h 37"/>
                  <a:gd name="T4" fmla="*/ 25 w 47"/>
                  <a:gd name="T5" fmla="*/ 13 h 37"/>
                  <a:gd name="T6" fmla="*/ 33 w 47"/>
                  <a:gd name="T7" fmla="*/ 11 h 37"/>
                  <a:gd name="T8" fmla="*/ 35 w 47"/>
                  <a:gd name="T9" fmla="*/ 3 h 37"/>
                  <a:gd name="T10" fmla="*/ 44 w 47"/>
                  <a:gd name="T11" fmla="*/ 12 h 37"/>
                  <a:gd name="T12" fmla="*/ 43 w 47"/>
                  <a:gd name="T13" fmla="*/ 21 h 37"/>
                  <a:gd name="T14" fmla="*/ 34 w 47"/>
                  <a:gd name="T15" fmla="*/ 18 h 37"/>
                  <a:gd name="T16" fmla="*/ 31 w 47"/>
                  <a:gd name="T17" fmla="*/ 27 h 37"/>
                  <a:gd name="T18" fmla="*/ 22 w 47"/>
                  <a:gd name="T19" fmla="*/ 30 h 37"/>
                  <a:gd name="T20" fmla="*/ 5 w 47"/>
                  <a:gd name="T21" fmla="*/ 12 h 37"/>
                  <a:gd name="T22" fmla="*/ 13 w 47"/>
                  <a:gd name="T23" fmla="*/ 0 h 37"/>
                  <a:gd name="T24" fmla="*/ 28 w 47"/>
                  <a:gd name="T25" fmla="*/ 9 h 37"/>
                  <a:gd name="T26" fmla="*/ 9 w 47"/>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
                  <a:gd name="T43" fmla="*/ 0 h 37"/>
                  <a:gd name="T44" fmla="*/ 47 w 4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4" name="Freeform 2508">
                <a:extLst>
                  <a:ext uri="{FF2B5EF4-FFF2-40B4-BE49-F238E27FC236}">
                    <a16:creationId xmlns:a16="http://schemas.microsoft.com/office/drawing/2014/main" id="{79750CCD-3E91-4893-9226-CFBE5B23A080}"/>
                  </a:ext>
                </a:extLst>
              </p:cNvPr>
              <p:cNvSpPr>
                <a:spLocks noChangeAspect="1"/>
              </p:cNvSpPr>
              <p:nvPr/>
            </p:nvSpPr>
            <p:spPr bwMode="auto">
              <a:xfrm>
                <a:off x="2608" y="2246"/>
                <a:ext cx="95" cy="76"/>
              </a:xfrm>
              <a:custGeom>
                <a:avLst/>
                <a:gdLst>
                  <a:gd name="T0" fmla="*/ 0 w 95"/>
                  <a:gd name="T1" fmla="*/ 72 h 76"/>
                  <a:gd name="T2" fmla="*/ 8 w 95"/>
                  <a:gd name="T3" fmla="*/ 54 h 76"/>
                  <a:gd name="T4" fmla="*/ 14 w 95"/>
                  <a:gd name="T5" fmla="*/ 46 h 76"/>
                  <a:gd name="T6" fmla="*/ 50 w 95"/>
                  <a:gd name="T7" fmla="*/ 40 h 76"/>
                  <a:gd name="T8" fmla="*/ 57 w 95"/>
                  <a:gd name="T9" fmla="*/ 29 h 76"/>
                  <a:gd name="T10" fmla="*/ 63 w 95"/>
                  <a:gd name="T11" fmla="*/ 22 h 76"/>
                  <a:gd name="T12" fmla="*/ 81 w 95"/>
                  <a:gd name="T13" fmla="*/ 10 h 76"/>
                  <a:gd name="T14" fmla="*/ 90 w 95"/>
                  <a:gd name="T15" fmla="*/ 4 h 76"/>
                  <a:gd name="T16" fmla="*/ 93 w 95"/>
                  <a:gd name="T17" fmla="*/ 1 h 76"/>
                  <a:gd name="T18" fmla="*/ 86 w 95"/>
                  <a:gd name="T19" fmla="*/ 11 h 76"/>
                  <a:gd name="T20" fmla="*/ 93 w 95"/>
                  <a:gd name="T21" fmla="*/ 22 h 76"/>
                  <a:gd name="T22" fmla="*/ 86 w 95"/>
                  <a:gd name="T23" fmla="*/ 43 h 76"/>
                  <a:gd name="T24" fmla="*/ 84 w 95"/>
                  <a:gd name="T25" fmla="*/ 46 h 76"/>
                  <a:gd name="T26" fmla="*/ 83 w 95"/>
                  <a:gd name="T27" fmla="*/ 53 h 76"/>
                  <a:gd name="T28" fmla="*/ 80 w 95"/>
                  <a:gd name="T29" fmla="*/ 47 h 76"/>
                  <a:gd name="T30" fmla="*/ 72 w 95"/>
                  <a:gd name="T31" fmla="*/ 44 h 76"/>
                  <a:gd name="T32" fmla="*/ 48 w 95"/>
                  <a:gd name="T33" fmla="*/ 49 h 76"/>
                  <a:gd name="T34" fmla="*/ 39 w 95"/>
                  <a:gd name="T35" fmla="*/ 54 h 76"/>
                  <a:gd name="T36" fmla="*/ 29 w 95"/>
                  <a:gd name="T37" fmla="*/ 52 h 76"/>
                  <a:gd name="T38" fmla="*/ 24 w 95"/>
                  <a:gd name="T39" fmla="*/ 58 h 76"/>
                  <a:gd name="T40" fmla="*/ 18 w 95"/>
                  <a:gd name="T41" fmla="*/ 60 h 76"/>
                  <a:gd name="T42" fmla="*/ 0 w 95"/>
                  <a:gd name="T43" fmla="*/ 72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5"/>
                  <a:gd name="T67" fmla="*/ 0 h 76"/>
                  <a:gd name="T68" fmla="*/ 95 w 95"/>
                  <a:gd name="T69" fmla="*/ 76 h 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5" name="Freeform 2509">
                <a:extLst>
                  <a:ext uri="{FF2B5EF4-FFF2-40B4-BE49-F238E27FC236}">
                    <a16:creationId xmlns:a16="http://schemas.microsoft.com/office/drawing/2014/main" id="{899CF079-6B2C-48A8-8C5C-251F792C91D9}"/>
                  </a:ext>
                </a:extLst>
              </p:cNvPr>
              <p:cNvSpPr>
                <a:spLocks noChangeAspect="1"/>
              </p:cNvSpPr>
              <p:nvPr/>
            </p:nvSpPr>
            <p:spPr bwMode="auto">
              <a:xfrm>
                <a:off x="2599" y="2294"/>
                <a:ext cx="117" cy="175"/>
              </a:xfrm>
              <a:custGeom>
                <a:avLst/>
                <a:gdLst>
                  <a:gd name="T0" fmla="*/ 21 w 117"/>
                  <a:gd name="T1" fmla="*/ 156 h 175"/>
                  <a:gd name="T2" fmla="*/ 20 w 117"/>
                  <a:gd name="T3" fmla="*/ 130 h 175"/>
                  <a:gd name="T4" fmla="*/ 12 w 117"/>
                  <a:gd name="T5" fmla="*/ 122 h 175"/>
                  <a:gd name="T6" fmla="*/ 7 w 117"/>
                  <a:gd name="T7" fmla="*/ 108 h 175"/>
                  <a:gd name="T8" fmla="*/ 5 w 117"/>
                  <a:gd name="T9" fmla="*/ 89 h 175"/>
                  <a:gd name="T10" fmla="*/ 2 w 117"/>
                  <a:gd name="T11" fmla="*/ 74 h 175"/>
                  <a:gd name="T12" fmla="*/ 17 w 117"/>
                  <a:gd name="T13" fmla="*/ 34 h 175"/>
                  <a:gd name="T14" fmla="*/ 24 w 117"/>
                  <a:gd name="T15" fmla="*/ 29 h 175"/>
                  <a:gd name="T16" fmla="*/ 33 w 117"/>
                  <a:gd name="T17" fmla="*/ 23 h 175"/>
                  <a:gd name="T18" fmla="*/ 53 w 117"/>
                  <a:gd name="T19" fmla="*/ 10 h 175"/>
                  <a:gd name="T20" fmla="*/ 68 w 117"/>
                  <a:gd name="T21" fmla="*/ 2 h 175"/>
                  <a:gd name="T22" fmla="*/ 86 w 117"/>
                  <a:gd name="T23" fmla="*/ 5 h 175"/>
                  <a:gd name="T24" fmla="*/ 92 w 117"/>
                  <a:gd name="T25" fmla="*/ 25 h 175"/>
                  <a:gd name="T26" fmla="*/ 99 w 117"/>
                  <a:gd name="T27" fmla="*/ 37 h 175"/>
                  <a:gd name="T28" fmla="*/ 114 w 117"/>
                  <a:gd name="T29" fmla="*/ 41 h 175"/>
                  <a:gd name="T30" fmla="*/ 110 w 117"/>
                  <a:gd name="T31" fmla="*/ 59 h 175"/>
                  <a:gd name="T32" fmla="*/ 105 w 117"/>
                  <a:gd name="T33" fmla="*/ 67 h 175"/>
                  <a:gd name="T34" fmla="*/ 92 w 117"/>
                  <a:gd name="T35" fmla="*/ 78 h 175"/>
                  <a:gd name="T36" fmla="*/ 81 w 117"/>
                  <a:gd name="T37" fmla="*/ 97 h 175"/>
                  <a:gd name="T38" fmla="*/ 72 w 117"/>
                  <a:gd name="T39" fmla="*/ 109 h 175"/>
                  <a:gd name="T40" fmla="*/ 96 w 117"/>
                  <a:gd name="T41" fmla="*/ 108 h 175"/>
                  <a:gd name="T42" fmla="*/ 107 w 117"/>
                  <a:gd name="T43" fmla="*/ 124 h 175"/>
                  <a:gd name="T44" fmla="*/ 110 w 117"/>
                  <a:gd name="T45" fmla="*/ 133 h 175"/>
                  <a:gd name="T46" fmla="*/ 98 w 117"/>
                  <a:gd name="T47" fmla="*/ 156 h 175"/>
                  <a:gd name="T48" fmla="*/ 90 w 117"/>
                  <a:gd name="T49" fmla="*/ 138 h 175"/>
                  <a:gd name="T50" fmla="*/ 72 w 117"/>
                  <a:gd name="T51" fmla="*/ 131 h 175"/>
                  <a:gd name="T52" fmla="*/ 62 w 117"/>
                  <a:gd name="T53" fmla="*/ 132 h 175"/>
                  <a:gd name="T54" fmla="*/ 71 w 117"/>
                  <a:gd name="T55" fmla="*/ 162 h 175"/>
                  <a:gd name="T56" fmla="*/ 79 w 117"/>
                  <a:gd name="T57" fmla="*/ 175 h 175"/>
                  <a:gd name="T58" fmla="*/ 75 w 117"/>
                  <a:gd name="T59" fmla="*/ 172 h 175"/>
                  <a:gd name="T60" fmla="*/ 41 w 117"/>
                  <a:gd name="T61" fmla="*/ 162 h 175"/>
                  <a:gd name="T62" fmla="*/ 21 w 117"/>
                  <a:gd name="T63" fmla="*/ 156 h 1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7"/>
                  <a:gd name="T97" fmla="*/ 0 h 175"/>
                  <a:gd name="T98" fmla="*/ 117 w 117"/>
                  <a:gd name="T99" fmla="*/ 175 h 1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23" name="Freeform 2510">
              <a:extLst>
                <a:ext uri="{FF2B5EF4-FFF2-40B4-BE49-F238E27FC236}">
                  <a16:creationId xmlns:a16="http://schemas.microsoft.com/office/drawing/2014/main" id="{94C7D45D-11D0-4502-AA57-43D8BC93168C}"/>
                </a:ext>
              </a:extLst>
            </p:cNvPr>
            <p:cNvSpPr>
              <a:spLocks noChangeAspect="1"/>
            </p:cNvSpPr>
            <p:nvPr>
              <p:custDataLst>
                <p:tags r:id="rId16"/>
              </p:custDataLst>
            </p:nvPr>
          </p:nvSpPr>
          <p:spPr bwMode="auto">
            <a:xfrm>
              <a:off x="3434663" y="3331521"/>
              <a:ext cx="313586" cy="363702"/>
            </a:xfrm>
            <a:custGeom>
              <a:avLst/>
              <a:gdLst>
                <a:gd name="T0" fmla="*/ 208 w 219"/>
                <a:gd name="T1" fmla="*/ 104 h 254"/>
                <a:gd name="T2" fmla="*/ 194 w 219"/>
                <a:gd name="T3" fmla="*/ 85 h 254"/>
                <a:gd name="T4" fmla="*/ 172 w 219"/>
                <a:gd name="T5" fmla="*/ 91 h 254"/>
                <a:gd name="T6" fmla="*/ 149 w 219"/>
                <a:gd name="T7" fmla="*/ 71 h 254"/>
                <a:gd name="T8" fmla="*/ 159 w 219"/>
                <a:gd name="T9" fmla="*/ 56 h 254"/>
                <a:gd name="T10" fmla="*/ 182 w 219"/>
                <a:gd name="T11" fmla="*/ 38 h 254"/>
                <a:gd name="T12" fmla="*/ 200 w 219"/>
                <a:gd name="T13" fmla="*/ 19 h 254"/>
                <a:gd name="T14" fmla="*/ 188 w 219"/>
                <a:gd name="T15" fmla="*/ 7 h 254"/>
                <a:gd name="T16" fmla="*/ 181 w 219"/>
                <a:gd name="T17" fmla="*/ 25 h 254"/>
                <a:gd name="T18" fmla="*/ 149 w 219"/>
                <a:gd name="T19" fmla="*/ 18 h 254"/>
                <a:gd name="T20" fmla="*/ 131 w 219"/>
                <a:gd name="T21" fmla="*/ 35 h 254"/>
                <a:gd name="T22" fmla="*/ 135 w 219"/>
                <a:gd name="T23" fmla="*/ 44 h 254"/>
                <a:gd name="T24" fmla="*/ 140 w 219"/>
                <a:gd name="T25" fmla="*/ 59 h 254"/>
                <a:gd name="T26" fmla="*/ 124 w 219"/>
                <a:gd name="T27" fmla="*/ 71 h 254"/>
                <a:gd name="T28" fmla="*/ 95 w 219"/>
                <a:gd name="T29" fmla="*/ 59 h 254"/>
                <a:gd name="T30" fmla="*/ 63 w 219"/>
                <a:gd name="T31" fmla="*/ 58 h 254"/>
                <a:gd name="T32" fmla="*/ 61 w 219"/>
                <a:gd name="T33" fmla="*/ 82 h 254"/>
                <a:gd name="T34" fmla="*/ 59 w 219"/>
                <a:gd name="T35" fmla="*/ 90 h 254"/>
                <a:gd name="T36" fmla="*/ 45 w 219"/>
                <a:gd name="T37" fmla="*/ 106 h 254"/>
                <a:gd name="T38" fmla="*/ 94 w 219"/>
                <a:gd name="T39" fmla="*/ 134 h 254"/>
                <a:gd name="T40" fmla="*/ 64 w 219"/>
                <a:gd name="T41" fmla="*/ 150 h 254"/>
                <a:gd name="T42" fmla="*/ 44 w 219"/>
                <a:gd name="T43" fmla="*/ 173 h 254"/>
                <a:gd name="T44" fmla="*/ 53 w 219"/>
                <a:gd name="T45" fmla="*/ 180 h 254"/>
                <a:gd name="T46" fmla="*/ 29 w 219"/>
                <a:gd name="T47" fmla="*/ 196 h 254"/>
                <a:gd name="T48" fmla="*/ 13 w 219"/>
                <a:gd name="T49" fmla="*/ 187 h 254"/>
                <a:gd name="T50" fmla="*/ 4 w 219"/>
                <a:gd name="T51" fmla="*/ 202 h 254"/>
                <a:gd name="T52" fmla="*/ 23 w 219"/>
                <a:gd name="T53" fmla="*/ 200 h 254"/>
                <a:gd name="T54" fmla="*/ 4 w 219"/>
                <a:gd name="T55" fmla="*/ 217 h 254"/>
                <a:gd name="T56" fmla="*/ 29 w 219"/>
                <a:gd name="T57" fmla="*/ 222 h 254"/>
                <a:gd name="T58" fmla="*/ 5 w 219"/>
                <a:gd name="T59" fmla="*/ 236 h 254"/>
                <a:gd name="T60" fmla="*/ 26 w 219"/>
                <a:gd name="T61" fmla="*/ 250 h 254"/>
                <a:gd name="T62" fmla="*/ 79 w 219"/>
                <a:gd name="T63" fmla="*/ 248 h 254"/>
                <a:gd name="T64" fmla="*/ 119 w 219"/>
                <a:gd name="T65" fmla="*/ 244 h 254"/>
                <a:gd name="T66" fmla="*/ 148 w 219"/>
                <a:gd name="T67" fmla="*/ 230 h 254"/>
                <a:gd name="T68" fmla="*/ 185 w 219"/>
                <a:gd name="T69" fmla="*/ 220 h 254"/>
                <a:gd name="T70" fmla="*/ 203 w 219"/>
                <a:gd name="T71" fmla="*/ 196 h 254"/>
                <a:gd name="T72" fmla="*/ 208 w 219"/>
                <a:gd name="T73" fmla="*/ 187 h 254"/>
                <a:gd name="T74" fmla="*/ 207 w 219"/>
                <a:gd name="T75" fmla="*/ 134 h 254"/>
                <a:gd name="T76" fmla="*/ 217 w 219"/>
                <a:gd name="T77" fmla="*/ 110 h 2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9"/>
                <a:gd name="T118" fmla="*/ 0 h 254"/>
                <a:gd name="T119" fmla="*/ 219 w 219"/>
                <a:gd name="T120" fmla="*/ 254 h 2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24" name="Group 2511">
              <a:extLst>
                <a:ext uri="{FF2B5EF4-FFF2-40B4-BE49-F238E27FC236}">
                  <a16:creationId xmlns:a16="http://schemas.microsoft.com/office/drawing/2014/main" id="{73A74A50-CD91-4136-96AC-3176B8C5663D}"/>
                </a:ext>
              </a:extLst>
            </p:cNvPr>
            <p:cNvGrpSpPr>
              <a:grpSpLocks noChangeAspect="1"/>
            </p:cNvGrpSpPr>
            <p:nvPr>
              <p:custDataLst>
                <p:tags r:id="rId17"/>
              </p:custDataLst>
            </p:nvPr>
          </p:nvGrpSpPr>
          <p:grpSpPr bwMode="auto">
            <a:xfrm>
              <a:off x="4782079" y="1978379"/>
              <a:ext cx="565600" cy="1476286"/>
              <a:chOff x="2717" y="1385"/>
              <a:chExt cx="395" cy="1031"/>
            </a:xfrm>
          </p:grpSpPr>
          <p:sp>
            <p:nvSpPr>
              <p:cNvPr id="278" name="Freeform 2512">
                <a:extLst>
                  <a:ext uri="{FF2B5EF4-FFF2-40B4-BE49-F238E27FC236}">
                    <a16:creationId xmlns:a16="http://schemas.microsoft.com/office/drawing/2014/main" id="{FA48A879-B22E-4971-9DF6-956C7AEF547A}"/>
                  </a:ext>
                </a:extLst>
              </p:cNvPr>
              <p:cNvSpPr>
                <a:spLocks noChangeAspect="1"/>
              </p:cNvSpPr>
              <p:nvPr/>
            </p:nvSpPr>
            <p:spPr bwMode="auto">
              <a:xfrm>
                <a:off x="2998" y="2203"/>
                <a:ext cx="50" cy="89"/>
              </a:xfrm>
              <a:custGeom>
                <a:avLst/>
                <a:gdLst>
                  <a:gd name="T0" fmla="*/ 42 w 50"/>
                  <a:gd name="T1" fmla="*/ 3 h 89"/>
                  <a:gd name="T2" fmla="*/ 24 w 50"/>
                  <a:gd name="T3" fmla="*/ 14 h 89"/>
                  <a:gd name="T4" fmla="*/ 15 w 50"/>
                  <a:gd name="T5" fmla="*/ 19 h 89"/>
                  <a:gd name="T6" fmla="*/ 0 w 50"/>
                  <a:gd name="T7" fmla="*/ 38 h 89"/>
                  <a:gd name="T8" fmla="*/ 4 w 50"/>
                  <a:gd name="T9" fmla="*/ 51 h 89"/>
                  <a:gd name="T10" fmla="*/ 0 w 50"/>
                  <a:gd name="T11" fmla="*/ 62 h 89"/>
                  <a:gd name="T12" fmla="*/ 7 w 50"/>
                  <a:gd name="T13" fmla="*/ 72 h 89"/>
                  <a:gd name="T14" fmla="*/ 6 w 50"/>
                  <a:gd name="T15" fmla="*/ 81 h 89"/>
                  <a:gd name="T16" fmla="*/ 13 w 50"/>
                  <a:gd name="T17" fmla="*/ 83 h 89"/>
                  <a:gd name="T18" fmla="*/ 23 w 50"/>
                  <a:gd name="T19" fmla="*/ 65 h 89"/>
                  <a:gd name="T20" fmla="*/ 33 w 50"/>
                  <a:gd name="T21" fmla="*/ 48 h 89"/>
                  <a:gd name="T22" fmla="*/ 23 w 50"/>
                  <a:gd name="T23" fmla="*/ 29 h 89"/>
                  <a:gd name="T24" fmla="*/ 34 w 50"/>
                  <a:gd name="T25" fmla="*/ 18 h 89"/>
                  <a:gd name="T26" fmla="*/ 48 w 50"/>
                  <a:gd name="T27" fmla="*/ 6 h 89"/>
                  <a:gd name="T28" fmla="*/ 42 w 50"/>
                  <a:gd name="T29" fmla="*/ 3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89"/>
                  <a:gd name="T47" fmla="*/ 50 w 50"/>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9" name="Freeform 2513">
                <a:extLst>
                  <a:ext uri="{FF2B5EF4-FFF2-40B4-BE49-F238E27FC236}">
                    <a16:creationId xmlns:a16="http://schemas.microsoft.com/office/drawing/2014/main" id="{717B2FEC-0456-4BFC-9DFF-3FF07377BFA0}"/>
                  </a:ext>
                </a:extLst>
              </p:cNvPr>
              <p:cNvSpPr>
                <a:spLocks noChangeAspect="1"/>
              </p:cNvSpPr>
              <p:nvPr/>
            </p:nvSpPr>
            <p:spPr bwMode="auto">
              <a:xfrm>
                <a:off x="2932" y="2263"/>
                <a:ext cx="29" cy="87"/>
              </a:xfrm>
              <a:custGeom>
                <a:avLst/>
                <a:gdLst>
                  <a:gd name="T0" fmla="*/ 27 w 29"/>
                  <a:gd name="T1" fmla="*/ 0 h 87"/>
                  <a:gd name="T2" fmla="*/ 19 w 29"/>
                  <a:gd name="T3" fmla="*/ 15 h 87"/>
                  <a:gd name="T4" fmla="*/ 13 w 29"/>
                  <a:gd name="T5" fmla="*/ 30 h 87"/>
                  <a:gd name="T6" fmla="*/ 7 w 29"/>
                  <a:gd name="T7" fmla="*/ 38 h 87"/>
                  <a:gd name="T8" fmla="*/ 1 w 29"/>
                  <a:gd name="T9" fmla="*/ 57 h 87"/>
                  <a:gd name="T10" fmla="*/ 9 w 29"/>
                  <a:gd name="T11" fmla="*/ 78 h 87"/>
                  <a:gd name="T12" fmla="*/ 12 w 29"/>
                  <a:gd name="T13" fmla="*/ 85 h 87"/>
                  <a:gd name="T14" fmla="*/ 24 w 29"/>
                  <a:gd name="T15" fmla="*/ 32 h 87"/>
                  <a:gd name="T16" fmla="*/ 25 w 29"/>
                  <a:gd name="T17" fmla="*/ 17 h 87"/>
                  <a:gd name="T18" fmla="*/ 29 w 29"/>
                  <a:gd name="T19" fmla="*/ 8 h 87"/>
                  <a:gd name="T20" fmla="*/ 27 w 29"/>
                  <a:gd name="T21" fmla="*/ 0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7"/>
                  <a:gd name="T35" fmla="*/ 29 w 29"/>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80" name="Freeform 2514">
                <a:extLst>
                  <a:ext uri="{FF2B5EF4-FFF2-40B4-BE49-F238E27FC236}">
                    <a16:creationId xmlns:a16="http://schemas.microsoft.com/office/drawing/2014/main" id="{5C9321B9-A20A-47C3-A547-A03189C2D87E}"/>
                  </a:ext>
                </a:extLst>
              </p:cNvPr>
              <p:cNvSpPr>
                <a:spLocks noChangeAspect="1"/>
              </p:cNvSpPr>
              <p:nvPr/>
            </p:nvSpPr>
            <p:spPr bwMode="auto">
              <a:xfrm>
                <a:off x="2717" y="1385"/>
                <a:ext cx="395" cy="1031"/>
              </a:xfrm>
              <a:custGeom>
                <a:avLst/>
                <a:gdLst>
                  <a:gd name="T0" fmla="*/ 240 w 395"/>
                  <a:gd name="T1" fmla="*/ 3 h 1031"/>
                  <a:gd name="T2" fmla="*/ 240 w 395"/>
                  <a:gd name="T3" fmla="*/ 33 h 1031"/>
                  <a:gd name="T4" fmla="*/ 188 w 395"/>
                  <a:gd name="T5" fmla="*/ 73 h 1031"/>
                  <a:gd name="T6" fmla="*/ 144 w 395"/>
                  <a:gd name="T7" fmla="*/ 130 h 1031"/>
                  <a:gd name="T8" fmla="*/ 135 w 395"/>
                  <a:gd name="T9" fmla="*/ 193 h 1031"/>
                  <a:gd name="T10" fmla="*/ 103 w 395"/>
                  <a:gd name="T11" fmla="*/ 302 h 1031"/>
                  <a:gd name="T12" fmla="*/ 92 w 395"/>
                  <a:gd name="T13" fmla="*/ 331 h 1031"/>
                  <a:gd name="T14" fmla="*/ 87 w 395"/>
                  <a:gd name="T15" fmla="*/ 358 h 1031"/>
                  <a:gd name="T16" fmla="*/ 74 w 395"/>
                  <a:gd name="T17" fmla="*/ 393 h 1031"/>
                  <a:gd name="T18" fmla="*/ 29 w 395"/>
                  <a:gd name="T19" fmla="*/ 457 h 1031"/>
                  <a:gd name="T20" fmla="*/ 38 w 395"/>
                  <a:gd name="T21" fmla="*/ 563 h 1031"/>
                  <a:gd name="T22" fmla="*/ 45 w 395"/>
                  <a:gd name="T23" fmla="*/ 633 h 1031"/>
                  <a:gd name="T24" fmla="*/ 40 w 395"/>
                  <a:gd name="T25" fmla="*/ 702 h 1031"/>
                  <a:gd name="T26" fmla="*/ 21 w 395"/>
                  <a:gd name="T27" fmla="*/ 773 h 1031"/>
                  <a:gd name="T28" fmla="*/ 3 w 395"/>
                  <a:gd name="T29" fmla="*/ 771 h 1031"/>
                  <a:gd name="T30" fmla="*/ 35 w 395"/>
                  <a:gd name="T31" fmla="*/ 865 h 1031"/>
                  <a:gd name="T32" fmla="*/ 69 w 395"/>
                  <a:gd name="T33" fmla="*/ 926 h 1031"/>
                  <a:gd name="T34" fmla="*/ 94 w 395"/>
                  <a:gd name="T35" fmla="*/ 1031 h 1031"/>
                  <a:gd name="T36" fmla="*/ 136 w 395"/>
                  <a:gd name="T37" fmla="*/ 993 h 1031"/>
                  <a:gd name="T38" fmla="*/ 196 w 395"/>
                  <a:gd name="T39" fmla="*/ 963 h 1031"/>
                  <a:gd name="T40" fmla="*/ 207 w 395"/>
                  <a:gd name="T41" fmla="*/ 939 h 1031"/>
                  <a:gd name="T42" fmla="*/ 220 w 395"/>
                  <a:gd name="T43" fmla="*/ 897 h 1031"/>
                  <a:gd name="T44" fmla="*/ 201 w 395"/>
                  <a:gd name="T45" fmla="*/ 790 h 1031"/>
                  <a:gd name="T46" fmla="*/ 252 w 395"/>
                  <a:gd name="T47" fmla="*/ 750 h 1031"/>
                  <a:gd name="T48" fmla="*/ 284 w 395"/>
                  <a:gd name="T49" fmla="*/ 745 h 1031"/>
                  <a:gd name="T50" fmla="*/ 298 w 395"/>
                  <a:gd name="T51" fmla="*/ 693 h 1031"/>
                  <a:gd name="T52" fmla="*/ 255 w 395"/>
                  <a:gd name="T53" fmla="*/ 645 h 1031"/>
                  <a:gd name="T54" fmla="*/ 226 w 395"/>
                  <a:gd name="T55" fmla="*/ 637 h 1031"/>
                  <a:gd name="T56" fmla="*/ 226 w 395"/>
                  <a:gd name="T57" fmla="*/ 507 h 1031"/>
                  <a:gd name="T58" fmla="*/ 305 w 395"/>
                  <a:gd name="T59" fmla="*/ 399 h 1031"/>
                  <a:gd name="T60" fmla="*/ 332 w 395"/>
                  <a:gd name="T61" fmla="*/ 365 h 1031"/>
                  <a:gd name="T62" fmla="*/ 312 w 395"/>
                  <a:gd name="T63" fmla="*/ 309 h 1031"/>
                  <a:gd name="T64" fmla="*/ 372 w 395"/>
                  <a:gd name="T65" fmla="*/ 229 h 1031"/>
                  <a:gd name="T66" fmla="*/ 384 w 395"/>
                  <a:gd name="T67" fmla="*/ 213 h 1031"/>
                  <a:gd name="T68" fmla="*/ 365 w 395"/>
                  <a:gd name="T69" fmla="*/ 133 h 1031"/>
                  <a:gd name="T70" fmla="*/ 340 w 395"/>
                  <a:gd name="T71" fmla="*/ 62 h 1031"/>
                  <a:gd name="T72" fmla="*/ 253 w 395"/>
                  <a:gd name="T73" fmla="*/ 0 h 10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5"/>
                  <a:gd name="T112" fmla="*/ 0 h 1031"/>
                  <a:gd name="T113" fmla="*/ 395 w 395"/>
                  <a:gd name="T114" fmla="*/ 1031 h 103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25" name="Group 2515">
              <a:extLst>
                <a:ext uri="{FF2B5EF4-FFF2-40B4-BE49-F238E27FC236}">
                  <a16:creationId xmlns:a16="http://schemas.microsoft.com/office/drawing/2014/main" id="{38B8DEC6-5440-4803-9C5B-5991B4841D1F}"/>
                </a:ext>
              </a:extLst>
            </p:cNvPr>
            <p:cNvGrpSpPr>
              <a:grpSpLocks/>
            </p:cNvGrpSpPr>
            <p:nvPr>
              <p:custDataLst>
                <p:tags r:id="rId18"/>
              </p:custDataLst>
            </p:nvPr>
          </p:nvGrpSpPr>
          <p:grpSpPr bwMode="auto">
            <a:xfrm>
              <a:off x="4464197" y="1704886"/>
              <a:ext cx="1043853" cy="1476286"/>
              <a:chOff x="1955" y="-432"/>
              <a:chExt cx="2919" cy="4123"/>
            </a:xfrm>
          </p:grpSpPr>
          <p:sp>
            <p:nvSpPr>
              <p:cNvPr id="276" name="Freeform 2516">
                <a:extLst>
                  <a:ext uri="{FF2B5EF4-FFF2-40B4-BE49-F238E27FC236}">
                    <a16:creationId xmlns:a16="http://schemas.microsoft.com/office/drawing/2014/main" id="{3642332F-740B-48D6-BA4F-1E960887C94A}"/>
                  </a:ext>
                </a:extLst>
              </p:cNvPr>
              <p:cNvSpPr>
                <a:spLocks noChangeAspect="1"/>
              </p:cNvSpPr>
              <p:nvPr/>
            </p:nvSpPr>
            <p:spPr bwMode="auto">
              <a:xfrm>
                <a:off x="3019" y="312"/>
                <a:ext cx="392" cy="468"/>
              </a:xfrm>
              <a:custGeom>
                <a:avLst/>
                <a:gdLst>
                  <a:gd name="T0" fmla="*/ 14 w 98"/>
                  <a:gd name="T1" fmla="*/ 94 h 117"/>
                  <a:gd name="T2" fmla="*/ 30 w 98"/>
                  <a:gd name="T3" fmla="*/ 74 h 117"/>
                  <a:gd name="T4" fmla="*/ 39 w 98"/>
                  <a:gd name="T5" fmla="*/ 74 h 117"/>
                  <a:gd name="T6" fmla="*/ 52 w 98"/>
                  <a:gd name="T7" fmla="*/ 70 h 117"/>
                  <a:gd name="T8" fmla="*/ 56 w 98"/>
                  <a:gd name="T9" fmla="*/ 60 h 117"/>
                  <a:gd name="T10" fmla="*/ 40 w 98"/>
                  <a:gd name="T11" fmla="*/ 54 h 117"/>
                  <a:gd name="T12" fmla="*/ 60 w 98"/>
                  <a:gd name="T13" fmla="*/ 33 h 117"/>
                  <a:gd name="T14" fmla="*/ 74 w 98"/>
                  <a:gd name="T15" fmla="*/ 33 h 117"/>
                  <a:gd name="T16" fmla="*/ 79 w 98"/>
                  <a:gd name="T17" fmla="*/ 0 h 117"/>
                  <a:gd name="T18" fmla="*/ 86 w 98"/>
                  <a:gd name="T19" fmla="*/ 7 h 117"/>
                  <a:gd name="T20" fmla="*/ 79 w 98"/>
                  <a:gd name="T21" fmla="*/ 21 h 117"/>
                  <a:gd name="T22" fmla="*/ 80 w 98"/>
                  <a:gd name="T23" fmla="*/ 31 h 117"/>
                  <a:gd name="T24" fmla="*/ 84 w 98"/>
                  <a:gd name="T25" fmla="*/ 37 h 117"/>
                  <a:gd name="T26" fmla="*/ 97 w 98"/>
                  <a:gd name="T27" fmla="*/ 30 h 117"/>
                  <a:gd name="T28" fmla="*/ 85 w 98"/>
                  <a:gd name="T29" fmla="*/ 51 h 117"/>
                  <a:gd name="T30" fmla="*/ 79 w 98"/>
                  <a:gd name="T31" fmla="*/ 63 h 117"/>
                  <a:gd name="T32" fmla="*/ 56 w 98"/>
                  <a:gd name="T33" fmla="*/ 82 h 117"/>
                  <a:gd name="T34" fmla="*/ 37 w 98"/>
                  <a:gd name="T35" fmla="*/ 85 h 117"/>
                  <a:gd name="T36" fmla="*/ 31 w 98"/>
                  <a:gd name="T37" fmla="*/ 94 h 117"/>
                  <a:gd name="T38" fmla="*/ 16 w 98"/>
                  <a:gd name="T39" fmla="*/ 105 h 117"/>
                  <a:gd name="T40" fmla="*/ 6 w 98"/>
                  <a:gd name="T41" fmla="*/ 114 h 117"/>
                  <a:gd name="T42" fmla="*/ 0 w 98"/>
                  <a:gd name="T43" fmla="*/ 117 h 117"/>
                  <a:gd name="T44" fmla="*/ 14 w 98"/>
                  <a:gd name="T45" fmla="*/ 94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8"/>
                  <a:gd name="T70" fmla="*/ 0 h 117"/>
                  <a:gd name="T71" fmla="*/ 98 w 98"/>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7" name="Freeform 2517">
                <a:extLst>
                  <a:ext uri="{FF2B5EF4-FFF2-40B4-BE49-F238E27FC236}">
                    <a16:creationId xmlns:a16="http://schemas.microsoft.com/office/drawing/2014/main" id="{D1F95646-B5E3-4A5B-AD49-B5F940676F08}"/>
                  </a:ext>
                </a:extLst>
              </p:cNvPr>
              <p:cNvSpPr>
                <a:spLocks noChangeAspect="1"/>
              </p:cNvSpPr>
              <p:nvPr/>
            </p:nvSpPr>
            <p:spPr bwMode="auto">
              <a:xfrm>
                <a:off x="1955" y="-432"/>
                <a:ext cx="2919" cy="4123"/>
              </a:xfrm>
              <a:custGeom>
                <a:avLst/>
                <a:gdLst>
                  <a:gd name="T0" fmla="*/ 1000 w 2919"/>
                  <a:gd name="T1" fmla="*/ 3731 h 4123"/>
                  <a:gd name="T2" fmla="*/ 1064 w 2919"/>
                  <a:gd name="T3" fmla="*/ 3291 h 4123"/>
                  <a:gd name="T4" fmla="*/ 1044 w 2919"/>
                  <a:gd name="T5" fmla="*/ 2867 h 4123"/>
                  <a:gd name="T6" fmla="*/ 1050 w 2919"/>
                  <a:gd name="T7" fmla="*/ 2452 h 4123"/>
                  <a:gd name="T8" fmla="*/ 1258 w 2919"/>
                  <a:gd name="T9" fmla="*/ 2352 h 4123"/>
                  <a:gd name="T10" fmla="*/ 1261 w 2919"/>
                  <a:gd name="T11" fmla="*/ 2075 h 4123"/>
                  <a:gd name="T12" fmla="*/ 1309 w 2919"/>
                  <a:gd name="T13" fmla="*/ 1734 h 4123"/>
                  <a:gd name="T14" fmla="*/ 1463 w 2919"/>
                  <a:gd name="T15" fmla="*/ 1288 h 4123"/>
                  <a:gd name="T16" fmla="*/ 1834 w 2919"/>
                  <a:gd name="T17" fmla="*/ 980 h 4123"/>
                  <a:gd name="T18" fmla="*/ 1967 w 2919"/>
                  <a:gd name="T19" fmla="*/ 684 h 4123"/>
                  <a:gd name="T20" fmla="*/ 2443 w 2919"/>
                  <a:gd name="T21" fmla="*/ 676 h 4123"/>
                  <a:gd name="T22" fmla="*/ 2514 w 2919"/>
                  <a:gd name="T23" fmla="*/ 381 h 4123"/>
                  <a:gd name="T24" fmla="*/ 2761 w 2919"/>
                  <a:gd name="T25" fmla="*/ 406 h 4123"/>
                  <a:gd name="T26" fmla="*/ 2857 w 2919"/>
                  <a:gd name="T27" fmla="*/ 444 h 4123"/>
                  <a:gd name="T28" fmla="*/ 2695 w 2919"/>
                  <a:gd name="T29" fmla="*/ 268 h 4123"/>
                  <a:gd name="T30" fmla="*/ 2647 w 2919"/>
                  <a:gd name="T31" fmla="*/ 40 h 4123"/>
                  <a:gd name="T32" fmla="*/ 2435 w 2919"/>
                  <a:gd name="T33" fmla="*/ 244 h 4123"/>
                  <a:gd name="T34" fmla="*/ 2319 w 2919"/>
                  <a:gd name="T35" fmla="*/ 340 h 4123"/>
                  <a:gd name="T36" fmla="*/ 2183 w 2919"/>
                  <a:gd name="T37" fmla="*/ 168 h 4123"/>
                  <a:gd name="T38" fmla="*/ 2007 w 2919"/>
                  <a:gd name="T39" fmla="*/ 360 h 4123"/>
                  <a:gd name="T40" fmla="*/ 1823 w 2919"/>
                  <a:gd name="T41" fmla="*/ 632 h 4123"/>
                  <a:gd name="T42" fmla="*/ 1695 w 2919"/>
                  <a:gd name="T43" fmla="*/ 520 h 4123"/>
                  <a:gd name="T44" fmla="*/ 1675 w 2919"/>
                  <a:gd name="T45" fmla="*/ 648 h 4123"/>
                  <a:gd name="T46" fmla="*/ 1523 w 2919"/>
                  <a:gd name="T47" fmla="*/ 820 h 4123"/>
                  <a:gd name="T48" fmla="*/ 1559 w 2919"/>
                  <a:gd name="T49" fmla="*/ 996 h 4123"/>
                  <a:gd name="T50" fmla="*/ 1324 w 2919"/>
                  <a:gd name="T51" fmla="*/ 1244 h 4123"/>
                  <a:gd name="T52" fmla="*/ 1368 w 2919"/>
                  <a:gd name="T53" fmla="*/ 1380 h 4123"/>
                  <a:gd name="T54" fmla="*/ 1220 w 2919"/>
                  <a:gd name="T55" fmla="*/ 1444 h 4123"/>
                  <a:gd name="T56" fmla="*/ 1116 w 2919"/>
                  <a:gd name="T57" fmla="*/ 1656 h 4123"/>
                  <a:gd name="T58" fmla="*/ 1092 w 2919"/>
                  <a:gd name="T59" fmla="*/ 1784 h 4123"/>
                  <a:gd name="T60" fmla="*/ 1044 w 2919"/>
                  <a:gd name="T61" fmla="*/ 1968 h 4123"/>
                  <a:gd name="T62" fmla="*/ 976 w 2919"/>
                  <a:gd name="T63" fmla="*/ 2087 h 4123"/>
                  <a:gd name="T64" fmla="*/ 720 w 2919"/>
                  <a:gd name="T65" fmla="*/ 2375 h 4123"/>
                  <a:gd name="T66" fmla="*/ 828 w 2919"/>
                  <a:gd name="T67" fmla="*/ 2539 h 4123"/>
                  <a:gd name="T68" fmla="*/ 608 w 2919"/>
                  <a:gd name="T69" fmla="*/ 2539 h 4123"/>
                  <a:gd name="T70" fmla="*/ 496 w 2919"/>
                  <a:gd name="T71" fmla="*/ 2671 h 4123"/>
                  <a:gd name="T72" fmla="*/ 332 w 2919"/>
                  <a:gd name="T73" fmla="*/ 2791 h 4123"/>
                  <a:gd name="T74" fmla="*/ 188 w 2919"/>
                  <a:gd name="T75" fmla="*/ 2855 h 4123"/>
                  <a:gd name="T76" fmla="*/ 296 w 2919"/>
                  <a:gd name="T77" fmla="*/ 3011 h 4123"/>
                  <a:gd name="T78" fmla="*/ 216 w 2919"/>
                  <a:gd name="T79" fmla="*/ 3163 h 4123"/>
                  <a:gd name="T80" fmla="*/ 8 w 2919"/>
                  <a:gd name="T81" fmla="*/ 3295 h 4123"/>
                  <a:gd name="T82" fmla="*/ 268 w 2919"/>
                  <a:gd name="T83" fmla="*/ 3411 h 4123"/>
                  <a:gd name="T84" fmla="*/ 160 w 2919"/>
                  <a:gd name="T85" fmla="*/ 3471 h 4123"/>
                  <a:gd name="T86" fmla="*/ 112 w 2919"/>
                  <a:gd name="T87" fmla="*/ 3607 h 4123"/>
                  <a:gd name="T88" fmla="*/ 116 w 2919"/>
                  <a:gd name="T89" fmla="*/ 3679 h 4123"/>
                  <a:gd name="T90" fmla="*/ 140 w 2919"/>
                  <a:gd name="T91" fmla="*/ 3795 h 4123"/>
                  <a:gd name="T92" fmla="*/ 312 w 2919"/>
                  <a:gd name="T93" fmla="*/ 4103 h 4123"/>
                  <a:gd name="T94" fmla="*/ 660 w 2919"/>
                  <a:gd name="T95" fmla="*/ 3863 h 4123"/>
                  <a:gd name="T96" fmla="*/ 896 w 2919"/>
                  <a:gd name="T97" fmla="*/ 3739 h 41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19"/>
                  <a:gd name="T148" fmla="*/ 0 h 4123"/>
                  <a:gd name="T149" fmla="*/ 2919 w 2919"/>
                  <a:gd name="T150" fmla="*/ 4123 h 41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26" name="Group 2518">
              <a:extLst>
                <a:ext uri="{FF2B5EF4-FFF2-40B4-BE49-F238E27FC236}">
                  <a16:creationId xmlns:a16="http://schemas.microsoft.com/office/drawing/2014/main" id="{FDA4989A-045D-45C7-9D32-8C2B356267AF}"/>
                </a:ext>
              </a:extLst>
            </p:cNvPr>
            <p:cNvGrpSpPr>
              <a:grpSpLocks/>
            </p:cNvGrpSpPr>
            <p:nvPr>
              <p:custDataLst>
                <p:tags r:id="rId19"/>
              </p:custDataLst>
            </p:nvPr>
          </p:nvGrpSpPr>
          <p:grpSpPr bwMode="auto">
            <a:xfrm>
              <a:off x="5138621" y="1816574"/>
              <a:ext cx="615716" cy="1122607"/>
              <a:chOff x="3842" y="-120"/>
              <a:chExt cx="1720" cy="3135"/>
            </a:xfrm>
          </p:grpSpPr>
          <p:sp>
            <p:nvSpPr>
              <p:cNvPr id="274" name="Freeform 2519">
                <a:extLst>
                  <a:ext uri="{FF2B5EF4-FFF2-40B4-BE49-F238E27FC236}">
                    <a16:creationId xmlns:a16="http://schemas.microsoft.com/office/drawing/2014/main" id="{4E5D8FB8-7932-4F76-BD63-14B04B46153A}"/>
                  </a:ext>
                </a:extLst>
              </p:cNvPr>
              <p:cNvSpPr>
                <a:spLocks noChangeAspect="1"/>
              </p:cNvSpPr>
              <p:nvPr/>
            </p:nvSpPr>
            <p:spPr bwMode="auto">
              <a:xfrm>
                <a:off x="4079" y="2895"/>
                <a:ext cx="152" cy="120"/>
              </a:xfrm>
              <a:custGeom>
                <a:avLst/>
                <a:gdLst>
                  <a:gd name="T0" fmla="*/ 21 w 38"/>
                  <a:gd name="T1" fmla="*/ 4 h 30"/>
                  <a:gd name="T2" fmla="*/ 0 w 38"/>
                  <a:gd name="T3" fmla="*/ 8 h 30"/>
                  <a:gd name="T4" fmla="*/ 19 w 38"/>
                  <a:gd name="T5" fmla="*/ 30 h 30"/>
                  <a:gd name="T6" fmla="*/ 38 w 38"/>
                  <a:gd name="T7" fmla="*/ 15 h 30"/>
                  <a:gd name="T8" fmla="*/ 17 w 38"/>
                  <a:gd name="T9" fmla="*/ 5 h 30"/>
                  <a:gd name="T10" fmla="*/ 8 w 38"/>
                  <a:gd name="T11" fmla="*/ 2 h 30"/>
                  <a:gd name="T12" fmla="*/ 21 w 38"/>
                  <a:gd name="T13" fmla="*/ 4 h 30"/>
                  <a:gd name="T14" fmla="*/ 0 60000 65536"/>
                  <a:gd name="T15" fmla="*/ 0 60000 65536"/>
                  <a:gd name="T16" fmla="*/ 0 60000 65536"/>
                  <a:gd name="T17" fmla="*/ 0 60000 65536"/>
                  <a:gd name="T18" fmla="*/ 0 60000 65536"/>
                  <a:gd name="T19" fmla="*/ 0 60000 65536"/>
                  <a:gd name="T20" fmla="*/ 0 60000 65536"/>
                  <a:gd name="T21" fmla="*/ 0 w 38"/>
                  <a:gd name="T22" fmla="*/ 0 h 30"/>
                  <a:gd name="T23" fmla="*/ 38 w 3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5" name="Freeform 2520">
                <a:extLst>
                  <a:ext uri="{FF2B5EF4-FFF2-40B4-BE49-F238E27FC236}">
                    <a16:creationId xmlns:a16="http://schemas.microsoft.com/office/drawing/2014/main" id="{F8679C9B-A670-47D3-8EC8-CFF3DC581CE4}"/>
                  </a:ext>
                </a:extLst>
              </p:cNvPr>
              <p:cNvSpPr>
                <a:spLocks noChangeAspect="1"/>
              </p:cNvSpPr>
              <p:nvPr/>
            </p:nvSpPr>
            <p:spPr bwMode="auto">
              <a:xfrm>
                <a:off x="3842" y="-120"/>
                <a:ext cx="1720" cy="3083"/>
              </a:xfrm>
              <a:custGeom>
                <a:avLst/>
                <a:gdLst>
                  <a:gd name="T0" fmla="*/ 1628 w 1720"/>
                  <a:gd name="T1" fmla="*/ 2255 h 3083"/>
                  <a:gd name="T2" fmla="*/ 1720 w 1720"/>
                  <a:gd name="T3" fmla="*/ 1955 h 3083"/>
                  <a:gd name="T4" fmla="*/ 1456 w 1720"/>
                  <a:gd name="T5" fmla="*/ 1775 h 3083"/>
                  <a:gd name="T6" fmla="*/ 1448 w 1720"/>
                  <a:gd name="T7" fmla="*/ 1683 h 3083"/>
                  <a:gd name="T8" fmla="*/ 1432 w 1720"/>
                  <a:gd name="T9" fmla="*/ 1583 h 3083"/>
                  <a:gd name="T10" fmla="*/ 1352 w 1720"/>
                  <a:gd name="T11" fmla="*/ 1512 h 3083"/>
                  <a:gd name="T12" fmla="*/ 1264 w 1720"/>
                  <a:gd name="T13" fmla="*/ 1320 h 3083"/>
                  <a:gd name="T14" fmla="*/ 1276 w 1720"/>
                  <a:gd name="T15" fmla="*/ 1188 h 3083"/>
                  <a:gd name="T16" fmla="*/ 1132 w 1720"/>
                  <a:gd name="T17" fmla="*/ 992 h 3083"/>
                  <a:gd name="T18" fmla="*/ 1120 w 1720"/>
                  <a:gd name="T19" fmla="*/ 688 h 3083"/>
                  <a:gd name="T20" fmla="*/ 1072 w 1720"/>
                  <a:gd name="T21" fmla="*/ 600 h 3083"/>
                  <a:gd name="T22" fmla="*/ 908 w 1720"/>
                  <a:gd name="T23" fmla="*/ 512 h 3083"/>
                  <a:gd name="T24" fmla="*/ 880 w 1720"/>
                  <a:gd name="T25" fmla="*/ 312 h 3083"/>
                  <a:gd name="T26" fmla="*/ 968 w 1720"/>
                  <a:gd name="T27" fmla="*/ 132 h 3083"/>
                  <a:gd name="T28" fmla="*/ 888 w 1720"/>
                  <a:gd name="T29" fmla="*/ 168 h 3083"/>
                  <a:gd name="T30" fmla="*/ 813 w 1720"/>
                  <a:gd name="T31" fmla="*/ 72 h 3083"/>
                  <a:gd name="T32" fmla="*/ 693 w 1720"/>
                  <a:gd name="T33" fmla="*/ 0 h 3083"/>
                  <a:gd name="T34" fmla="*/ 573 w 1720"/>
                  <a:gd name="T35" fmla="*/ 76 h 3083"/>
                  <a:gd name="T36" fmla="*/ 545 w 1720"/>
                  <a:gd name="T37" fmla="*/ 244 h 3083"/>
                  <a:gd name="T38" fmla="*/ 533 w 1720"/>
                  <a:gd name="T39" fmla="*/ 416 h 3083"/>
                  <a:gd name="T40" fmla="*/ 409 w 1720"/>
                  <a:gd name="T41" fmla="*/ 484 h 3083"/>
                  <a:gd name="T42" fmla="*/ 153 w 1720"/>
                  <a:gd name="T43" fmla="*/ 412 h 3083"/>
                  <a:gd name="T44" fmla="*/ 9 w 1720"/>
                  <a:gd name="T45" fmla="*/ 436 h 3083"/>
                  <a:gd name="T46" fmla="*/ 265 w 1720"/>
                  <a:gd name="T47" fmla="*/ 620 h 3083"/>
                  <a:gd name="T48" fmla="*/ 390 w 1720"/>
                  <a:gd name="T49" fmla="*/ 756 h 3083"/>
                  <a:gd name="T50" fmla="*/ 477 w 1720"/>
                  <a:gd name="T51" fmla="*/ 1016 h 3083"/>
                  <a:gd name="T52" fmla="*/ 495 w 1720"/>
                  <a:gd name="T53" fmla="*/ 1224 h 3083"/>
                  <a:gd name="T54" fmla="*/ 580 w 1720"/>
                  <a:gd name="T55" fmla="*/ 1365 h 3083"/>
                  <a:gd name="T56" fmla="*/ 681 w 1720"/>
                  <a:gd name="T57" fmla="*/ 1396 h 3083"/>
                  <a:gd name="T58" fmla="*/ 741 w 1720"/>
                  <a:gd name="T59" fmla="*/ 1432 h 3083"/>
                  <a:gd name="T60" fmla="*/ 545 w 1720"/>
                  <a:gd name="T61" fmla="*/ 1959 h 3083"/>
                  <a:gd name="T62" fmla="*/ 489 w 1720"/>
                  <a:gd name="T63" fmla="*/ 2051 h 3083"/>
                  <a:gd name="T64" fmla="*/ 369 w 1720"/>
                  <a:gd name="T65" fmla="*/ 2239 h 3083"/>
                  <a:gd name="T66" fmla="*/ 457 w 1720"/>
                  <a:gd name="T67" fmla="*/ 2559 h 3083"/>
                  <a:gd name="T68" fmla="*/ 457 w 1720"/>
                  <a:gd name="T69" fmla="*/ 2987 h 3083"/>
                  <a:gd name="T70" fmla="*/ 485 w 1720"/>
                  <a:gd name="T71" fmla="*/ 2999 h 3083"/>
                  <a:gd name="T72" fmla="*/ 657 w 1720"/>
                  <a:gd name="T73" fmla="*/ 3055 h 3083"/>
                  <a:gd name="T74" fmla="*/ 729 w 1720"/>
                  <a:gd name="T75" fmla="*/ 3083 h 3083"/>
                  <a:gd name="T76" fmla="*/ 956 w 1720"/>
                  <a:gd name="T77" fmla="*/ 2991 h 3083"/>
                  <a:gd name="T78" fmla="*/ 1024 w 1720"/>
                  <a:gd name="T79" fmla="*/ 2955 h 3083"/>
                  <a:gd name="T80" fmla="*/ 1192 w 1720"/>
                  <a:gd name="T81" fmla="*/ 2859 h 3083"/>
                  <a:gd name="T82" fmla="*/ 1372 w 1720"/>
                  <a:gd name="T83" fmla="*/ 2783 h 3083"/>
                  <a:gd name="T84" fmla="*/ 1396 w 1720"/>
                  <a:gd name="T85" fmla="*/ 2723 h 3083"/>
                  <a:gd name="T86" fmla="*/ 1576 w 1720"/>
                  <a:gd name="T87" fmla="*/ 2351 h 30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0"/>
                  <a:gd name="T133" fmla="*/ 0 h 3083"/>
                  <a:gd name="T134" fmla="*/ 1720 w 1720"/>
                  <a:gd name="T135" fmla="*/ 3083 h 30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27" name="Freeform 2521">
              <a:extLst>
                <a:ext uri="{FF2B5EF4-FFF2-40B4-BE49-F238E27FC236}">
                  <a16:creationId xmlns:a16="http://schemas.microsoft.com/office/drawing/2014/main" id="{D68F44EB-B63E-48C6-A30F-92D4EAC479EC}"/>
                </a:ext>
              </a:extLst>
            </p:cNvPr>
            <p:cNvSpPr>
              <a:spLocks noChangeAspect="1"/>
            </p:cNvSpPr>
            <p:nvPr>
              <p:custDataLst>
                <p:tags r:id="rId20"/>
              </p:custDataLst>
            </p:nvPr>
          </p:nvSpPr>
          <p:spPr bwMode="auto">
            <a:xfrm>
              <a:off x="5354838" y="3089531"/>
              <a:ext cx="413819" cy="253446"/>
            </a:xfrm>
            <a:custGeom>
              <a:avLst/>
              <a:gdLst>
                <a:gd name="T0" fmla="*/ 1156 w 1156"/>
                <a:gd name="T1" fmla="*/ 416 h 708"/>
                <a:gd name="T2" fmla="*/ 1132 w 1156"/>
                <a:gd name="T3" fmla="*/ 380 h 708"/>
                <a:gd name="T4" fmla="*/ 1104 w 1156"/>
                <a:gd name="T5" fmla="*/ 312 h 708"/>
                <a:gd name="T6" fmla="*/ 1032 w 1156"/>
                <a:gd name="T7" fmla="*/ 224 h 708"/>
                <a:gd name="T8" fmla="*/ 976 w 1156"/>
                <a:gd name="T9" fmla="*/ 92 h 708"/>
                <a:gd name="T10" fmla="*/ 945 w 1156"/>
                <a:gd name="T11" fmla="*/ 63 h 708"/>
                <a:gd name="T12" fmla="*/ 819 w 1156"/>
                <a:gd name="T13" fmla="*/ 99 h 708"/>
                <a:gd name="T14" fmla="*/ 764 w 1156"/>
                <a:gd name="T15" fmla="*/ 96 h 708"/>
                <a:gd name="T16" fmla="*/ 684 w 1156"/>
                <a:gd name="T17" fmla="*/ 50 h 708"/>
                <a:gd name="T18" fmla="*/ 648 w 1156"/>
                <a:gd name="T19" fmla="*/ 20 h 708"/>
                <a:gd name="T20" fmla="*/ 602 w 1156"/>
                <a:gd name="T21" fmla="*/ 6 h 708"/>
                <a:gd name="T22" fmla="*/ 532 w 1156"/>
                <a:gd name="T23" fmla="*/ 20 h 708"/>
                <a:gd name="T24" fmla="*/ 460 w 1156"/>
                <a:gd name="T25" fmla="*/ 52 h 708"/>
                <a:gd name="T26" fmla="*/ 496 w 1156"/>
                <a:gd name="T27" fmla="*/ 220 h 708"/>
                <a:gd name="T28" fmla="*/ 484 w 1156"/>
                <a:gd name="T29" fmla="*/ 308 h 708"/>
                <a:gd name="T30" fmla="*/ 448 w 1156"/>
                <a:gd name="T31" fmla="*/ 344 h 708"/>
                <a:gd name="T32" fmla="*/ 356 w 1156"/>
                <a:gd name="T33" fmla="*/ 340 h 708"/>
                <a:gd name="T34" fmla="*/ 348 w 1156"/>
                <a:gd name="T35" fmla="*/ 324 h 708"/>
                <a:gd name="T36" fmla="*/ 288 w 1156"/>
                <a:gd name="T37" fmla="*/ 296 h 708"/>
                <a:gd name="T38" fmla="*/ 252 w 1156"/>
                <a:gd name="T39" fmla="*/ 240 h 708"/>
                <a:gd name="T40" fmla="*/ 216 w 1156"/>
                <a:gd name="T41" fmla="*/ 212 h 708"/>
                <a:gd name="T42" fmla="*/ 180 w 1156"/>
                <a:gd name="T43" fmla="*/ 172 h 708"/>
                <a:gd name="T44" fmla="*/ 148 w 1156"/>
                <a:gd name="T45" fmla="*/ 192 h 708"/>
                <a:gd name="T46" fmla="*/ 76 w 1156"/>
                <a:gd name="T47" fmla="*/ 236 h 708"/>
                <a:gd name="T48" fmla="*/ 48 w 1156"/>
                <a:gd name="T49" fmla="*/ 296 h 708"/>
                <a:gd name="T50" fmla="*/ 16 w 1156"/>
                <a:gd name="T51" fmla="*/ 364 h 708"/>
                <a:gd name="T52" fmla="*/ 0 w 1156"/>
                <a:gd name="T53" fmla="*/ 484 h 708"/>
                <a:gd name="T54" fmla="*/ 36 w 1156"/>
                <a:gd name="T55" fmla="*/ 708 h 708"/>
                <a:gd name="T56" fmla="*/ 69 w 1156"/>
                <a:gd name="T57" fmla="*/ 638 h 708"/>
                <a:gd name="T58" fmla="*/ 96 w 1156"/>
                <a:gd name="T59" fmla="*/ 608 h 708"/>
                <a:gd name="T60" fmla="*/ 204 w 1156"/>
                <a:gd name="T61" fmla="*/ 576 h 708"/>
                <a:gd name="T62" fmla="*/ 230 w 1156"/>
                <a:gd name="T63" fmla="*/ 546 h 708"/>
                <a:gd name="T64" fmla="*/ 240 w 1156"/>
                <a:gd name="T65" fmla="*/ 561 h 708"/>
                <a:gd name="T66" fmla="*/ 287 w 1156"/>
                <a:gd name="T67" fmla="*/ 566 h 708"/>
                <a:gd name="T68" fmla="*/ 303 w 1156"/>
                <a:gd name="T69" fmla="*/ 539 h 708"/>
                <a:gd name="T70" fmla="*/ 330 w 1156"/>
                <a:gd name="T71" fmla="*/ 567 h 708"/>
                <a:gd name="T72" fmla="*/ 410 w 1156"/>
                <a:gd name="T73" fmla="*/ 549 h 708"/>
                <a:gd name="T74" fmla="*/ 489 w 1156"/>
                <a:gd name="T75" fmla="*/ 527 h 708"/>
                <a:gd name="T76" fmla="*/ 576 w 1156"/>
                <a:gd name="T77" fmla="*/ 533 h 708"/>
                <a:gd name="T78" fmla="*/ 576 w 1156"/>
                <a:gd name="T79" fmla="*/ 504 h 708"/>
                <a:gd name="T80" fmla="*/ 638 w 1156"/>
                <a:gd name="T81" fmla="*/ 470 h 708"/>
                <a:gd name="T82" fmla="*/ 657 w 1156"/>
                <a:gd name="T83" fmla="*/ 516 h 708"/>
                <a:gd name="T84" fmla="*/ 690 w 1156"/>
                <a:gd name="T85" fmla="*/ 530 h 708"/>
                <a:gd name="T86" fmla="*/ 784 w 1156"/>
                <a:gd name="T87" fmla="*/ 536 h 708"/>
                <a:gd name="T88" fmla="*/ 879 w 1156"/>
                <a:gd name="T89" fmla="*/ 588 h 708"/>
                <a:gd name="T90" fmla="*/ 944 w 1156"/>
                <a:gd name="T91" fmla="*/ 620 h 708"/>
                <a:gd name="T92" fmla="*/ 960 w 1156"/>
                <a:gd name="T93" fmla="*/ 614 h 708"/>
                <a:gd name="T94" fmla="*/ 1094 w 1156"/>
                <a:gd name="T95" fmla="*/ 566 h 708"/>
                <a:gd name="T96" fmla="*/ 1088 w 1156"/>
                <a:gd name="T97" fmla="*/ 522 h 708"/>
                <a:gd name="T98" fmla="*/ 1137 w 1156"/>
                <a:gd name="T99" fmla="*/ 447 h 708"/>
                <a:gd name="T100" fmla="*/ 1156 w 1156"/>
                <a:gd name="T101" fmla="*/ 416 h 7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56"/>
                <a:gd name="T154" fmla="*/ 0 h 708"/>
                <a:gd name="T155" fmla="*/ 1156 w 1156"/>
                <a:gd name="T156" fmla="*/ 708 h 7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56" h="708">
                  <a:moveTo>
                    <a:pt x="1156" y="416"/>
                  </a:moveTo>
                  <a:cubicBezTo>
                    <a:pt x="1148" y="404"/>
                    <a:pt x="1144" y="392"/>
                    <a:pt x="1132" y="380"/>
                  </a:cubicBezTo>
                  <a:cubicBezTo>
                    <a:pt x="1124" y="356"/>
                    <a:pt x="1128" y="328"/>
                    <a:pt x="1104" y="312"/>
                  </a:cubicBezTo>
                  <a:cubicBezTo>
                    <a:pt x="1096" y="292"/>
                    <a:pt x="1052" y="232"/>
                    <a:pt x="1032" y="224"/>
                  </a:cubicBezTo>
                  <a:cubicBezTo>
                    <a:pt x="1036" y="132"/>
                    <a:pt x="1048" y="140"/>
                    <a:pt x="976" y="92"/>
                  </a:cubicBezTo>
                  <a:cubicBezTo>
                    <a:pt x="972" y="76"/>
                    <a:pt x="953" y="83"/>
                    <a:pt x="945" y="63"/>
                  </a:cubicBezTo>
                  <a:cubicBezTo>
                    <a:pt x="845" y="72"/>
                    <a:pt x="831" y="92"/>
                    <a:pt x="819" y="99"/>
                  </a:cubicBezTo>
                  <a:cubicBezTo>
                    <a:pt x="789" y="104"/>
                    <a:pt x="786" y="98"/>
                    <a:pt x="764" y="96"/>
                  </a:cubicBezTo>
                  <a:cubicBezTo>
                    <a:pt x="740" y="60"/>
                    <a:pt x="719" y="78"/>
                    <a:pt x="684" y="50"/>
                  </a:cubicBezTo>
                  <a:cubicBezTo>
                    <a:pt x="672" y="38"/>
                    <a:pt x="664" y="24"/>
                    <a:pt x="648" y="20"/>
                  </a:cubicBezTo>
                  <a:cubicBezTo>
                    <a:pt x="636" y="0"/>
                    <a:pt x="626" y="10"/>
                    <a:pt x="602" y="6"/>
                  </a:cubicBezTo>
                  <a:cubicBezTo>
                    <a:pt x="564" y="9"/>
                    <a:pt x="564" y="0"/>
                    <a:pt x="532" y="20"/>
                  </a:cubicBezTo>
                  <a:cubicBezTo>
                    <a:pt x="509" y="32"/>
                    <a:pt x="483" y="62"/>
                    <a:pt x="460" y="52"/>
                  </a:cubicBezTo>
                  <a:cubicBezTo>
                    <a:pt x="432" y="88"/>
                    <a:pt x="456" y="192"/>
                    <a:pt x="496" y="220"/>
                  </a:cubicBezTo>
                  <a:cubicBezTo>
                    <a:pt x="504" y="252"/>
                    <a:pt x="512" y="288"/>
                    <a:pt x="484" y="308"/>
                  </a:cubicBezTo>
                  <a:cubicBezTo>
                    <a:pt x="472" y="328"/>
                    <a:pt x="472" y="336"/>
                    <a:pt x="448" y="344"/>
                  </a:cubicBezTo>
                  <a:cubicBezTo>
                    <a:pt x="416" y="344"/>
                    <a:pt x="388" y="348"/>
                    <a:pt x="356" y="340"/>
                  </a:cubicBezTo>
                  <a:cubicBezTo>
                    <a:pt x="352" y="340"/>
                    <a:pt x="352" y="328"/>
                    <a:pt x="348" y="324"/>
                  </a:cubicBezTo>
                  <a:cubicBezTo>
                    <a:pt x="336" y="312"/>
                    <a:pt x="304" y="300"/>
                    <a:pt x="288" y="296"/>
                  </a:cubicBezTo>
                  <a:cubicBezTo>
                    <a:pt x="276" y="276"/>
                    <a:pt x="268" y="256"/>
                    <a:pt x="252" y="240"/>
                  </a:cubicBezTo>
                  <a:cubicBezTo>
                    <a:pt x="244" y="228"/>
                    <a:pt x="216" y="212"/>
                    <a:pt x="216" y="212"/>
                  </a:cubicBezTo>
                  <a:cubicBezTo>
                    <a:pt x="208" y="196"/>
                    <a:pt x="192" y="180"/>
                    <a:pt x="180" y="172"/>
                  </a:cubicBezTo>
                  <a:cubicBezTo>
                    <a:pt x="160" y="180"/>
                    <a:pt x="172" y="188"/>
                    <a:pt x="148" y="192"/>
                  </a:cubicBezTo>
                  <a:cubicBezTo>
                    <a:pt x="124" y="208"/>
                    <a:pt x="96" y="216"/>
                    <a:pt x="76" y="236"/>
                  </a:cubicBezTo>
                  <a:cubicBezTo>
                    <a:pt x="68" y="260"/>
                    <a:pt x="64" y="280"/>
                    <a:pt x="48" y="296"/>
                  </a:cubicBezTo>
                  <a:cubicBezTo>
                    <a:pt x="40" y="320"/>
                    <a:pt x="20" y="336"/>
                    <a:pt x="16" y="364"/>
                  </a:cubicBezTo>
                  <a:cubicBezTo>
                    <a:pt x="12" y="420"/>
                    <a:pt x="8" y="436"/>
                    <a:pt x="0" y="484"/>
                  </a:cubicBezTo>
                  <a:cubicBezTo>
                    <a:pt x="4" y="536"/>
                    <a:pt x="0" y="696"/>
                    <a:pt x="36" y="708"/>
                  </a:cubicBezTo>
                  <a:cubicBezTo>
                    <a:pt x="39" y="684"/>
                    <a:pt x="59" y="655"/>
                    <a:pt x="69" y="638"/>
                  </a:cubicBezTo>
                  <a:cubicBezTo>
                    <a:pt x="79" y="621"/>
                    <a:pt x="83" y="639"/>
                    <a:pt x="96" y="608"/>
                  </a:cubicBezTo>
                  <a:cubicBezTo>
                    <a:pt x="117" y="605"/>
                    <a:pt x="162" y="570"/>
                    <a:pt x="204" y="576"/>
                  </a:cubicBezTo>
                  <a:cubicBezTo>
                    <a:pt x="226" y="564"/>
                    <a:pt x="216" y="548"/>
                    <a:pt x="230" y="546"/>
                  </a:cubicBezTo>
                  <a:cubicBezTo>
                    <a:pt x="236" y="544"/>
                    <a:pt x="231" y="558"/>
                    <a:pt x="240" y="561"/>
                  </a:cubicBezTo>
                  <a:cubicBezTo>
                    <a:pt x="249" y="564"/>
                    <a:pt x="269" y="561"/>
                    <a:pt x="287" y="566"/>
                  </a:cubicBezTo>
                  <a:cubicBezTo>
                    <a:pt x="299" y="552"/>
                    <a:pt x="299" y="560"/>
                    <a:pt x="303" y="539"/>
                  </a:cubicBezTo>
                  <a:cubicBezTo>
                    <a:pt x="323" y="551"/>
                    <a:pt x="315" y="561"/>
                    <a:pt x="330" y="567"/>
                  </a:cubicBezTo>
                  <a:cubicBezTo>
                    <a:pt x="381" y="536"/>
                    <a:pt x="393" y="531"/>
                    <a:pt x="410" y="549"/>
                  </a:cubicBezTo>
                  <a:cubicBezTo>
                    <a:pt x="410" y="531"/>
                    <a:pt x="414" y="530"/>
                    <a:pt x="489" y="527"/>
                  </a:cubicBezTo>
                  <a:cubicBezTo>
                    <a:pt x="511" y="536"/>
                    <a:pt x="562" y="537"/>
                    <a:pt x="576" y="533"/>
                  </a:cubicBezTo>
                  <a:cubicBezTo>
                    <a:pt x="590" y="529"/>
                    <a:pt x="566" y="515"/>
                    <a:pt x="576" y="504"/>
                  </a:cubicBezTo>
                  <a:cubicBezTo>
                    <a:pt x="576" y="488"/>
                    <a:pt x="625" y="468"/>
                    <a:pt x="638" y="470"/>
                  </a:cubicBezTo>
                  <a:cubicBezTo>
                    <a:pt x="642" y="486"/>
                    <a:pt x="641" y="508"/>
                    <a:pt x="657" y="516"/>
                  </a:cubicBezTo>
                  <a:cubicBezTo>
                    <a:pt x="669" y="524"/>
                    <a:pt x="690" y="530"/>
                    <a:pt x="690" y="530"/>
                  </a:cubicBezTo>
                  <a:cubicBezTo>
                    <a:pt x="726" y="526"/>
                    <a:pt x="752" y="524"/>
                    <a:pt x="784" y="536"/>
                  </a:cubicBezTo>
                  <a:cubicBezTo>
                    <a:pt x="786" y="551"/>
                    <a:pt x="840" y="567"/>
                    <a:pt x="879" y="588"/>
                  </a:cubicBezTo>
                  <a:cubicBezTo>
                    <a:pt x="899" y="617"/>
                    <a:pt x="932" y="612"/>
                    <a:pt x="944" y="620"/>
                  </a:cubicBezTo>
                  <a:cubicBezTo>
                    <a:pt x="954" y="612"/>
                    <a:pt x="960" y="614"/>
                    <a:pt x="960" y="614"/>
                  </a:cubicBezTo>
                  <a:cubicBezTo>
                    <a:pt x="986" y="576"/>
                    <a:pt x="998" y="552"/>
                    <a:pt x="1094" y="566"/>
                  </a:cubicBezTo>
                  <a:cubicBezTo>
                    <a:pt x="1097" y="543"/>
                    <a:pt x="1101" y="578"/>
                    <a:pt x="1088" y="522"/>
                  </a:cubicBezTo>
                  <a:cubicBezTo>
                    <a:pt x="1091" y="488"/>
                    <a:pt x="1117" y="475"/>
                    <a:pt x="1137" y="447"/>
                  </a:cubicBezTo>
                  <a:cubicBezTo>
                    <a:pt x="1140" y="428"/>
                    <a:pt x="1145" y="422"/>
                    <a:pt x="1156" y="416"/>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8" name="Freeform 2522">
              <a:extLst>
                <a:ext uri="{FF2B5EF4-FFF2-40B4-BE49-F238E27FC236}">
                  <a16:creationId xmlns:a16="http://schemas.microsoft.com/office/drawing/2014/main" id="{C80078B9-BE3C-45BB-B91B-146B69D33FE2}"/>
                </a:ext>
              </a:extLst>
            </p:cNvPr>
            <p:cNvSpPr>
              <a:spLocks noChangeAspect="1"/>
            </p:cNvSpPr>
            <p:nvPr>
              <p:custDataLst>
                <p:tags r:id="rId21"/>
              </p:custDataLst>
            </p:nvPr>
          </p:nvSpPr>
          <p:spPr bwMode="auto">
            <a:xfrm>
              <a:off x="5367723" y="3257063"/>
              <a:ext cx="340792" cy="270629"/>
            </a:xfrm>
            <a:custGeom>
              <a:avLst/>
              <a:gdLst>
                <a:gd name="T0" fmla="*/ 912 w 952"/>
                <a:gd name="T1" fmla="*/ 152 h 758"/>
                <a:gd name="T2" fmla="*/ 808 w 952"/>
                <a:gd name="T3" fmla="*/ 104 h 758"/>
                <a:gd name="T4" fmla="*/ 756 w 952"/>
                <a:gd name="T5" fmla="*/ 80 h 758"/>
                <a:gd name="T6" fmla="*/ 656 w 952"/>
                <a:gd name="T7" fmla="*/ 60 h 758"/>
                <a:gd name="T8" fmla="*/ 616 w 952"/>
                <a:gd name="T9" fmla="*/ 48 h 758"/>
                <a:gd name="T10" fmla="*/ 600 w 952"/>
                <a:gd name="T11" fmla="*/ 0 h 758"/>
                <a:gd name="T12" fmla="*/ 544 w 952"/>
                <a:gd name="T13" fmla="*/ 24 h 758"/>
                <a:gd name="T14" fmla="*/ 546 w 952"/>
                <a:gd name="T15" fmla="*/ 66 h 758"/>
                <a:gd name="T16" fmla="*/ 492 w 952"/>
                <a:gd name="T17" fmla="*/ 68 h 758"/>
                <a:gd name="T18" fmla="*/ 456 w 952"/>
                <a:gd name="T19" fmla="*/ 60 h 758"/>
                <a:gd name="T20" fmla="*/ 372 w 952"/>
                <a:gd name="T21" fmla="*/ 84 h 758"/>
                <a:gd name="T22" fmla="*/ 340 w 952"/>
                <a:gd name="T23" fmla="*/ 68 h 758"/>
                <a:gd name="T24" fmla="*/ 304 w 952"/>
                <a:gd name="T25" fmla="*/ 92 h 758"/>
                <a:gd name="T26" fmla="*/ 268 w 952"/>
                <a:gd name="T27" fmla="*/ 68 h 758"/>
                <a:gd name="T28" fmla="*/ 204 w 952"/>
                <a:gd name="T29" fmla="*/ 92 h 758"/>
                <a:gd name="T30" fmla="*/ 176 w 952"/>
                <a:gd name="T31" fmla="*/ 104 h 758"/>
                <a:gd name="T32" fmla="*/ 128 w 952"/>
                <a:gd name="T33" fmla="*/ 108 h 758"/>
                <a:gd name="T34" fmla="*/ 84 w 952"/>
                <a:gd name="T35" fmla="*/ 132 h 758"/>
                <a:gd name="T36" fmla="*/ 60 w 952"/>
                <a:gd name="T37" fmla="*/ 140 h 758"/>
                <a:gd name="T38" fmla="*/ 36 w 952"/>
                <a:gd name="T39" fmla="*/ 168 h 758"/>
                <a:gd name="T40" fmla="*/ 4 w 952"/>
                <a:gd name="T41" fmla="*/ 216 h 758"/>
                <a:gd name="T42" fmla="*/ 24 w 952"/>
                <a:gd name="T43" fmla="*/ 328 h 758"/>
                <a:gd name="T44" fmla="*/ 52 w 952"/>
                <a:gd name="T45" fmla="*/ 420 h 758"/>
                <a:gd name="T46" fmla="*/ 128 w 952"/>
                <a:gd name="T47" fmla="*/ 450 h 758"/>
                <a:gd name="T48" fmla="*/ 201 w 952"/>
                <a:gd name="T49" fmla="*/ 480 h 758"/>
                <a:gd name="T50" fmla="*/ 315 w 952"/>
                <a:gd name="T51" fmla="*/ 504 h 758"/>
                <a:gd name="T52" fmla="*/ 359 w 952"/>
                <a:gd name="T53" fmla="*/ 657 h 758"/>
                <a:gd name="T54" fmla="*/ 443 w 952"/>
                <a:gd name="T55" fmla="*/ 684 h 758"/>
                <a:gd name="T56" fmla="*/ 509 w 952"/>
                <a:gd name="T57" fmla="*/ 758 h 758"/>
                <a:gd name="T58" fmla="*/ 615 w 952"/>
                <a:gd name="T59" fmla="*/ 725 h 758"/>
                <a:gd name="T60" fmla="*/ 683 w 952"/>
                <a:gd name="T61" fmla="*/ 714 h 758"/>
                <a:gd name="T62" fmla="*/ 723 w 952"/>
                <a:gd name="T63" fmla="*/ 696 h 758"/>
                <a:gd name="T64" fmla="*/ 707 w 952"/>
                <a:gd name="T65" fmla="*/ 680 h 758"/>
                <a:gd name="T66" fmla="*/ 734 w 952"/>
                <a:gd name="T67" fmla="*/ 645 h 758"/>
                <a:gd name="T68" fmla="*/ 765 w 952"/>
                <a:gd name="T69" fmla="*/ 644 h 758"/>
                <a:gd name="T70" fmla="*/ 813 w 952"/>
                <a:gd name="T71" fmla="*/ 599 h 758"/>
                <a:gd name="T72" fmla="*/ 818 w 952"/>
                <a:gd name="T73" fmla="*/ 620 h 758"/>
                <a:gd name="T74" fmla="*/ 852 w 952"/>
                <a:gd name="T75" fmla="*/ 640 h 758"/>
                <a:gd name="T76" fmla="*/ 852 w 952"/>
                <a:gd name="T77" fmla="*/ 592 h 758"/>
                <a:gd name="T78" fmla="*/ 825 w 952"/>
                <a:gd name="T79" fmla="*/ 566 h 758"/>
                <a:gd name="T80" fmla="*/ 824 w 952"/>
                <a:gd name="T81" fmla="*/ 528 h 758"/>
                <a:gd name="T82" fmla="*/ 834 w 952"/>
                <a:gd name="T83" fmla="*/ 459 h 758"/>
                <a:gd name="T84" fmla="*/ 830 w 952"/>
                <a:gd name="T85" fmla="*/ 425 h 758"/>
                <a:gd name="T86" fmla="*/ 885 w 952"/>
                <a:gd name="T87" fmla="*/ 329 h 758"/>
                <a:gd name="T88" fmla="*/ 914 w 952"/>
                <a:gd name="T89" fmla="*/ 312 h 758"/>
                <a:gd name="T90" fmla="*/ 952 w 952"/>
                <a:gd name="T91" fmla="*/ 288 h 758"/>
                <a:gd name="T92" fmla="*/ 941 w 952"/>
                <a:gd name="T93" fmla="*/ 261 h 758"/>
                <a:gd name="T94" fmla="*/ 904 w 952"/>
                <a:gd name="T95" fmla="*/ 248 h 758"/>
                <a:gd name="T96" fmla="*/ 902 w 952"/>
                <a:gd name="T97" fmla="*/ 225 h 758"/>
                <a:gd name="T98" fmla="*/ 924 w 952"/>
                <a:gd name="T99" fmla="*/ 144 h 758"/>
                <a:gd name="T100" fmla="*/ 912 w 952"/>
                <a:gd name="T101" fmla="*/ 152 h 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52"/>
                <a:gd name="T154" fmla="*/ 0 h 758"/>
                <a:gd name="T155" fmla="*/ 952 w 952"/>
                <a:gd name="T156" fmla="*/ 758 h 7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52" h="758">
                  <a:moveTo>
                    <a:pt x="912" y="152"/>
                  </a:moveTo>
                  <a:cubicBezTo>
                    <a:pt x="844" y="140"/>
                    <a:pt x="856" y="120"/>
                    <a:pt x="808" y="104"/>
                  </a:cubicBezTo>
                  <a:cubicBezTo>
                    <a:pt x="792" y="88"/>
                    <a:pt x="776" y="92"/>
                    <a:pt x="756" y="80"/>
                  </a:cubicBezTo>
                  <a:cubicBezTo>
                    <a:pt x="736" y="48"/>
                    <a:pt x="696" y="60"/>
                    <a:pt x="656" y="60"/>
                  </a:cubicBezTo>
                  <a:cubicBezTo>
                    <a:pt x="648" y="60"/>
                    <a:pt x="620" y="52"/>
                    <a:pt x="616" y="48"/>
                  </a:cubicBezTo>
                  <a:cubicBezTo>
                    <a:pt x="604" y="36"/>
                    <a:pt x="600" y="0"/>
                    <a:pt x="600" y="0"/>
                  </a:cubicBezTo>
                  <a:cubicBezTo>
                    <a:pt x="580" y="4"/>
                    <a:pt x="544" y="24"/>
                    <a:pt x="544" y="24"/>
                  </a:cubicBezTo>
                  <a:cubicBezTo>
                    <a:pt x="532" y="34"/>
                    <a:pt x="542" y="50"/>
                    <a:pt x="546" y="66"/>
                  </a:cubicBezTo>
                  <a:cubicBezTo>
                    <a:pt x="531" y="68"/>
                    <a:pt x="507" y="69"/>
                    <a:pt x="492" y="68"/>
                  </a:cubicBezTo>
                  <a:cubicBezTo>
                    <a:pt x="476" y="72"/>
                    <a:pt x="472" y="64"/>
                    <a:pt x="456" y="60"/>
                  </a:cubicBezTo>
                  <a:cubicBezTo>
                    <a:pt x="416" y="64"/>
                    <a:pt x="380" y="48"/>
                    <a:pt x="372" y="84"/>
                  </a:cubicBezTo>
                  <a:cubicBezTo>
                    <a:pt x="368" y="68"/>
                    <a:pt x="356" y="64"/>
                    <a:pt x="340" y="68"/>
                  </a:cubicBezTo>
                  <a:cubicBezTo>
                    <a:pt x="328" y="80"/>
                    <a:pt x="320" y="88"/>
                    <a:pt x="304" y="92"/>
                  </a:cubicBezTo>
                  <a:cubicBezTo>
                    <a:pt x="288" y="116"/>
                    <a:pt x="280" y="80"/>
                    <a:pt x="268" y="68"/>
                  </a:cubicBezTo>
                  <a:cubicBezTo>
                    <a:pt x="260" y="108"/>
                    <a:pt x="244" y="96"/>
                    <a:pt x="204" y="92"/>
                  </a:cubicBezTo>
                  <a:cubicBezTo>
                    <a:pt x="192" y="60"/>
                    <a:pt x="184" y="100"/>
                    <a:pt x="176" y="104"/>
                  </a:cubicBezTo>
                  <a:cubicBezTo>
                    <a:pt x="160" y="108"/>
                    <a:pt x="144" y="108"/>
                    <a:pt x="128" y="108"/>
                  </a:cubicBezTo>
                  <a:cubicBezTo>
                    <a:pt x="112" y="116"/>
                    <a:pt x="100" y="124"/>
                    <a:pt x="84" y="132"/>
                  </a:cubicBezTo>
                  <a:cubicBezTo>
                    <a:pt x="76" y="136"/>
                    <a:pt x="60" y="140"/>
                    <a:pt x="60" y="140"/>
                  </a:cubicBezTo>
                  <a:cubicBezTo>
                    <a:pt x="52" y="156"/>
                    <a:pt x="52" y="164"/>
                    <a:pt x="36" y="168"/>
                  </a:cubicBezTo>
                  <a:cubicBezTo>
                    <a:pt x="28" y="188"/>
                    <a:pt x="16" y="200"/>
                    <a:pt x="4" y="216"/>
                  </a:cubicBezTo>
                  <a:cubicBezTo>
                    <a:pt x="4" y="236"/>
                    <a:pt x="0" y="320"/>
                    <a:pt x="24" y="328"/>
                  </a:cubicBezTo>
                  <a:cubicBezTo>
                    <a:pt x="32" y="356"/>
                    <a:pt x="20" y="408"/>
                    <a:pt x="52" y="420"/>
                  </a:cubicBezTo>
                  <a:cubicBezTo>
                    <a:pt x="83" y="429"/>
                    <a:pt x="100" y="442"/>
                    <a:pt x="128" y="450"/>
                  </a:cubicBezTo>
                  <a:cubicBezTo>
                    <a:pt x="148" y="462"/>
                    <a:pt x="201" y="480"/>
                    <a:pt x="201" y="480"/>
                  </a:cubicBezTo>
                  <a:cubicBezTo>
                    <a:pt x="231" y="495"/>
                    <a:pt x="287" y="480"/>
                    <a:pt x="315" y="504"/>
                  </a:cubicBezTo>
                  <a:cubicBezTo>
                    <a:pt x="319" y="528"/>
                    <a:pt x="343" y="641"/>
                    <a:pt x="359" y="657"/>
                  </a:cubicBezTo>
                  <a:cubicBezTo>
                    <a:pt x="396" y="660"/>
                    <a:pt x="422" y="663"/>
                    <a:pt x="443" y="684"/>
                  </a:cubicBezTo>
                  <a:cubicBezTo>
                    <a:pt x="485" y="708"/>
                    <a:pt x="492" y="726"/>
                    <a:pt x="509" y="758"/>
                  </a:cubicBezTo>
                  <a:cubicBezTo>
                    <a:pt x="563" y="758"/>
                    <a:pt x="566" y="755"/>
                    <a:pt x="615" y="725"/>
                  </a:cubicBezTo>
                  <a:cubicBezTo>
                    <a:pt x="636" y="750"/>
                    <a:pt x="657" y="750"/>
                    <a:pt x="683" y="714"/>
                  </a:cubicBezTo>
                  <a:cubicBezTo>
                    <a:pt x="701" y="709"/>
                    <a:pt x="719" y="701"/>
                    <a:pt x="723" y="696"/>
                  </a:cubicBezTo>
                  <a:cubicBezTo>
                    <a:pt x="741" y="686"/>
                    <a:pt x="705" y="688"/>
                    <a:pt x="707" y="680"/>
                  </a:cubicBezTo>
                  <a:cubicBezTo>
                    <a:pt x="709" y="672"/>
                    <a:pt x="725" y="651"/>
                    <a:pt x="734" y="645"/>
                  </a:cubicBezTo>
                  <a:cubicBezTo>
                    <a:pt x="746" y="642"/>
                    <a:pt x="765" y="644"/>
                    <a:pt x="765" y="644"/>
                  </a:cubicBezTo>
                  <a:cubicBezTo>
                    <a:pt x="773" y="628"/>
                    <a:pt x="791" y="597"/>
                    <a:pt x="813" y="599"/>
                  </a:cubicBezTo>
                  <a:cubicBezTo>
                    <a:pt x="823" y="595"/>
                    <a:pt x="812" y="613"/>
                    <a:pt x="818" y="620"/>
                  </a:cubicBezTo>
                  <a:cubicBezTo>
                    <a:pt x="824" y="627"/>
                    <a:pt x="837" y="630"/>
                    <a:pt x="852" y="640"/>
                  </a:cubicBezTo>
                  <a:cubicBezTo>
                    <a:pt x="884" y="632"/>
                    <a:pt x="872" y="608"/>
                    <a:pt x="852" y="592"/>
                  </a:cubicBezTo>
                  <a:cubicBezTo>
                    <a:pt x="839" y="587"/>
                    <a:pt x="845" y="594"/>
                    <a:pt x="825" y="566"/>
                  </a:cubicBezTo>
                  <a:cubicBezTo>
                    <a:pt x="821" y="558"/>
                    <a:pt x="824" y="528"/>
                    <a:pt x="824" y="528"/>
                  </a:cubicBezTo>
                  <a:cubicBezTo>
                    <a:pt x="822" y="512"/>
                    <a:pt x="818" y="482"/>
                    <a:pt x="834" y="459"/>
                  </a:cubicBezTo>
                  <a:cubicBezTo>
                    <a:pt x="835" y="442"/>
                    <a:pt x="822" y="447"/>
                    <a:pt x="830" y="425"/>
                  </a:cubicBezTo>
                  <a:cubicBezTo>
                    <a:pt x="834" y="417"/>
                    <a:pt x="861" y="375"/>
                    <a:pt x="885" y="329"/>
                  </a:cubicBezTo>
                  <a:cubicBezTo>
                    <a:pt x="897" y="321"/>
                    <a:pt x="914" y="312"/>
                    <a:pt x="914" y="312"/>
                  </a:cubicBezTo>
                  <a:cubicBezTo>
                    <a:pt x="930" y="296"/>
                    <a:pt x="940" y="308"/>
                    <a:pt x="952" y="288"/>
                  </a:cubicBezTo>
                  <a:cubicBezTo>
                    <a:pt x="948" y="280"/>
                    <a:pt x="949" y="269"/>
                    <a:pt x="941" y="261"/>
                  </a:cubicBezTo>
                  <a:cubicBezTo>
                    <a:pt x="923" y="257"/>
                    <a:pt x="904" y="248"/>
                    <a:pt x="904" y="248"/>
                  </a:cubicBezTo>
                  <a:cubicBezTo>
                    <a:pt x="896" y="224"/>
                    <a:pt x="902" y="239"/>
                    <a:pt x="902" y="225"/>
                  </a:cubicBezTo>
                  <a:cubicBezTo>
                    <a:pt x="912" y="204"/>
                    <a:pt x="921" y="164"/>
                    <a:pt x="924" y="144"/>
                  </a:cubicBezTo>
                  <a:cubicBezTo>
                    <a:pt x="900" y="152"/>
                    <a:pt x="896" y="152"/>
                    <a:pt x="912" y="152"/>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29" name="Freeform 2523">
              <a:extLst>
                <a:ext uri="{FF2B5EF4-FFF2-40B4-BE49-F238E27FC236}">
                  <a16:creationId xmlns:a16="http://schemas.microsoft.com/office/drawing/2014/main" id="{1679AF88-304A-4B0B-AB66-4D788B82BF88}"/>
                </a:ext>
              </a:extLst>
            </p:cNvPr>
            <p:cNvSpPr>
              <a:spLocks noChangeAspect="1"/>
            </p:cNvSpPr>
            <p:nvPr>
              <p:custDataLst>
                <p:tags r:id="rId22"/>
              </p:custDataLst>
            </p:nvPr>
          </p:nvSpPr>
          <p:spPr bwMode="auto">
            <a:xfrm>
              <a:off x="5309017" y="3401685"/>
              <a:ext cx="187579" cy="114552"/>
            </a:xfrm>
            <a:custGeom>
              <a:avLst/>
              <a:gdLst>
                <a:gd name="T0" fmla="*/ 192 w 527"/>
                <a:gd name="T1" fmla="*/ 0 h 322"/>
                <a:gd name="T2" fmla="*/ 395 w 527"/>
                <a:gd name="T3" fmla="*/ 84 h 322"/>
                <a:gd name="T4" fmla="*/ 479 w 527"/>
                <a:gd name="T5" fmla="*/ 96 h 322"/>
                <a:gd name="T6" fmla="*/ 507 w 527"/>
                <a:gd name="T7" fmla="*/ 216 h 322"/>
                <a:gd name="T8" fmla="*/ 527 w 527"/>
                <a:gd name="T9" fmla="*/ 252 h 322"/>
                <a:gd name="T10" fmla="*/ 443 w 527"/>
                <a:gd name="T11" fmla="*/ 267 h 322"/>
                <a:gd name="T12" fmla="*/ 375 w 527"/>
                <a:gd name="T13" fmla="*/ 292 h 322"/>
                <a:gd name="T14" fmla="*/ 277 w 527"/>
                <a:gd name="T15" fmla="*/ 304 h 322"/>
                <a:gd name="T16" fmla="*/ 170 w 527"/>
                <a:gd name="T17" fmla="*/ 318 h 322"/>
                <a:gd name="T18" fmla="*/ 8 w 527"/>
                <a:gd name="T19" fmla="*/ 312 h 322"/>
                <a:gd name="T20" fmla="*/ 16 w 527"/>
                <a:gd name="T21" fmla="*/ 288 h 322"/>
                <a:gd name="T22" fmla="*/ 96 w 527"/>
                <a:gd name="T23" fmla="*/ 156 h 322"/>
                <a:gd name="T24" fmla="*/ 144 w 527"/>
                <a:gd name="T25" fmla="*/ 116 h 322"/>
                <a:gd name="T26" fmla="*/ 176 w 527"/>
                <a:gd name="T27" fmla="*/ 64 h 322"/>
                <a:gd name="T28" fmla="*/ 192 w 527"/>
                <a:gd name="T29" fmla="*/ 40 h 322"/>
                <a:gd name="T30" fmla="*/ 192 w 527"/>
                <a:gd name="T31" fmla="*/ 0 h 3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7"/>
                <a:gd name="T49" fmla="*/ 0 h 322"/>
                <a:gd name="T50" fmla="*/ 527 w 527"/>
                <a:gd name="T51" fmla="*/ 322 h 3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7" h="322">
                  <a:moveTo>
                    <a:pt x="192" y="0"/>
                  </a:moveTo>
                  <a:cubicBezTo>
                    <a:pt x="228" y="12"/>
                    <a:pt x="283" y="52"/>
                    <a:pt x="395" y="84"/>
                  </a:cubicBezTo>
                  <a:cubicBezTo>
                    <a:pt x="411" y="84"/>
                    <a:pt x="463" y="84"/>
                    <a:pt x="479" y="96"/>
                  </a:cubicBezTo>
                  <a:cubicBezTo>
                    <a:pt x="491" y="136"/>
                    <a:pt x="499" y="176"/>
                    <a:pt x="507" y="216"/>
                  </a:cubicBezTo>
                  <a:cubicBezTo>
                    <a:pt x="511" y="228"/>
                    <a:pt x="527" y="252"/>
                    <a:pt x="527" y="252"/>
                  </a:cubicBezTo>
                  <a:cubicBezTo>
                    <a:pt x="490" y="253"/>
                    <a:pt x="484" y="250"/>
                    <a:pt x="443" y="267"/>
                  </a:cubicBezTo>
                  <a:cubicBezTo>
                    <a:pt x="423" y="271"/>
                    <a:pt x="375" y="292"/>
                    <a:pt x="375" y="292"/>
                  </a:cubicBezTo>
                  <a:cubicBezTo>
                    <a:pt x="334" y="294"/>
                    <a:pt x="314" y="303"/>
                    <a:pt x="277" y="304"/>
                  </a:cubicBezTo>
                  <a:cubicBezTo>
                    <a:pt x="242" y="308"/>
                    <a:pt x="206" y="314"/>
                    <a:pt x="170" y="318"/>
                  </a:cubicBezTo>
                  <a:cubicBezTo>
                    <a:pt x="113" y="315"/>
                    <a:pt x="100" y="322"/>
                    <a:pt x="8" y="312"/>
                  </a:cubicBezTo>
                  <a:cubicBezTo>
                    <a:pt x="0" y="312"/>
                    <a:pt x="16" y="288"/>
                    <a:pt x="16" y="288"/>
                  </a:cubicBezTo>
                  <a:cubicBezTo>
                    <a:pt x="28" y="180"/>
                    <a:pt x="8" y="180"/>
                    <a:pt x="96" y="156"/>
                  </a:cubicBezTo>
                  <a:cubicBezTo>
                    <a:pt x="112" y="140"/>
                    <a:pt x="124" y="124"/>
                    <a:pt x="144" y="116"/>
                  </a:cubicBezTo>
                  <a:cubicBezTo>
                    <a:pt x="160" y="96"/>
                    <a:pt x="164" y="84"/>
                    <a:pt x="176" y="64"/>
                  </a:cubicBezTo>
                  <a:cubicBezTo>
                    <a:pt x="180" y="56"/>
                    <a:pt x="192" y="40"/>
                    <a:pt x="192" y="40"/>
                  </a:cubicBezTo>
                  <a:cubicBezTo>
                    <a:pt x="184" y="8"/>
                    <a:pt x="180" y="20"/>
                    <a:pt x="192" y="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0" name="Freeform 2524">
              <a:extLst>
                <a:ext uri="{FF2B5EF4-FFF2-40B4-BE49-F238E27FC236}">
                  <a16:creationId xmlns:a16="http://schemas.microsoft.com/office/drawing/2014/main" id="{BD7E4765-28F1-450F-AE61-1B20F453EE9B}"/>
                </a:ext>
              </a:extLst>
            </p:cNvPr>
            <p:cNvSpPr>
              <a:spLocks noChangeAspect="1"/>
            </p:cNvSpPr>
            <p:nvPr>
              <p:custDataLst>
                <p:tags r:id="rId23"/>
              </p:custDataLst>
            </p:nvPr>
          </p:nvSpPr>
          <p:spPr bwMode="auto">
            <a:xfrm>
              <a:off x="5549575" y="3234152"/>
              <a:ext cx="559872" cy="542689"/>
            </a:xfrm>
            <a:custGeom>
              <a:avLst/>
              <a:gdLst>
                <a:gd name="T0" fmla="*/ 586 w 1566"/>
                <a:gd name="T1" fmla="*/ 52 h 1516"/>
                <a:gd name="T2" fmla="*/ 550 w 1566"/>
                <a:gd name="T3" fmla="*/ 160 h 1516"/>
                <a:gd name="T4" fmla="*/ 422 w 1566"/>
                <a:gd name="T5" fmla="*/ 196 h 1516"/>
                <a:gd name="T6" fmla="*/ 394 w 1566"/>
                <a:gd name="T7" fmla="*/ 292 h 1516"/>
                <a:gd name="T8" fmla="*/ 430 w 1566"/>
                <a:gd name="T9" fmla="*/ 324 h 1516"/>
                <a:gd name="T10" fmla="*/ 382 w 1566"/>
                <a:gd name="T11" fmla="*/ 388 h 1516"/>
                <a:gd name="T12" fmla="*/ 326 w 1566"/>
                <a:gd name="T13" fmla="*/ 520 h 1516"/>
                <a:gd name="T14" fmla="*/ 318 w 1566"/>
                <a:gd name="T15" fmla="*/ 628 h 1516"/>
                <a:gd name="T16" fmla="*/ 346 w 1566"/>
                <a:gd name="T17" fmla="*/ 700 h 1516"/>
                <a:gd name="T18" fmla="*/ 290 w 1566"/>
                <a:gd name="T19" fmla="*/ 664 h 1516"/>
                <a:gd name="T20" fmla="*/ 206 w 1566"/>
                <a:gd name="T21" fmla="*/ 732 h 1516"/>
                <a:gd name="T22" fmla="*/ 214 w 1566"/>
                <a:gd name="T23" fmla="*/ 752 h 1516"/>
                <a:gd name="T24" fmla="*/ 130 w 1566"/>
                <a:gd name="T25" fmla="*/ 808 h 1516"/>
                <a:gd name="T26" fmla="*/ 62 w 1566"/>
                <a:gd name="T27" fmla="*/ 816 h 1516"/>
                <a:gd name="T28" fmla="*/ 14 w 1566"/>
                <a:gd name="T29" fmla="*/ 888 h 1516"/>
                <a:gd name="T30" fmla="*/ 105 w 1566"/>
                <a:gd name="T31" fmla="*/ 1084 h 1516"/>
                <a:gd name="T32" fmla="*/ 106 w 1566"/>
                <a:gd name="T33" fmla="*/ 1188 h 1516"/>
                <a:gd name="T34" fmla="*/ 27 w 1566"/>
                <a:gd name="T35" fmla="*/ 1266 h 1516"/>
                <a:gd name="T36" fmla="*/ 91 w 1566"/>
                <a:gd name="T37" fmla="*/ 1336 h 1516"/>
                <a:gd name="T38" fmla="*/ 142 w 1566"/>
                <a:gd name="T39" fmla="*/ 1516 h 1516"/>
                <a:gd name="T40" fmla="*/ 205 w 1566"/>
                <a:gd name="T41" fmla="*/ 1458 h 1516"/>
                <a:gd name="T42" fmla="*/ 232 w 1566"/>
                <a:gd name="T43" fmla="*/ 1426 h 1516"/>
                <a:gd name="T44" fmla="*/ 357 w 1566"/>
                <a:gd name="T45" fmla="*/ 1339 h 1516"/>
                <a:gd name="T46" fmla="*/ 498 w 1566"/>
                <a:gd name="T47" fmla="*/ 1309 h 1516"/>
                <a:gd name="T48" fmla="*/ 700 w 1566"/>
                <a:gd name="T49" fmla="*/ 1320 h 1516"/>
                <a:gd name="T50" fmla="*/ 777 w 1566"/>
                <a:gd name="T51" fmla="*/ 1350 h 1516"/>
                <a:gd name="T52" fmla="*/ 867 w 1566"/>
                <a:gd name="T53" fmla="*/ 1365 h 1516"/>
                <a:gd name="T54" fmla="*/ 922 w 1566"/>
                <a:gd name="T55" fmla="*/ 1312 h 1516"/>
                <a:gd name="T56" fmla="*/ 1006 w 1566"/>
                <a:gd name="T57" fmla="*/ 1308 h 1516"/>
                <a:gd name="T58" fmla="*/ 1089 w 1566"/>
                <a:gd name="T59" fmla="*/ 1266 h 1516"/>
                <a:gd name="T60" fmla="*/ 1162 w 1566"/>
                <a:gd name="T61" fmla="*/ 1327 h 1516"/>
                <a:gd name="T62" fmla="*/ 1270 w 1566"/>
                <a:gd name="T63" fmla="*/ 1236 h 1516"/>
                <a:gd name="T64" fmla="*/ 1386 w 1566"/>
                <a:gd name="T65" fmla="*/ 1261 h 1516"/>
                <a:gd name="T66" fmla="*/ 1369 w 1566"/>
                <a:gd name="T67" fmla="*/ 1204 h 1516"/>
                <a:gd name="T68" fmla="*/ 1447 w 1566"/>
                <a:gd name="T69" fmla="*/ 1000 h 1516"/>
                <a:gd name="T70" fmla="*/ 1498 w 1566"/>
                <a:gd name="T71" fmla="*/ 928 h 1516"/>
                <a:gd name="T72" fmla="*/ 1374 w 1566"/>
                <a:gd name="T73" fmla="*/ 748 h 1516"/>
                <a:gd name="T74" fmla="*/ 1498 w 1566"/>
                <a:gd name="T75" fmla="*/ 680 h 1516"/>
                <a:gd name="T76" fmla="*/ 1558 w 1566"/>
                <a:gd name="T77" fmla="*/ 640 h 1516"/>
                <a:gd name="T78" fmla="*/ 1522 w 1566"/>
                <a:gd name="T79" fmla="*/ 556 h 1516"/>
                <a:gd name="T80" fmla="*/ 1318 w 1566"/>
                <a:gd name="T81" fmla="*/ 432 h 1516"/>
                <a:gd name="T82" fmla="*/ 1210 w 1566"/>
                <a:gd name="T83" fmla="*/ 360 h 1516"/>
                <a:gd name="T84" fmla="*/ 1086 w 1566"/>
                <a:gd name="T85" fmla="*/ 168 h 1516"/>
                <a:gd name="T86" fmla="*/ 926 w 1566"/>
                <a:gd name="T87" fmla="*/ 64 h 1516"/>
                <a:gd name="T88" fmla="*/ 854 w 1566"/>
                <a:gd name="T89" fmla="*/ 64 h 1516"/>
                <a:gd name="T90" fmla="*/ 606 w 1566"/>
                <a:gd name="T91" fmla="*/ 16 h 15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6"/>
                <a:gd name="T139" fmla="*/ 0 h 1516"/>
                <a:gd name="T140" fmla="*/ 1566 w 1566"/>
                <a:gd name="T141" fmla="*/ 1516 h 15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6" h="1516">
                  <a:moveTo>
                    <a:pt x="606" y="16"/>
                  </a:moveTo>
                  <a:cubicBezTo>
                    <a:pt x="598" y="44"/>
                    <a:pt x="602" y="36"/>
                    <a:pt x="586" y="52"/>
                  </a:cubicBezTo>
                  <a:cubicBezTo>
                    <a:pt x="574" y="68"/>
                    <a:pt x="546" y="104"/>
                    <a:pt x="542" y="120"/>
                  </a:cubicBezTo>
                  <a:cubicBezTo>
                    <a:pt x="554" y="136"/>
                    <a:pt x="554" y="140"/>
                    <a:pt x="550" y="160"/>
                  </a:cubicBezTo>
                  <a:cubicBezTo>
                    <a:pt x="538" y="160"/>
                    <a:pt x="486" y="152"/>
                    <a:pt x="466" y="160"/>
                  </a:cubicBezTo>
                  <a:cubicBezTo>
                    <a:pt x="450" y="168"/>
                    <a:pt x="442" y="188"/>
                    <a:pt x="422" y="196"/>
                  </a:cubicBezTo>
                  <a:cubicBezTo>
                    <a:pt x="418" y="208"/>
                    <a:pt x="410" y="232"/>
                    <a:pt x="410" y="232"/>
                  </a:cubicBezTo>
                  <a:cubicBezTo>
                    <a:pt x="406" y="264"/>
                    <a:pt x="402" y="268"/>
                    <a:pt x="394" y="292"/>
                  </a:cubicBezTo>
                  <a:cubicBezTo>
                    <a:pt x="398" y="300"/>
                    <a:pt x="398" y="312"/>
                    <a:pt x="406" y="316"/>
                  </a:cubicBezTo>
                  <a:cubicBezTo>
                    <a:pt x="414" y="320"/>
                    <a:pt x="430" y="324"/>
                    <a:pt x="430" y="324"/>
                  </a:cubicBezTo>
                  <a:cubicBezTo>
                    <a:pt x="466" y="360"/>
                    <a:pt x="430" y="360"/>
                    <a:pt x="406" y="376"/>
                  </a:cubicBezTo>
                  <a:cubicBezTo>
                    <a:pt x="390" y="388"/>
                    <a:pt x="398" y="384"/>
                    <a:pt x="382" y="388"/>
                  </a:cubicBezTo>
                  <a:cubicBezTo>
                    <a:pt x="362" y="420"/>
                    <a:pt x="350" y="456"/>
                    <a:pt x="322" y="484"/>
                  </a:cubicBezTo>
                  <a:cubicBezTo>
                    <a:pt x="318" y="496"/>
                    <a:pt x="326" y="520"/>
                    <a:pt x="326" y="520"/>
                  </a:cubicBezTo>
                  <a:cubicBezTo>
                    <a:pt x="314" y="552"/>
                    <a:pt x="318" y="536"/>
                    <a:pt x="314" y="564"/>
                  </a:cubicBezTo>
                  <a:cubicBezTo>
                    <a:pt x="314" y="584"/>
                    <a:pt x="314" y="608"/>
                    <a:pt x="318" y="628"/>
                  </a:cubicBezTo>
                  <a:cubicBezTo>
                    <a:pt x="322" y="648"/>
                    <a:pt x="354" y="660"/>
                    <a:pt x="362" y="684"/>
                  </a:cubicBezTo>
                  <a:cubicBezTo>
                    <a:pt x="358" y="696"/>
                    <a:pt x="362" y="700"/>
                    <a:pt x="346" y="700"/>
                  </a:cubicBezTo>
                  <a:cubicBezTo>
                    <a:pt x="334" y="700"/>
                    <a:pt x="310" y="680"/>
                    <a:pt x="310" y="680"/>
                  </a:cubicBezTo>
                  <a:cubicBezTo>
                    <a:pt x="314" y="660"/>
                    <a:pt x="310" y="656"/>
                    <a:pt x="290" y="664"/>
                  </a:cubicBezTo>
                  <a:cubicBezTo>
                    <a:pt x="274" y="680"/>
                    <a:pt x="270" y="696"/>
                    <a:pt x="254" y="708"/>
                  </a:cubicBezTo>
                  <a:cubicBezTo>
                    <a:pt x="214" y="704"/>
                    <a:pt x="230" y="708"/>
                    <a:pt x="206" y="732"/>
                  </a:cubicBezTo>
                  <a:cubicBezTo>
                    <a:pt x="206" y="736"/>
                    <a:pt x="202" y="740"/>
                    <a:pt x="202" y="744"/>
                  </a:cubicBezTo>
                  <a:cubicBezTo>
                    <a:pt x="202" y="748"/>
                    <a:pt x="214" y="748"/>
                    <a:pt x="214" y="752"/>
                  </a:cubicBezTo>
                  <a:cubicBezTo>
                    <a:pt x="218" y="772"/>
                    <a:pt x="190" y="772"/>
                    <a:pt x="178" y="776"/>
                  </a:cubicBezTo>
                  <a:cubicBezTo>
                    <a:pt x="174" y="796"/>
                    <a:pt x="150" y="804"/>
                    <a:pt x="130" y="808"/>
                  </a:cubicBezTo>
                  <a:cubicBezTo>
                    <a:pt x="122" y="804"/>
                    <a:pt x="118" y="792"/>
                    <a:pt x="110" y="792"/>
                  </a:cubicBezTo>
                  <a:cubicBezTo>
                    <a:pt x="98" y="792"/>
                    <a:pt x="70" y="808"/>
                    <a:pt x="62" y="816"/>
                  </a:cubicBezTo>
                  <a:cubicBezTo>
                    <a:pt x="42" y="828"/>
                    <a:pt x="24" y="820"/>
                    <a:pt x="0" y="820"/>
                  </a:cubicBezTo>
                  <a:cubicBezTo>
                    <a:pt x="22" y="849"/>
                    <a:pt x="2" y="860"/>
                    <a:pt x="14" y="888"/>
                  </a:cubicBezTo>
                  <a:cubicBezTo>
                    <a:pt x="10" y="903"/>
                    <a:pt x="67" y="1014"/>
                    <a:pt x="82" y="1040"/>
                  </a:cubicBezTo>
                  <a:cubicBezTo>
                    <a:pt x="90" y="1052"/>
                    <a:pt x="101" y="1072"/>
                    <a:pt x="105" y="1084"/>
                  </a:cubicBezTo>
                  <a:cubicBezTo>
                    <a:pt x="109" y="1096"/>
                    <a:pt x="124" y="1113"/>
                    <a:pt x="126" y="1120"/>
                  </a:cubicBezTo>
                  <a:cubicBezTo>
                    <a:pt x="122" y="1156"/>
                    <a:pt x="130" y="1164"/>
                    <a:pt x="106" y="1188"/>
                  </a:cubicBezTo>
                  <a:cubicBezTo>
                    <a:pt x="75" y="1201"/>
                    <a:pt x="65" y="1216"/>
                    <a:pt x="52" y="1237"/>
                  </a:cubicBezTo>
                  <a:cubicBezTo>
                    <a:pt x="39" y="1250"/>
                    <a:pt x="31" y="1254"/>
                    <a:pt x="27" y="1266"/>
                  </a:cubicBezTo>
                  <a:cubicBezTo>
                    <a:pt x="23" y="1278"/>
                    <a:pt x="31" y="1300"/>
                    <a:pt x="30" y="1312"/>
                  </a:cubicBezTo>
                  <a:cubicBezTo>
                    <a:pt x="36" y="1342"/>
                    <a:pt x="51" y="1328"/>
                    <a:pt x="91" y="1336"/>
                  </a:cubicBezTo>
                  <a:cubicBezTo>
                    <a:pt x="106" y="1347"/>
                    <a:pt x="118" y="1348"/>
                    <a:pt x="126" y="1368"/>
                  </a:cubicBezTo>
                  <a:cubicBezTo>
                    <a:pt x="122" y="1416"/>
                    <a:pt x="114" y="1476"/>
                    <a:pt x="142" y="1516"/>
                  </a:cubicBezTo>
                  <a:cubicBezTo>
                    <a:pt x="158" y="1512"/>
                    <a:pt x="142" y="1492"/>
                    <a:pt x="163" y="1485"/>
                  </a:cubicBezTo>
                  <a:cubicBezTo>
                    <a:pt x="171" y="1465"/>
                    <a:pt x="185" y="1466"/>
                    <a:pt x="205" y="1458"/>
                  </a:cubicBezTo>
                  <a:cubicBezTo>
                    <a:pt x="209" y="1454"/>
                    <a:pt x="215" y="1450"/>
                    <a:pt x="219" y="1446"/>
                  </a:cubicBezTo>
                  <a:cubicBezTo>
                    <a:pt x="223" y="1442"/>
                    <a:pt x="228" y="1430"/>
                    <a:pt x="232" y="1426"/>
                  </a:cubicBezTo>
                  <a:cubicBezTo>
                    <a:pt x="264" y="1416"/>
                    <a:pt x="247" y="1392"/>
                    <a:pt x="290" y="1368"/>
                  </a:cubicBezTo>
                  <a:cubicBezTo>
                    <a:pt x="310" y="1356"/>
                    <a:pt x="357" y="1339"/>
                    <a:pt x="357" y="1339"/>
                  </a:cubicBezTo>
                  <a:cubicBezTo>
                    <a:pt x="379" y="1339"/>
                    <a:pt x="394" y="1332"/>
                    <a:pt x="418" y="1336"/>
                  </a:cubicBezTo>
                  <a:cubicBezTo>
                    <a:pt x="454" y="1335"/>
                    <a:pt x="472" y="1335"/>
                    <a:pt x="498" y="1309"/>
                  </a:cubicBezTo>
                  <a:cubicBezTo>
                    <a:pt x="535" y="1312"/>
                    <a:pt x="582" y="1305"/>
                    <a:pt x="616" y="1308"/>
                  </a:cubicBezTo>
                  <a:cubicBezTo>
                    <a:pt x="630" y="1317"/>
                    <a:pt x="678" y="1318"/>
                    <a:pt x="700" y="1320"/>
                  </a:cubicBezTo>
                  <a:cubicBezTo>
                    <a:pt x="721" y="1333"/>
                    <a:pt x="729" y="1317"/>
                    <a:pt x="750" y="1296"/>
                  </a:cubicBezTo>
                  <a:cubicBezTo>
                    <a:pt x="750" y="1318"/>
                    <a:pt x="769" y="1350"/>
                    <a:pt x="777" y="1350"/>
                  </a:cubicBezTo>
                  <a:cubicBezTo>
                    <a:pt x="789" y="1344"/>
                    <a:pt x="783" y="1329"/>
                    <a:pt x="855" y="1330"/>
                  </a:cubicBezTo>
                  <a:cubicBezTo>
                    <a:pt x="863" y="1334"/>
                    <a:pt x="859" y="1365"/>
                    <a:pt x="867" y="1365"/>
                  </a:cubicBezTo>
                  <a:cubicBezTo>
                    <a:pt x="875" y="1361"/>
                    <a:pt x="898" y="1344"/>
                    <a:pt x="898" y="1344"/>
                  </a:cubicBezTo>
                  <a:cubicBezTo>
                    <a:pt x="902" y="1336"/>
                    <a:pt x="914" y="1316"/>
                    <a:pt x="922" y="1312"/>
                  </a:cubicBezTo>
                  <a:cubicBezTo>
                    <a:pt x="924" y="1291"/>
                    <a:pt x="964" y="1305"/>
                    <a:pt x="964" y="1305"/>
                  </a:cubicBezTo>
                  <a:cubicBezTo>
                    <a:pt x="976" y="1309"/>
                    <a:pt x="994" y="1304"/>
                    <a:pt x="1006" y="1308"/>
                  </a:cubicBezTo>
                  <a:cubicBezTo>
                    <a:pt x="1012" y="1335"/>
                    <a:pt x="1013" y="1346"/>
                    <a:pt x="1041" y="1350"/>
                  </a:cubicBezTo>
                  <a:cubicBezTo>
                    <a:pt x="1047" y="1323"/>
                    <a:pt x="1066" y="1293"/>
                    <a:pt x="1089" y="1266"/>
                  </a:cubicBezTo>
                  <a:cubicBezTo>
                    <a:pt x="1108" y="1264"/>
                    <a:pt x="1122" y="1252"/>
                    <a:pt x="1132" y="1261"/>
                  </a:cubicBezTo>
                  <a:cubicBezTo>
                    <a:pt x="1144" y="1271"/>
                    <a:pt x="1125" y="1305"/>
                    <a:pt x="1162" y="1327"/>
                  </a:cubicBezTo>
                  <a:cubicBezTo>
                    <a:pt x="1206" y="1315"/>
                    <a:pt x="1159" y="1267"/>
                    <a:pt x="1222" y="1275"/>
                  </a:cubicBezTo>
                  <a:cubicBezTo>
                    <a:pt x="1236" y="1275"/>
                    <a:pt x="1254" y="1241"/>
                    <a:pt x="1270" y="1236"/>
                  </a:cubicBezTo>
                  <a:cubicBezTo>
                    <a:pt x="1309" y="1252"/>
                    <a:pt x="1327" y="1269"/>
                    <a:pt x="1334" y="1284"/>
                  </a:cubicBezTo>
                  <a:cubicBezTo>
                    <a:pt x="1354" y="1288"/>
                    <a:pt x="1389" y="1296"/>
                    <a:pt x="1386" y="1261"/>
                  </a:cubicBezTo>
                  <a:cubicBezTo>
                    <a:pt x="1387" y="1254"/>
                    <a:pt x="1395" y="1246"/>
                    <a:pt x="1392" y="1237"/>
                  </a:cubicBezTo>
                  <a:cubicBezTo>
                    <a:pt x="1389" y="1228"/>
                    <a:pt x="1378" y="1236"/>
                    <a:pt x="1369" y="1204"/>
                  </a:cubicBezTo>
                  <a:cubicBezTo>
                    <a:pt x="1357" y="1140"/>
                    <a:pt x="1370" y="1072"/>
                    <a:pt x="1426" y="1036"/>
                  </a:cubicBezTo>
                  <a:cubicBezTo>
                    <a:pt x="1434" y="1016"/>
                    <a:pt x="1450" y="1017"/>
                    <a:pt x="1447" y="1000"/>
                  </a:cubicBezTo>
                  <a:cubicBezTo>
                    <a:pt x="1491" y="999"/>
                    <a:pt x="1507" y="982"/>
                    <a:pt x="1537" y="975"/>
                  </a:cubicBezTo>
                  <a:cubicBezTo>
                    <a:pt x="1533" y="955"/>
                    <a:pt x="1518" y="940"/>
                    <a:pt x="1498" y="928"/>
                  </a:cubicBezTo>
                  <a:cubicBezTo>
                    <a:pt x="1482" y="904"/>
                    <a:pt x="1466" y="884"/>
                    <a:pt x="1438" y="876"/>
                  </a:cubicBezTo>
                  <a:cubicBezTo>
                    <a:pt x="1418" y="848"/>
                    <a:pt x="1386" y="772"/>
                    <a:pt x="1374" y="748"/>
                  </a:cubicBezTo>
                  <a:cubicBezTo>
                    <a:pt x="1370" y="740"/>
                    <a:pt x="1358" y="724"/>
                    <a:pt x="1358" y="724"/>
                  </a:cubicBezTo>
                  <a:cubicBezTo>
                    <a:pt x="1378" y="684"/>
                    <a:pt x="1462" y="680"/>
                    <a:pt x="1498" y="680"/>
                  </a:cubicBezTo>
                  <a:cubicBezTo>
                    <a:pt x="1514" y="676"/>
                    <a:pt x="1518" y="664"/>
                    <a:pt x="1534" y="660"/>
                  </a:cubicBezTo>
                  <a:cubicBezTo>
                    <a:pt x="1542" y="652"/>
                    <a:pt x="1554" y="648"/>
                    <a:pt x="1558" y="640"/>
                  </a:cubicBezTo>
                  <a:cubicBezTo>
                    <a:pt x="1562" y="632"/>
                    <a:pt x="1566" y="616"/>
                    <a:pt x="1566" y="616"/>
                  </a:cubicBezTo>
                  <a:cubicBezTo>
                    <a:pt x="1558" y="540"/>
                    <a:pt x="1566" y="584"/>
                    <a:pt x="1522" y="556"/>
                  </a:cubicBezTo>
                  <a:cubicBezTo>
                    <a:pt x="1490" y="512"/>
                    <a:pt x="1426" y="512"/>
                    <a:pt x="1378" y="508"/>
                  </a:cubicBezTo>
                  <a:cubicBezTo>
                    <a:pt x="1358" y="480"/>
                    <a:pt x="1354" y="440"/>
                    <a:pt x="1318" y="432"/>
                  </a:cubicBezTo>
                  <a:cubicBezTo>
                    <a:pt x="1274" y="436"/>
                    <a:pt x="1282" y="436"/>
                    <a:pt x="1250" y="416"/>
                  </a:cubicBezTo>
                  <a:cubicBezTo>
                    <a:pt x="1246" y="392"/>
                    <a:pt x="1234" y="368"/>
                    <a:pt x="1210" y="360"/>
                  </a:cubicBezTo>
                  <a:cubicBezTo>
                    <a:pt x="1202" y="332"/>
                    <a:pt x="1154" y="320"/>
                    <a:pt x="1134" y="292"/>
                  </a:cubicBezTo>
                  <a:cubicBezTo>
                    <a:pt x="1118" y="236"/>
                    <a:pt x="1118" y="212"/>
                    <a:pt x="1086" y="168"/>
                  </a:cubicBezTo>
                  <a:cubicBezTo>
                    <a:pt x="1082" y="124"/>
                    <a:pt x="1078" y="48"/>
                    <a:pt x="1046" y="16"/>
                  </a:cubicBezTo>
                  <a:cubicBezTo>
                    <a:pt x="978" y="20"/>
                    <a:pt x="974" y="48"/>
                    <a:pt x="926" y="64"/>
                  </a:cubicBezTo>
                  <a:cubicBezTo>
                    <a:pt x="914" y="80"/>
                    <a:pt x="906" y="80"/>
                    <a:pt x="890" y="84"/>
                  </a:cubicBezTo>
                  <a:cubicBezTo>
                    <a:pt x="878" y="80"/>
                    <a:pt x="854" y="64"/>
                    <a:pt x="854" y="64"/>
                  </a:cubicBezTo>
                  <a:cubicBezTo>
                    <a:pt x="818" y="8"/>
                    <a:pt x="746" y="32"/>
                    <a:pt x="682" y="28"/>
                  </a:cubicBezTo>
                  <a:cubicBezTo>
                    <a:pt x="666" y="24"/>
                    <a:pt x="614" y="0"/>
                    <a:pt x="606" y="16"/>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1" name="Freeform 2525">
              <a:extLst>
                <a:ext uri="{FF2B5EF4-FFF2-40B4-BE49-F238E27FC236}">
                  <a16:creationId xmlns:a16="http://schemas.microsoft.com/office/drawing/2014/main" id="{616F4414-5E59-48CD-B4C6-021031FFAE0C}"/>
                </a:ext>
              </a:extLst>
            </p:cNvPr>
            <p:cNvSpPr>
              <a:spLocks noChangeAspect="1"/>
            </p:cNvSpPr>
            <p:nvPr>
              <p:custDataLst>
                <p:tags r:id="rId24"/>
              </p:custDataLst>
            </p:nvPr>
          </p:nvSpPr>
          <p:spPr bwMode="auto">
            <a:xfrm>
              <a:off x="5565325" y="3519100"/>
              <a:ext cx="1189907" cy="819045"/>
            </a:xfrm>
            <a:custGeom>
              <a:avLst/>
              <a:gdLst>
                <a:gd name="T0" fmla="*/ 1359 w 3327"/>
                <a:gd name="T1" fmla="*/ 260 h 2288"/>
                <a:gd name="T2" fmla="*/ 1347 w 3327"/>
                <a:gd name="T3" fmla="*/ 440 h 2288"/>
                <a:gd name="T4" fmla="*/ 1195 w 3327"/>
                <a:gd name="T5" fmla="*/ 464 h 2288"/>
                <a:gd name="T6" fmla="*/ 1087 w 3327"/>
                <a:gd name="T7" fmla="*/ 464 h 2288"/>
                <a:gd name="T8" fmla="*/ 975 w 3327"/>
                <a:gd name="T9" fmla="*/ 548 h 2288"/>
                <a:gd name="T10" fmla="*/ 823 w 3327"/>
                <a:gd name="T11" fmla="*/ 572 h 2288"/>
                <a:gd name="T12" fmla="*/ 710 w 3327"/>
                <a:gd name="T13" fmla="*/ 501 h 2288"/>
                <a:gd name="T14" fmla="*/ 451 w 3327"/>
                <a:gd name="T15" fmla="*/ 516 h 2288"/>
                <a:gd name="T16" fmla="*/ 187 w 3327"/>
                <a:gd name="T17" fmla="*/ 632 h 2288"/>
                <a:gd name="T18" fmla="*/ 98 w 3327"/>
                <a:gd name="T19" fmla="*/ 723 h 2288"/>
                <a:gd name="T20" fmla="*/ 183 w 3327"/>
                <a:gd name="T21" fmla="*/ 849 h 2288"/>
                <a:gd name="T22" fmla="*/ 231 w 3327"/>
                <a:gd name="T23" fmla="*/ 1012 h 2288"/>
                <a:gd name="T24" fmla="*/ 77 w 3327"/>
                <a:gd name="T25" fmla="*/ 1253 h 2288"/>
                <a:gd name="T26" fmla="*/ 79 w 3327"/>
                <a:gd name="T27" fmla="*/ 1448 h 2288"/>
                <a:gd name="T28" fmla="*/ 0 w 3327"/>
                <a:gd name="T29" fmla="*/ 1664 h 2288"/>
                <a:gd name="T30" fmla="*/ 161 w 3327"/>
                <a:gd name="T31" fmla="*/ 1773 h 2288"/>
                <a:gd name="T32" fmla="*/ 618 w 3327"/>
                <a:gd name="T33" fmla="*/ 1704 h 2288"/>
                <a:gd name="T34" fmla="*/ 902 w 3327"/>
                <a:gd name="T35" fmla="*/ 1529 h 2288"/>
                <a:gd name="T36" fmla="*/ 978 w 3327"/>
                <a:gd name="T37" fmla="*/ 1430 h 2288"/>
                <a:gd name="T38" fmla="*/ 1148 w 3327"/>
                <a:gd name="T39" fmla="*/ 1452 h 2288"/>
                <a:gd name="T40" fmla="*/ 1388 w 3327"/>
                <a:gd name="T41" fmla="*/ 1538 h 2288"/>
                <a:gd name="T42" fmla="*/ 1476 w 3327"/>
                <a:gd name="T43" fmla="*/ 1649 h 2288"/>
                <a:gd name="T44" fmla="*/ 1557 w 3327"/>
                <a:gd name="T45" fmla="*/ 1802 h 2288"/>
                <a:gd name="T46" fmla="*/ 1505 w 3327"/>
                <a:gd name="T47" fmla="*/ 1907 h 2288"/>
                <a:gd name="T48" fmla="*/ 1430 w 3327"/>
                <a:gd name="T49" fmla="*/ 1961 h 2288"/>
                <a:gd name="T50" fmla="*/ 1407 w 3327"/>
                <a:gd name="T51" fmla="*/ 2140 h 2288"/>
                <a:gd name="T52" fmla="*/ 1433 w 3327"/>
                <a:gd name="T53" fmla="*/ 2280 h 2288"/>
                <a:gd name="T54" fmla="*/ 1523 w 3327"/>
                <a:gd name="T55" fmla="*/ 2189 h 2288"/>
                <a:gd name="T56" fmla="*/ 1687 w 3327"/>
                <a:gd name="T57" fmla="*/ 2060 h 2288"/>
                <a:gd name="T58" fmla="*/ 1783 w 3327"/>
                <a:gd name="T59" fmla="*/ 1832 h 2288"/>
                <a:gd name="T60" fmla="*/ 1959 w 3327"/>
                <a:gd name="T61" fmla="*/ 1668 h 2288"/>
                <a:gd name="T62" fmla="*/ 1975 w 3327"/>
                <a:gd name="T63" fmla="*/ 1800 h 2288"/>
                <a:gd name="T64" fmla="*/ 2271 w 3327"/>
                <a:gd name="T65" fmla="*/ 1796 h 2288"/>
                <a:gd name="T66" fmla="*/ 2295 w 3327"/>
                <a:gd name="T67" fmla="*/ 1896 h 2288"/>
                <a:gd name="T68" fmla="*/ 2211 w 3327"/>
                <a:gd name="T69" fmla="*/ 2024 h 2288"/>
                <a:gd name="T70" fmla="*/ 2455 w 3327"/>
                <a:gd name="T71" fmla="*/ 2072 h 2288"/>
                <a:gd name="T72" fmla="*/ 2623 w 3327"/>
                <a:gd name="T73" fmla="*/ 2148 h 2288"/>
                <a:gd name="T74" fmla="*/ 2723 w 3327"/>
                <a:gd name="T75" fmla="*/ 2000 h 2288"/>
                <a:gd name="T76" fmla="*/ 2827 w 3327"/>
                <a:gd name="T77" fmla="*/ 1892 h 2288"/>
                <a:gd name="T78" fmla="*/ 2995 w 3327"/>
                <a:gd name="T79" fmla="*/ 1716 h 2288"/>
                <a:gd name="T80" fmla="*/ 2787 w 3327"/>
                <a:gd name="T81" fmla="*/ 1832 h 2288"/>
                <a:gd name="T82" fmla="*/ 2607 w 3327"/>
                <a:gd name="T83" fmla="*/ 1724 h 2288"/>
                <a:gd name="T84" fmla="*/ 2667 w 3327"/>
                <a:gd name="T85" fmla="*/ 1556 h 2288"/>
                <a:gd name="T86" fmla="*/ 2767 w 3327"/>
                <a:gd name="T87" fmla="*/ 1420 h 2288"/>
                <a:gd name="T88" fmla="*/ 2935 w 3327"/>
                <a:gd name="T89" fmla="*/ 1296 h 2288"/>
                <a:gd name="T90" fmla="*/ 3099 w 3327"/>
                <a:gd name="T91" fmla="*/ 1148 h 2288"/>
                <a:gd name="T92" fmla="*/ 3127 w 3327"/>
                <a:gd name="T93" fmla="*/ 908 h 2288"/>
                <a:gd name="T94" fmla="*/ 3295 w 3327"/>
                <a:gd name="T95" fmla="*/ 756 h 2288"/>
                <a:gd name="T96" fmla="*/ 2979 w 3327"/>
                <a:gd name="T97" fmla="*/ 344 h 2288"/>
                <a:gd name="T98" fmla="*/ 2659 w 3327"/>
                <a:gd name="T99" fmla="*/ 344 h 2288"/>
                <a:gd name="T100" fmla="*/ 2379 w 3327"/>
                <a:gd name="T101" fmla="*/ 396 h 2288"/>
                <a:gd name="T102" fmla="*/ 2211 w 3327"/>
                <a:gd name="T103" fmla="*/ 296 h 2288"/>
                <a:gd name="T104" fmla="*/ 1959 w 3327"/>
                <a:gd name="T105" fmla="*/ 128 h 2288"/>
                <a:gd name="T106" fmla="*/ 1599 w 3327"/>
                <a:gd name="T107" fmla="*/ 80 h 2288"/>
                <a:gd name="T108" fmla="*/ 1483 w 3327"/>
                <a:gd name="T109" fmla="*/ 180 h 2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27"/>
                <a:gd name="T166" fmla="*/ 0 h 2288"/>
                <a:gd name="T167" fmla="*/ 3327 w 3327"/>
                <a:gd name="T168" fmla="*/ 2288 h 228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27" h="2288">
                  <a:moveTo>
                    <a:pt x="1407" y="204"/>
                  </a:moveTo>
                  <a:cubicBezTo>
                    <a:pt x="1403" y="204"/>
                    <a:pt x="1407" y="212"/>
                    <a:pt x="1403" y="216"/>
                  </a:cubicBezTo>
                  <a:cubicBezTo>
                    <a:pt x="1391" y="236"/>
                    <a:pt x="1379" y="248"/>
                    <a:pt x="1359" y="260"/>
                  </a:cubicBezTo>
                  <a:cubicBezTo>
                    <a:pt x="1351" y="272"/>
                    <a:pt x="1347" y="284"/>
                    <a:pt x="1335" y="296"/>
                  </a:cubicBezTo>
                  <a:cubicBezTo>
                    <a:pt x="1331" y="308"/>
                    <a:pt x="1323" y="332"/>
                    <a:pt x="1323" y="332"/>
                  </a:cubicBezTo>
                  <a:cubicBezTo>
                    <a:pt x="1323" y="364"/>
                    <a:pt x="1315" y="416"/>
                    <a:pt x="1347" y="440"/>
                  </a:cubicBezTo>
                  <a:cubicBezTo>
                    <a:pt x="1339" y="492"/>
                    <a:pt x="1339" y="500"/>
                    <a:pt x="1291" y="484"/>
                  </a:cubicBezTo>
                  <a:cubicBezTo>
                    <a:pt x="1279" y="468"/>
                    <a:pt x="1251" y="448"/>
                    <a:pt x="1231" y="440"/>
                  </a:cubicBezTo>
                  <a:cubicBezTo>
                    <a:pt x="1203" y="444"/>
                    <a:pt x="1215" y="452"/>
                    <a:pt x="1195" y="464"/>
                  </a:cubicBezTo>
                  <a:cubicBezTo>
                    <a:pt x="1187" y="484"/>
                    <a:pt x="1183" y="480"/>
                    <a:pt x="1163" y="476"/>
                  </a:cubicBezTo>
                  <a:cubicBezTo>
                    <a:pt x="1131" y="484"/>
                    <a:pt x="1151" y="516"/>
                    <a:pt x="1119" y="528"/>
                  </a:cubicBezTo>
                  <a:cubicBezTo>
                    <a:pt x="1087" y="516"/>
                    <a:pt x="1095" y="492"/>
                    <a:pt x="1087" y="464"/>
                  </a:cubicBezTo>
                  <a:cubicBezTo>
                    <a:pt x="1027" y="468"/>
                    <a:pt x="1055" y="464"/>
                    <a:pt x="1027" y="492"/>
                  </a:cubicBezTo>
                  <a:cubicBezTo>
                    <a:pt x="1023" y="508"/>
                    <a:pt x="1011" y="516"/>
                    <a:pt x="1003" y="528"/>
                  </a:cubicBezTo>
                  <a:cubicBezTo>
                    <a:pt x="999" y="552"/>
                    <a:pt x="995" y="556"/>
                    <a:pt x="975" y="548"/>
                  </a:cubicBezTo>
                  <a:cubicBezTo>
                    <a:pt x="959" y="504"/>
                    <a:pt x="975" y="512"/>
                    <a:pt x="923" y="508"/>
                  </a:cubicBezTo>
                  <a:cubicBezTo>
                    <a:pt x="907" y="504"/>
                    <a:pt x="899" y="500"/>
                    <a:pt x="883" y="504"/>
                  </a:cubicBezTo>
                  <a:cubicBezTo>
                    <a:pt x="871" y="540"/>
                    <a:pt x="847" y="548"/>
                    <a:pt x="823" y="572"/>
                  </a:cubicBezTo>
                  <a:cubicBezTo>
                    <a:pt x="811" y="532"/>
                    <a:pt x="823" y="532"/>
                    <a:pt x="771" y="536"/>
                  </a:cubicBezTo>
                  <a:cubicBezTo>
                    <a:pt x="755" y="540"/>
                    <a:pt x="747" y="548"/>
                    <a:pt x="731" y="552"/>
                  </a:cubicBezTo>
                  <a:cubicBezTo>
                    <a:pt x="711" y="524"/>
                    <a:pt x="714" y="529"/>
                    <a:pt x="710" y="501"/>
                  </a:cubicBezTo>
                  <a:cubicBezTo>
                    <a:pt x="694" y="505"/>
                    <a:pt x="695" y="524"/>
                    <a:pt x="675" y="528"/>
                  </a:cubicBezTo>
                  <a:cubicBezTo>
                    <a:pt x="575" y="516"/>
                    <a:pt x="611" y="528"/>
                    <a:pt x="567" y="512"/>
                  </a:cubicBezTo>
                  <a:cubicBezTo>
                    <a:pt x="527" y="516"/>
                    <a:pt x="491" y="512"/>
                    <a:pt x="451" y="516"/>
                  </a:cubicBezTo>
                  <a:cubicBezTo>
                    <a:pt x="415" y="552"/>
                    <a:pt x="359" y="540"/>
                    <a:pt x="315" y="540"/>
                  </a:cubicBezTo>
                  <a:cubicBezTo>
                    <a:pt x="291" y="552"/>
                    <a:pt x="263" y="568"/>
                    <a:pt x="235" y="576"/>
                  </a:cubicBezTo>
                  <a:cubicBezTo>
                    <a:pt x="219" y="592"/>
                    <a:pt x="211" y="616"/>
                    <a:pt x="187" y="632"/>
                  </a:cubicBezTo>
                  <a:cubicBezTo>
                    <a:pt x="167" y="660"/>
                    <a:pt x="179" y="652"/>
                    <a:pt x="159" y="660"/>
                  </a:cubicBezTo>
                  <a:cubicBezTo>
                    <a:pt x="151" y="672"/>
                    <a:pt x="115" y="684"/>
                    <a:pt x="115" y="684"/>
                  </a:cubicBezTo>
                  <a:cubicBezTo>
                    <a:pt x="110" y="707"/>
                    <a:pt x="107" y="714"/>
                    <a:pt x="98" y="723"/>
                  </a:cubicBezTo>
                  <a:cubicBezTo>
                    <a:pt x="108" y="740"/>
                    <a:pt x="111" y="764"/>
                    <a:pt x="114" y="778"/>
                  </a:cubicBezTo>
                  <a:cubicBezTo>
                    <a:pt x="123" y="793"/>
                    <a:pt x="148" y="796"/>
                    <a:pt x="161" y="810"/>
                  </a:cubicBezTo>
                  <a:cubicBezTo>
                    <a:pt x="169" y="818"/>
                    <a:pt x="177" y="837"/>
                    <a:pt x="183" y="849"/>
                  </a:cubicBezTo>
                  <a:cubicBezTo>
                    <a:pt x="209" y="851"/>
                    <a:pt x="221" y="864"/>
                    <a:pt x="221" y="872"/>
                  </a:cubicBezTo>
                  <a:cubicBezTo>
                    <a:pt x="228" y="908"/>
                    <a:pt x="236" y="933"/>
                    <a:pt x="235" y="956"/>
                  </a:cubicBezTo>
                  <a:cubicBezTo>
                    <a:pt x="235" y="964"/>
                    <a:pt x="239" y="1004"/>
                    <a:pt x="231" y="1012"/>
                  </a:cubicBezTo>
                  <a:cubicBezTo>
                    <a:pt x="215" y="1038"/>
                    <a:pt x="161" y="1092"/>
                    <a:pt x="139" y="1116"/>
                  </a:cubicBezTo>
                  <a:cubicBezTo>
                    <a:pt x="135" y="1132"/>
                    <a:pt x="105" y="1139"/>
                    <a:pt x="99" y="1156"/>
                  </a:cubicBezTo>
                  <a:cubicBezTo>
                    <a:pt x="87" y="1178"/>
                    <a:pt x="87" y="1228"/>
                    <a:pt x="77" y="1253"/>
                  </a:cubicBezTo>
                  <a:cubicBezTo>
                    <a:pt x="67" y="1278"/>
                    <a:pt x="44" y="1290"/>
                    <a:pt x="39" y="1304"/>
                  </a:cubicBezTo>
                  <a:cubicBezTo>
                    <a:pt x="35" y="1316"/>
                    <a:pt x="44" y="1340"/>
                    <a:pt x="44" y="1340"/>
                  </a:cubicBezTo>
                  <a:cubicBezTo>
                    <a:pt x="65" y="1394"/>
                    <a:pt x="63" y="1400"/>
                    <a:pt x="79" y="1448"/>
                  </a:cubicBezTo>
                  <a:cubicBezTo>
                    <a:pt x="59" y="1456"/>
                    <a:pt x="57" y="1479"/>
                    <a:pt x="53" y="1493"/>
                  </a:cubicBezTo>
                  <a:cubicBezTo>
                    <a:pt x="35" y="1509"/>
                    <a:pt x="19" y="1544"/>
                    <a:pt x="19" y="1544"/>
                  </a:cubicBezTo>
                  <a:cubicBezTo>
                    <a:pt x="15" y="1596"/>
                    <a:pt x="8" y="1638"/>
                    <a:pt x="0" y="1664"/>
                  </a:cubicBezTo>
                  <a:cubicBezTo>
                    <a:pt x="18" y="1683"/>
                    <a:pt x="21" y="1685"/>
                    <a:pt x="29" y="1700"/>
                  </a:cubicBezTo>
                  <a:cubicBezTo>
                    <a:pt x="56" y="1698"/>
                    <a:pt x="115" y="1703"/>
                    <a:pt x="139" y="1712"/>
                  </a:cubicBezTo>
                  <a:cubicBezTo>
                    <a:pt x="159" y="1742"/>
                    <a:pt x="155" y="1752"/>
                    <a:pt x="161" y="1773"/>
                  </a:cubicBezTo>
                  <a:cubicBezTo>
                    <a:pt x="213" y="1671"/>
                    <a:pt x="279" y="1743"/>
                    <a:pt x="348" y="1728"/>
                  </a:cubicBezTo>
                  <a:cubicBezTo>
                    <a:pt x="408" y="1732"/>
                    <a:pt x="476" y="1735"/>
                    <a:pt x="536" y="1739"/>
                  </a:cubicBezTo>
                  <a:cubicBezTo>
                    <a:pt x="572" y="1719"/>
                    <a:pt x="575" y="1713"/>
                    <a:pt x="618" y="1704"/>
                  </a:cubicBezTo>
                  <a:cubicBezTo>
                    <a:pt x="646" y="1688"/>
                    <a:pt x="695" y="1668"/>
                    <a:pt x="723" y="1656"/>
                  </a:cubicBezTo>
                  <a:cubicBezTo>
                    <a:pt x="735" y="1616"/>
                    <a:pt x="774" y="1616"/>
                    <a:pt x="810" y="1604"/>
                  </a:cubicBezTo>
                  <a:cubicBezTo>
                    <a:pt x="822" y="1566"/>
                    <a:pt x="843" y="1538"/>
                    <a:pt x="902" y="1529"/>
                  </a:cubicBezTo>
                  <a:cubicBezTo>
                    <a:pt x="896" y="1515"/>
                    <a:pt x="871" y="1517"/>
                    <a:pt x="879" y="1505"/>
                  </a:cubicBezTo>
                  <a:cubicBezTo>
                    <a:pt x="878" y="1482"/>
                    <a:pt x="875" y="1464"/>
                    <a:pt x="919" y="1468"/>
                  </a:cubicBezTo>
                  <a:cubicBezTo>
                    <a:pt x="939" y="1464"/>
                    <a:pt x="971" y="1461"/>
                    <a:pt x="978" y="1430"/>
                  </a:cubicBezTo>
                  <a:cubicBezTo>
                    <a:pt x="1010" y="1424"/>
                    <a:pt x="1030" y="1420"/>
                    <a:pt x="1062" y="1416"/>
                  </a:cubicBezTo>
                  <a:cubicBezTo>
                    <a:pt x="1083" y="1424"/>
                    <a:pt x="1079" y="1424"/>
                    <a:pt x="1095" y="1436"/>
                  </a:cubicBezTo>
                  <a:cubicBezTo>
                    <a:pt x="1107" y="1448"/>
                    <a:pt x="1132" y="1452"/>
                    <a:pt x="1148" y="1452"/>
                  </a:cubicBezTo>
                  <a:cubicBezTo>
                    <a:pt x="1199" y="1472"/>
                    <a:pt x="1194" y="1470"/>
                    <a:pt x="1260" y="1466"/>
                  </a:cubicBezTo>
                  <a:cubicBezTo>
                    <a:pt x="1280" y="1474"/>
                    <a:pt x="1273" y="1475"/>
                    <a:pt x="1289" y="1487"/>
                  </a:cubicBezTo>
                  <a:cubicBezTo>
                    <a:pt x="1371" y="1491"/>
                    <a:pt x="1383" y="1499"/>
                    <a:pt x="1388" y="1538"/>
                  </a:cubicBezTo>
                  <a:cubicBezTo>
                    <a:pt x="1376" y="1604"/>
                    <a:pt x="1370" y="1614"/>
                    <a:pt x="1395" y="1612"/>
                  </a:cubicBezTo>
                  <a:cubicBezTo>
                    <a:pt x="1403" y="1628"/>
                    <a:pt x="1416" y="1620"/>
                    <a:pt x="1427" y="1640"/>
                  </a:cubicBezTo>
                  <a:cubicBezTo>
                    <a:pt x="1439" y="1644"/>
                    <a:pt x="1476" y="1649"/>
                    <a:pt x="1476" y="1649"/>
                  </a:cubicBezTo>
                  <a:cubicBezTo>
                    <a:pt x="1492" y="1673"/>
                    <a:pt x="1491" y="1720"/>
                    <a:pt x="1515" y="1736"/>
                  </a:cubicBezTo>
                  <a:cubicBezTo>
                    <a:pt x="1523" y="1760"/>
                    <a:pt x="1535" y="1760"/>
                    <a:pt x="1539" y="1780"/>
                  </a:cubicBezTo>
                  <a:cubicBezTo>
                    <a:pt x="1546" y="1791"/>
                    <a:pt x="1548" y="1787"/>
                    <a:pt x="1557" y="1802"/>
                  </a:cubicBezTo>
                  <a:cubicBezTo>
                    <a:pt x="1590" y="1821"/>
                    <a:pt x="1617" y="1845"/>
                    <a:pt x="1637" y="1859"/>
                  </a:cubicBezTo>
                  <a:lnTo>
                    <a:pt x="1640" y="1886"/>
                  </a:lnTo>
                  <a:cubicBezTo>
                    <a:pt x="1592" y="1894"/>
                    <a:pt x="1557" y="1899"/>
                    <a:pt x="1505" y="1907"/>
                  </a:cubicBezTo>
                  <a:cubicBezTo>
                    <a:pt x="1476" y="1901"/>
                    <a:pt x="1455" y="1895"/>
                    <a:pt x="1433" y="1893"/>
                  </a:cubicBezTo>
                  <a:cubicBezTo>
                    <a:pt x="1417" y="1897"/>
                    <a:pt x="1428" y="1910"/>
                    <a:pt x="1424" y="1926"/>
                  </a:cubicBezTo>
                  <a:cubicBezTo>
                    <a:pt x="1424" y="1937"/>
                    <a:pt x="1424" y="1949"/>
                    <a:pt x="1430" y="1961"/>
                  </a:cubicBezTo>
                  <a:cubicBezTo>
                    <a:pt x="1448" y="1980"/>
                    <a:pt x="1461" y="2006"/>
                    <a:pt x="1463" y="2022"/>
                  </a:cubicBezTo>
                  <a:cubicBezTo>
                    <a:pt x="1440" y="2061"/>
                    <a:pt x="1446" y="2058"/>
                    <a:pt x="1437" y="2067"/>
                  </a:cubicBezTo>
                  <a:cubicBezTo>
                    <a:pt x="1449" y="2035"/>
                    <a:pt x="1416" y="2112"/>
                    <a:pt x="1407" y="2140"/>
                  </a:cubicBezTo>
                  <a:cubicBezTo>
                    <a:pt x="1399" y="2164"/>
                    <a:pt x="1410" y="2187"/>
                    <a:pt x="1400" y="2216"/>
                  </a:cubicBezTo>
                  <a:cubicBezTo>
                    <a:pt x="1384" y="2212"/>
                    <a:pt x="1371" y="2231"/>
                    <a:pt x="1355" y="2235"/>
                  </a:cubicBezTo>
                  <a:cubicBezTo>
                    <a:pt x="1368" y="2270"/>
                    <a:pt x="1386" y="2271"/>
                    <a:pt x="1433" y="2280"/>
                  </a:cubicBezTo>
                  <a:cubicBezTo>
                    <a:pt x="1453" y="2288"/>
                    <a:pt x="1447" y="2267"/>
                    <a:pt x="1463" y="2259"/>
                  </a:cubicBezTo>
                  <a:cubicBezTo>
                    <a:pt x="1478" y="2247"/>
                    <a:pt x="1490" y="2241"/>
                    <a:pt x="1503" y="2234"/>
                  </a:cubicBezTo>
                  <a:cubicBezTo>
                    <a:pt x="1515" y="2222"/>
                    <a:pt x="1511" y="2197"/>
                    <a:pt x="1523" y="2189"/>
                  </a:cubicBezTo>
                  <a:cubicBezTo>
                    <a:pt x="1565" y="2178"/>
                    <a:pt x="1616" y="2169"/>
                    <a:pt x="1643" y="2186"/>
                  </a:cubicBezTo>
                  <a:cubicBezTo>
                    <a:pt x="1647" y="2154"/>
                    <a:pt x="1635" y="2132"/>
                    <a:pt x="1659" y="2116"/>
                  </a:cubicBezTo>
                  <a:cubicBezTo>
                    <a:pt x="1663" y="2096"/>
                    <a:pt x="1663" y="2068"/>
                    <a:pt x="1687" y="2060"/>
                  </a:cubicBezTo>
                  <a:cubicBezTo>
                    <a:pt x="1703" y="2036"/>
                    <a:pt x="1719" y="2016"/>
                    <a:pt x="1731" y="1988"/>
                  </a:cubicBezTo>
                  <a:cubicBezTo>
                    <a:pt x="1739" y="1956"/>
                    <a:pt x="1743" y="1924"/>
                    <a:pt x="1755" y="1892"/>
                  </a:cubicBezTo>
                  <a:cubicBezTo>
                    <a:pt x="1759" y="1868"/>
                    <a:pt x="1755" y="1840"/>
                    <a:pt x="1783" y="1832"/>
                  </a:cubicBezTo>
                  <a:cubicBezTo>
                    <a:pt x="1799" y="1816"/>
                    <a:pt x="1807" y="1804"/>
                    <a:pt x="1831" y="1796"/>
                  </a:cubicBezTo>
                  <a:cubicBezTo>
                    <a:pt x="1855" y="1756"/>
                    <a:pt x="1867" y="1736"/>
                    <a:pt x="1915" y="1724"/>
                  </a:cubicBezTo>
                  <a:cubicBezTo>
                    <a:pt x="1939" y="1708"/>
                    <a:pt x="1943" y="1692"/>
                    <a:pt x="1959" y="1668"/>
                  </a:cubicBezTo>
                  <a:cubicBezTo>
                    <a:pt x="1991" y="1684"/>
                    <a:pt x="1983" y="1708"/>
                    <a:pt x="1995" y="1736"/>
                  </a:cubicBezTo>
                  <a:cubicBezTo>
                    <a:pt x="1983" y="1772"/>
                    <a:pt x="1991" y="1756"/>
                    <a:pt x="1979" y="1788"/>
                  </a:cubicBezTo>
                  <a:cubicBezTo>
                    <a:pt x="1979" y="1792"/>
                    <a:pt x="1975" y="1800"/>
                    <a:pt x="1975" y="1800"/>
                  </a:cubicBezTo>
                  <a:cubicBezTo>
                    <a:pt x="1983" y="1868"/>
                    <a:pt x="2027" y="1836"/>
                    <a:pt x="2067" y="1812"/>
                  </a:cubicBezTo>
                  <a:cubicBezTo>
                    <a:pt x="2111" y="1784"/>
                    <a:pt x="2167" y="1808"/>
                    <a:pt x="2219" y="1808"/>
                  </a:cubicBezTo>
                  <a:cubicBezTo>
                    <a:pt x="2259" y="1800"/>
                    <a:pt x="2239" y="1804"/>
                    <a:pt x="2271" y="1796"/>
                  </a:cubicBezTo>
                  <a:cubicBezTo>
                    <a:pt x="2299" y="1776"/>
                    <a:pt x="2303" y="1776"/>
                    <a:pt x="2335" y="1772"/>
                  </a:cubicBezTo>
                  <a:cubicBezTo>
                    <a:pt x="2343" y="1796"/>
                    <a:pt x="2347" y="1820"/>
                    <a:pt x="2323" y="1836"/>
                  </a:cubicBezTo>
                  <a:cubicBezTo>
                    <a:pt x="2311" y="1856"/>
                    <a:pt x="2319" y="1888"/>
                    <a:pt x="2295" y="1896"/>
                  </a:cubicBezTo>
                  <a:cubicBezTo>
                    <a:pt x="2275" y="1916"/>
                    <a:pt x="2271" y="1936"/>
                    <a:pt x="2251" y="1952"/>
                  </a:cubicBezTo>
                  <a:cubicBezTo>
                    <a:pt x="2243" y="1960"/>
                    <a:pt x="2227" y="1976"/>
                    <a:pt x="2227" y="1976"/>
                  </a:cubicBezTo>
                  <a:cubicBezTo>
                    <a:pt x="2223" y="1992"/>
                    <a:pt x="2211" y="2024"/>
                    <a:pt x="2211" y="2024"/>
                  </a:cubicBezTo>
                  <a:cubicBezTo>
                    <a:pt x="2231" y="2052"/>
                    <a:pt x="2259" y="2024"/>
                    <a:pt x="2283" y="2016"/>
                  </a:cubicBezTo>
                  <a:cubicBezTo>
                    <a:pt x="2315" y="2028"/>
                    <a:pt x="2339" y="2004"/>
                    <a:pt x="2383" y="2028"/>
                  </a:cubicBezTo>
                  <a:cubicBezTo>
                    <a:pt x="2411" y="2036"/>
                    <a:pt x="2435" y="2044"/>
                    <a:pt x="2455" y="2072"/>
                  </a:cubicBezTo>
                  <a:cubicBezTo>
                    <a:pt x="2479" y="2112"/>
                    <a:pt x="2459" y="2176"/>
                    <a:pt x="2503" y="2204"/>
                  </a:cubicBezTo>
                  <a:cubicBezTo>
                    <a:pt x="2555" y="2196"/>
                    <a:pt x="2559" y="2192"/>
                    <a:pt x="2599" y="2180"/>
                  </a:cubicBezTo>
                  <a:cubicBezTo>
                    <a:pt x="2611" y="2164"/>
                    <a:pt x="2619" y="2168"/>
                    <a:pt x="2623" y="2148"/>
                  </a:cubicBezTo>
                  <a:cubicBezTo>
                    <a:pt x="2627" y="2124"/>
                    <a:pt x="2623" y="2104"/>
                    <a:pt x="2643" y="2088"/>
                  </a:cubicBezTo>
                  <a:cubicBezTo>
                    <a:pt x="2647" y="2076"/>
                    <a:pt x="2659" y="2060"/>
                    <a:pt x="2667" y="2052"/>
                  </a:cubicBezTo>
                  <a:cubicBezTo>
                    <a:pt x="2683" y="2040"/>
                    <a:pt x="2703" y="2016"/>
                    <a:pt x="2723" y="2000"/>
                  </a:cubicBezTo>
                  <a:cubicBezTo>
                    <a:pt x="2731" y="1980"/>
                    <a:pt x="2767" y="1980"/>
                    <a:pt x="2775" y="1956"/>
                  </a:cubicBezTo>
                  <a:cubicBezTo>
                    <a:pt x="2779" y="1928"/>
                    <a:pt x="2783" y="1924"/>
                    <a:pt x="2803" y="1908"/>
                  </a:cubicBezTo>
                  <a:cubicBezTo>
                    <a:pt x="2811" y="1904"/>
                    <a:pt x="2827" y="1892"/>
                    <a:pt x="2827" y="1892"/>
                  </a:cubicBezTo>
                  <a:cubicBezTo>
                    <a:pt x="2875" y="1904"/>
                    <a:pt x="2847" y="1900"/>
                    <a:pt x="2907" y="1896"/>
                  </a:cubicBezTo>
                  <a:cubicBezTo>
                    <a:pt x="2931" y="1888"/>
                    <a:pt x="2931" y="1880"/>
                    <a:pt x="2943" y="1860"/>
                  </a:cubicBezTo>
                  <a:cubicBezTo>
                    <a:pt x="2955" y="1812"/>
                    <a:pt x="2983" y="1768"/>
                    <a:pt x="2995" y="1716"/>
                  </a:cubicBezTo>
                  <a:cubicBezTo>
                    <a:pt x="2995" y="1712"/>
                    <a:pt x="2963" y="1728"/>
                    <a:pt x="2955" y="1728"/>
                  </a:cubicBezTo>
                  <a:cubicBezTo>
                    <a:pt x="2919" y="1736"/>
                    <a:pt x="2879" y="1744"/>
                    <a:pt x="2847" y="1764"/>
                  </a:cubicBezTo>
                  <a:cubicBezTo>
                    <a:pt x="2835" y="1804"/>
                    <a:pt x="2823" y="1808"/>
                    <a:pt x="2787" y="1832"/>
                  </a:cubicBezTo>
                  <a:cubicBezTo>
                    <a:pt x="2759" y="1828"/>
                    <a:pt x="2739" y="1812"/>
                    <a:pt x="2715" y="1796"/>
                  </a:cubicBezTo>
                  <a:cubicBezTo>
                    <a:pt x="2691" y="1760"/>
                    <a:pt x="2675" y="1772"/>
                    <a:pt x="2643" y="1748"/>
                  </a:cubicBezTo>
                  <a:cubicBezTo>
                    <a:pt x="2631" y="1740"/>
                    <a:pt x="2607" y="1724"/>
                    <a:pt x="2607" y="1724"/>
                  </a:cubicBezTo>
                  <a:cubicBezTo>
                    <a:pt x="2603" y="1708"/>
                    <a:pt x="2579" y="1676"/>
                    <a:pt x="2579" y="1676"/>
                  </a:cubicBezTo>
                  <a:cubicBezTo>
                    <a:pt x="2587" y="1640"/>
                    <a:pt x="2579" y="1644"/>
                    <a:pt x="2623" y="1640"/>
                  </a:cubicBezTo>
                  <a:cubicBezTo>
                    <a:pt x="2655" y="1616"/>
                    <a:pt x="2647" y="1584"/>
                    <a:pt x="2667" y="1556"/>
                  </a:cubicBezTo>
                  <a:cubicBezTo>
                    <a:pt x="2671" y="1536"/>
                    <a:pt x="2679" y="1492"/>
                    <a:pt x="2695" y="1476"/>
                  </a:cubicBezTo>
                  <a:cubicBezTo>
                    <a:pt x="2703" y="1468"/>
                    <a:pt x="2719" y="1460"/>
                    <a:pt x="2719" y="1460"/>
                  </a:cubicBezTo>
                  <a:cubicBezTo>
                    <a:pt x="2727" y="1436"/>
                    <a:pt x="2747" y="1428"/>
                    <a:pt x="2767" y="1420"/>
                  </a:cubicBezTo>
                  <a:cubicBezTo>
                    <a:pt x="2783" y="1400"/>
                    <a:pt x="2787" y="1396"/>
                    <a:pt x="2811" y="1388"/>
                  </a:cubicBezTo>
                  <a:cubicBezTo>
                    <a:pt x="2831" y="1368"/>
                    <a:pt x="2859" y="1372"/>
                    <a:pt x="2887" y="1368"/>
                  </a:cubicBezTo>
                  <a:cubicBezTo>
                    <a:pt x="2895" y="1324"/>
                    <a:pt x="2891" y="1308"/>
                    <a:pt x="2935" y="1296"/>
                  </a:cubicBezTo>
                  <a:cubicBezTo>
                    <a:pt x="2947" y="1280"/>
                    <a:pt x="2963" y="1260"/>
                    <a:pt x="2979" y="1248"/>
                  </a:cubicBezTo>
                  <a:cubicBezTo>
                    <a:pt x="2991" y="1216"/>
                    <a:pt x="3019" y="1188"/>
                    <a:pt x="3051" y="1176"/>
                  </a:cubicBezTo>
                  <a:cubicBezTo>
                    <a:pt x="3063" y="1164"/>
                    <a:pt x="3083" y="1152"/>
                    <a:pt x="3099" y="1148"/>
                  </a:cubicBezTo>
                  <a:cubicBezTo>
                    <a:pt x="3119" y="1120"/>
                    <a:pt x="3095" y="1060"/>
                    <a:pt x="3075" y="1032"/>
                  </a:cubicBezTo>
                  <a:cubicBezTo>
                    <a:pt x="3071" y="1000"/>
                    <a:pt x="3071" y="976"/>
                    <a:pt x="3079" y="956"/>
                  </a:cubicBezTo>
                  <a:cubicBezTo>
                    <a:pt x="3083" y="940"/>
                    <a:pt x="3107" y="916"/>
                    <a:pt x="3127" y="908"/>
                  </a:cubicBezTo>
                  <a:cubicBezTo>
                    <a:pt x="3135" y="880"/>
                    <a:pt x="3195" y="868"/>
                    <a:pt x="3223" y="860"/>
                  </a:cubicBezTo>
                  <a:cubicBezTo>
                    <a:pt x="3251" y="840"/>
                    <a:pt x="3291" y="848"/>
                    <a:pt x="3319" y="828"/>
                  </a:cubicBezTo>
                  <a:cubicBezTo>
                    <a:pt x="3315" y="776"/>
                    <a:pt x="3327" y="788"/>
                    <a:pt x="3295" y="756"/>
                  </a:cubicBezTo>
                  <a:cubicBezTo>
                    <a:pt x="3275" y="700"/>
                    <a:pt x="3231" y="576"/>
                    <a:pt x="3203" y="512"/>
                  </a:cubicBezTo>
                  <a:cubicBezTo>
                    <a:pt x="3219" y="396"/>
                    <a:pt x="3219" y="360"/>
                    <a:pt x="3139" y="348"/>
                  </a:cubicBezTo>
                  <a:cubicBezTo>
                    <a:pt x="3091" y="328"/>
                    <a:pt x="3031" y="360"/>
                    <a:pt x="2979" y="344"/>
                  </a:cubicBezTo>
                  <a:cubicBezTo>
                    <a:pt x="2935" y="360"/>
                    <a:pt x="2951" y="364"/>
                    <a:pt x="2887" y="368"/>
                  </a:cubicBezTo>
                  <a:cubicBezTo>
                    <a:pt x="2795" y="332"/>
                    <a:pt x="2779" y="368"/>
                    <a:pt x="2727" y="384"/>
                  </a:cubicBezTo>
                  <a:cubicBezTo>
                    <a:pt x="2679" y="380"/>
                    <a:pt x="2691" y="376"/>
                    <a:pt x="2659" y="344"/>
                  </a:cubicBezTo>
                  <a:cubicBezTo>
                    <a:pt x="2643" y="328"/>
                    <a:pt x="2595" y="328"/>
                    <a:pt x="2575" y="320"/>
                  </a:cubicBezTo>
                  <a:cubicBezTo>
                    <a:pt x="2543" y="320"/>
                    <a:pt x="2523" y="368"/>
                    <a:pt x="2491" y="380"/>
                  </a:cubicBezTo>
                  <a:cubicBezTo>
                    <a:pt x="2459" y="392"/>
                    <a:pt x="2403" y="392"/>
                    <a:pt x="2379" y="396"/>
                  </a:cubicBezTo>
                  <a:cubicBezTo>
                    <a:pt x="2363" y="404"/>
                    <a:pt x="2351" y="408"/>
                    <a:pt x="2335" y="412"/>
                  </a:cubicBezTo>
                  <a:cubicBezTo>
                    <a:pt x="2307" y="412"/>
                    <a:pt x="2279" y="416"/>
                    <a:pt x="2251" y="408"/>
                  </a:cubicBezTo>
                  <a:cubicBezTo>
                    <a:pt x="2247" y="408"/>
                    <a:pt x="2231" y="316"/>
                    <a:pt x="2211" y="296"/>
                  </a:cubicBezTo>
                  <a:cubicBezTo>
                    <a:pt x="2179" y="240"/>
                    <a:pt x="2095" y="276"/>
                    <a:pt x="2055" y="272"/>
                  </a:cubicBezTo>
                  <a:cubicBezTo>
                    <a:pt x="2011" y="276"/>
                    <a:pt x="1995" y="288"/>
                    <a:pt x="1979" y="244"/>
                  </a:cubicBezTo>
                  <a:cubicBezTo>
                    <a:pt x="1979" y="220"/>
                    <a:pt x="1967" y="156"/>
                    <a:pt x="1959" y="128"/>
                  </a:cubicBezTo>
                  <a:cubicBezTo>
                    <a:pt x="1939" y="92"/>
                    <a:pt x="1875" y="36"/>
                    <a:pt x="1831" y="20"/>
                  </a:cubicBezTo>
                  <a:cubicBezTo>
                    <a:pt x="1803" y="0"/>
                    <a:pt x="1735" y="32"/>
                    <a:pt x="1695" y="36"/>
                  </a:cubicBezTo>
                  <a:cubicBezTo>
                    <a:pt x="1667" y="52"/>
                    <a:pt x="1627" y="72"/>
                    <a:pt x="1599" y="80"/>
                  </a:cubicBezTo>
                  <a:cubicBezTo>
                    <a:pt x="1595" y="92"/>
                    <a:pt x="1583" y="108"/>
                    <a:pt x="1575" y="116"/>
                  </a:cubicBezTo>
                  <a:cubicBezTo>
                    <a:pt x="1567" y="124"/>
                    <a:pt x="1539" y="180"/>
                    <a:pt x="1539" y="180"/>
                  </a:cubicBezTo>
                  <a:cubicBezTo>
                    <a:pt x="1519" y="208"/>
                    <a:pt x="1515" y="172"/>
                    <a:pt x="1483" y="180"/>
                  </a:cubicBezTo>
                  <a:cubicBezTo>
                    <a:pt x="1471" y="188"/>
                    <a:pt x="1443" y="196"/>
                    <a:pt x="1443" y="196"/>
                  </a:cubicBezTo>
                  <a:lnTo>
                    <a:pt x="1407" y="204"/>
                  </a:ln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2" name="Freeform 2526">
              <a:extLst>
                <a:ext uri="{FF2B5EF4-FFF2-40B4-BE49-F238E27FC236}">
                  <a16:creationId xmlns:a16="http://schemas.microsoft.com/office/drawing/2014/main" id="{55D3F04F-1733-4B50-B671-4E384E336849}"/>
                </a:ext>
              </a:extLst>
            </p:cNvPr>
            <p:cNvSpPr>
              <a:spLocks noChangeAspect="1"/>
            </p:cNvSpPr>
            <p:nvPr>
              <p:custDataLst>
                <p:tags r:id="rId25"/>
              </p:custDataLst>
            </p:nvPr>
          </p:nvSpPr>
          <p:spPr bwMode="auto">
            <a:xfrm>
              <a:off x="5874615" y="4025992"/>
              <a:ext cx="277788" cy="296403"/>
            </a:xfrm>
            <a:custGeom>
              <a:avLst/>
              <a:gdLst>
                <a:gd name="T0" fmla="*/ 484 w 776"/>
                <a:gd name="T1" fmla="*/ 824 h 826"/>
                <a:gd name="T2" fmla="*/ 532 w 776"/>
                <a:gd name="T3" fmla="*/ 800 h 826"/>
                <a:gd name="T4" fmla="*/ 552 w 776"/>
                <a:gd name="T5" fmla="*/ 696 h 826"/>
                <a:gd name="T6" fmla="*/ 592 w 776"/>
                <a:gd name="T7" fmla="*/ 608 h 826"/>
                <a:gd name="T8" fmla="*/ 564 w 776"/>
                <a:gd name="T9" fmla="*/ 548 h 826"/>
                <a:gd name="T10" fmla="*/ 576 w 776"/>
                <a:gd name="T11" fmla="*/ 476 h 826"/>
                <a:gd name="T12" fmla="*/ 640 w 776"/>
                <a:gd name="T13" fmla="*/ 492 h 826"/>
                <a:gd name="T14" fmla="*/ 776 w 776"/>
                <a:gd name="T15" fmla="*/ 468 h 826"/>
                <a:gd name="T16" fmla="*/ 748 w 776"/>
                <a:gd name="T17" fmla="*/ 432 h 826"/>
                <a:gd name="T18" fmla="*/ 688 w 776"/>
                <a:gd name="T19" fmla="*/ 384 h 826"/>
                <a:gd name="T20" fmla="*/ 640 w 776"/>
                <a:gd name="T21" fmla="*/ 312 h 826"/>
                <a:gd name="T22" fmla="*/ 556 w 776"/>
                <a:gd name="T23" fmla="*/ 224 h 826"/>
                <a:gd name="T24" fmla="*/ 508 w 776"/>
                <a:gd name="T25" fmla="*/ 188 h 826"/>
                <a:gd name="T26" fmla="*/ 420 w 776"/>
                <a:gd name="T27" fmla="*/ 72 h 826"/>
                <a:gd name="T28" fmla="*/ 388 w 776"/>
                <a:gd name="T29" fmla="*/ 48 h 826"/>
                <a:gd name="T30" fmla="*/ 244 w 776"/>
                <a:gd name="T31" fmla="*/ 28 h 826"/>
                <a:gd name="T32" fmla="*/ 196 w 776"/>
                <a:gd name="T33" fmla="*/ 0 h 826"/>
                <a:gd name="T34" fmla="*/ 112 w 776"/>
                <a:gd name="T35" fmla="*/ 12 h 826"/>
                <a:gd name="T36" fmla="*/ 16 w 776"/>
                <a:gd name="T37" fmla="*/ 56 h 826"/>
                <a:gd name="T38" fmla="*/ 48 w 776"/>
                <a:gd name="T39" fmla="*/ 124 h 826"/>
                <a:gd name="T40" fmla="*/ 100 w 776"/>
                <a:gd name="T41" fmla="*/ 172 h 826"/>
                <a:gd name="T42" fmla="*/ 135 w 776"/>
                <a:gd name="T43" fmla="*/ 212 h 826"/>
                <a:gd name="T44" fmla="*/ 173 w 776"/>
                <a:gd name="T45" fmla="*/ 245 h 826"/>
                <a:gd name="T46" fmla="*/ 194 w 776"/>
                <a:gd name="T47" fmla="*/ 282 h 826"/>
                <a:gd name="T48" fmla="*/ 233 w 776"/>
                <a:gd name="T49" fmla="*/ 332 h 826"/>
                <a:gd name="T50" fmla="*/ 300 w 776"/>
                <a:gd name="T51" fmla="*/ 364 h 826"/>
                <a:gd name="T52" fmla="*/ 317 w 776"/>
                <a:gd name="T53" fmla="*/ 393 h 826"/>
                <a:gd name="T54" fmla="*/ 400 w 776"/>
                <a:gd name="T55" fmla="*/ 600 h 826"/>
                <a:gd name="T56" fmla="*/ 429 w 776"/>
                <a:gd name="T57" fmla="*/ 701 h 826"/>
                <a:gd name="T58" fmla="*/ 452 w 776"/>
                <a:gd name="T59" fmla="*/ 780 h 826"/>
                <a:gd name="T60" fmla="*/ 474 w 776"/>
                <a:gd name="T61" fmla="*/ 810 h 826"/>
                <a:gd name="T62" fmla="*/ 484 w 776"/>
                <a:gd name="T63" fmla="*/ 824 h 8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6"/>
                <a:gd name="T97" fmla="*/ 0 h 826"/>
                <a:gd name="T98" fmla="*/ 776 w 776"/>
                <a:gd name="T99" fmla="*/ 826 h 8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6" h="826">
                  <a:moveTo>
                    <a:pt x="484" y="824"/>
                  </a:moveTo>
                  <a:cubicBezTo>
                    <a:pt x="503" y="815"/>
                    <a:pt x="500" y="803"/>
                    <a:pt x="532" y="800"/>
                  </a:cubicBezTo>
                  <a:cubicBezTo>
                    <a:pt x="544" y="764"/>
                    <a:pt x="532" y="728"/>
                    <a:pt x="552" y="696"/>
                  </a:cubicBezTo>
                  <a:cubicBezTo>
                    <a:pt x="560" y="660"/>
                    <a:pt x="580" y="640"/>
                    <a:pt x="592" y="608"/>
                  </a:cubicBezTo>
                  <a:cubicBezTo>
                    <a:pt x="588" y="584"/>
                    <a:pt x="580" y="564"/>
                    <a:pt x="564" y="548"/>
                  </a:cubicBezTo>
                  <a:cubicBezTo>
                    <a:pt x="556" y="504"/>
                    <a:pt x="544" y="484"/>
                    <a:pt x="576" y="476"/>
                  </a:cubicBezTo>
                  <a:cubicBezTo>
                    <a:pt x="596" y="480"/>
                    <a:pt x="640" y="492"/>
                    <a:pt x="640" y="492"/>
                  </a:cubicBezTo>
                  <a:cubicBezTo>
                    <a:pt x="688" y="488"/>
                    <a:pt x="728" y="476"/>
                    <a:pt x="776" y="468"/>
                  </a:cubicBezTo>
                  <a:cubicBezTo>
                    <a:pt x="772" y="448"/>
                    <a:pt x="768" y="440"/>
                    <a:pt x="748" y="432"/>
                  </a:cubicBezTo>
                  <a:cubicBezTo>
                    <a:pt x="740" y="416"/>
                    <a:pt x="704" y="392"/>
                    <a:pt x="688" y="384"/>
                  </a:cubicBezTo>
                  <a:cubicBezTo>
                    <a:pt x="680" y="360"/>
                    <a:pt x="656" y="336"/>
                    <a:pt x="640" y="312"/>
                  </a:cubicBezTo>
                  <a:cubicBezTo>
                    <a:pt x="604" y="260"/>
                    <a:pt x="652" y="232"/>
                    <a:pt x="556" y="224"/>
                  </a:cubicBezTo>
                  <a:cubicBezTo>
                    <a:pt x="540" y="196"/>
                    <a:pt x="532" y="204"/>
                    <a:pt x="508" y="188"/>
                  </a:cubicBezTo>
                  <a:cubicBezTo>
                    <a:pt x="528" y="84"/>
                    <a:pt x="536" y="76"/>
                    <a:pt x="420" y="72"/>
                  </a:cubicBezTo>
                  <a:cubicBezTo>
                    <a:pt x="416" y="56"/>
                    <a:pt x="400" y="56"/>
                    <a:pt x="388" y="48"/>
                  </a:cubicBezTo>
                  <a:cubicBezTo>
                    <a:pt x="344" y="64"/>
                    <a:pt x="288" y="36"/>
                    <a:pt x="244" y="28"/>
                  </a:cubicBezTo>
                  <a:cubicBezTo>
                    <a:pt x="228" y="16"/>
                    <a:pt x="196" y="0"/>
                    <a:pt x="196" y="0"/>
                  </a:cubicBezTo>
                  <a:cubicBezTo>
                    <a:pt x="168" y="4"/>
                    <a:pt x="112" y="12"/>
                    <a:pt x="112" y="12"/>
                  </a:cubicBezTo>
                  <a:cubicBezTo>
                    <a:pt x="96" y="56"/>
                    <a:pt x="56" y="52"/>
                    <a:pt x="16" y="56"/>
                  </a:cubicBezTo>
                  <a:cubicBezTo>
                    <a:pt x="0" y="104"/>
                    <a:pt x="16" y="92"/>
                    <a:pt x="48" y="124"/>
                  </a:cubicBezTo>
                  <a:cubicBezTo>
                    <a:pt x="52" y="136"/>
                    <a:pt x="60" y="156"/>
                    <a:pt x="100" y="172"/>
                  </a:cubicBezTo>
                  <a:cubicBezTo>
                    <a:pt x="116" y="192"/>
                    <a:pt x="123" y="197"/>
                    <a:pt x="135" y="212"/>
                  </a:cubicBezTo>
                  <a:cubicBezTo>
                    <a:pt x="158" y="231"/>
                    <a:pt x="153" y="233"/>
                    <a:pt x="173" y="245"/>
                  </a:cubicBezTo>
                  <a:cubicBezTo>
                    <a:pt x="177" y="261"/>
                    <a:pt x="185" y="263"/>
                    <a:pt x="194" y="282"/>
                  </a:cubicBezTo>
                  <a:cubicBezTo>
                    <a:pt x="214" y="302"/>
                    <a:pt x="213" y="312"/>
                    <a:pt x="233" y="332"/>
                  </a:cubicBezTo>
                  <a:cubicBezTo>
                    <a:pt x="261" y="342"/>
                    <a:pt x="300" y="364"/>
                    <a:pt x="300" y="364"/>
                  </a:cubicBezTo>
                  <a:cubicBezTo>
                    <a:pt x="311" y="381"/>
                    <a:pt x="300" y="354"/>
                    <a:pt x="317" y="393"/>
                  </a:cubicBezTo>
                  <a:cubicBezTo>
                    <a:pt x="443" y="449"/>
                    <a:pt x="398" y="557"/>
                    <a:pt x="400" y="600"/>
                  </a:cubicBezTo>
                  <a:cubicBezTo>
                    <a:pt x="422" y="668"/>
                    <a:pt x="414" y="645"/>
                    <a:pt x="429" y="701"/>
                  </a:cubicBezTo>
                  <a:cubicBezTo>
                    <a:pt x="433" y="729"/>
                    <a:pt x="446" y="764"/>
                    <a:pt x="452" y="780"/>
                  </a:cubicBezTo>
                  <a:cubicBezTo>
                    <a:pt x="461" y="794"/>
                    <a:pt x="464" y="798"/>
                    <a:pt x="474" y="810"/>
                  </a:cubicBezTo>
                  <a:cubicBezTo>
                    <a:pt x="478" y="826"/>
                    <a:pt x="484" y="816"/>
                    <a:pt x="484" y="824"/>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3" name="Freeform 2527">
              <a:extLst>
                <a:ext uri="{FF2B5EF4-FFF2-40B4-BE49-F238E27FC236}">
                  <a16:creationId xmlns:a16="http://schemas.microsoft.com/office/drawing/2014/main" id="{F537B875-A022-4ABD-890A-91C367A23D76}"/>
                </a:ext>
              </a:extLst>
            </p:cNvPr>
            <p:cNvSpPr>
              <a:spLocks noChangeAspect="1"/>
            </p:cNvSpPr>
            <p:nvPr>
              <p:custDataLst>
                <p:tags r:id="rId26"/>
              </p:custDataLst>
            </p:nvPr>
          </p:nvSpPr>
          <p:spPr bwMode="auto">
            <a:xfrm>
              <a:off x="5457933" y="4060357"/>
              <a:ext cx="711653" cy="511188"/>
            </a:xfrm>
            <a:custGeom>
              <a:avLst/>
              <a:gdLst>
                <a:gd name="T0" fmla="*/ 1831 w 1991"/>
                <a:gd name="T1" fmla="*/ 1035 h 1428"/>
                <a:gd name="T2" fmla="*/ 1927 w 1991"/>
                <a:gd name="T3" fmla="*/ 827 h 1428"/>
                <a:gd name="T4" fmla="*/ 1947 w 1991"/>
                <a:gd name="T5" fmla="*/ 684 h 1428"/>
                <a:gd name="T6" fmla="*/ 1759 w 1991"/>
                <a:gd name="T7" fmla="*/ 747 h 1428"/>
                <a:gd name="T8" fmla="*/ 1659 w 1991"/>
                <a:gd name="T9" fmla="*/ 743 h 1428"/>
                <a:gd name="T10" fmla="*/ 1603 w 1991"/>
                <a:gd name="T11" fmla="*/ 636 h 1428"/>
                <a:gd name="T12" fmla="*/ 1483 w 1991"/>
                <a:gd name="T13" fmla="*/ 296 h 1428"/>
                <a:gd name="T14" fmla="*/ 1399 w 1991"/>
                <a:gd name="T15" fmla="*/ 236 h 1428"/>
                <a:gd name="T16" fmla="*/ 1299 w 1991"/>
                <a:gd name="T17" fmla="*/ 116 h 1428"/>
                <a:gd name="T18" fmla="*/ 1207 w 1991"/>
                <a:gd name="T19" fmla="*/ 24 h 1428"/>
                <a:gd name="T20" fmla="*/ 1079 w 1991"/>
                <a:gd name="T21" fmla="*/ 100 h 1428"/>
                <a:gd name="T22" fmla="*/ 915 w 1991"/>
                <a:gd name="T23" fmla="*/ 192 h 1428"/>
                <a:gd name="T24" fmla="*/ 835 w 1991"/>
                <a:gd name="T25" fmla="*/ 228 h 1428"/>
                <a:gd name="T26" fmla="*/ 483 w 1991"/>
                <a:gd name="T27" fmla="*/ 228 h 1428"/>
                <a:gd name="T28" fmla="*/ 363 w 1991"/>
                <a:gd name="T29" fmla="*/ 320 h 1428"/>
                <a:gd name="T30" fmla="*/ 319 w 1991"/>
                <a:gd name="T31" fmla="*/ 372 h 1428"/>
                <a:gd name="T32" fmla="*/ 219 w 1991"/>
                <a:gd name="T33" fmla="*/ 680 h 1428"/>
                <a:gd name="T34" fmla="*/ 161 w 1991"/>
                <a:gd name="T35" fmla="*/ 800 h 1428"/>
                <a:gd name="T36" fmla="*/ 20 w 1991"/>
                <a:gd name="T37" fmla="*/ 866 h 1428"/>
                <a:gd name="T38" fmla="*/ 105 w 1991"/>
                <a:gd name="T39" fmla="*/ 927 h 1428"/>
                <a:gd name="T40" fmla="*/ 225 w 1991"/>
                <a:gd name="T41" fmla="*/ 1076 h 1428"/>
                <a:gd name="T42" fmla="*/ 315 w 1991"/>
                <a:gd name="T43" fmla="*/ 1111 h 1428"/>
                <a:gd name="T44" fmla="*/ 422 w 1991"/>
                <a:gd name="T45" fmla="*/ 1233 h 1428"/>
                <a:gd name="T46" fmla="*/ 491 w 1991"/>
                <a:gd name="T47" fmla="*/ 1248 h 1428"/>
                <a:gd name="T48" fmla="*/ 600 w 1991"/>
                <a:gd name="T49" fmla="*/ 1301 h 1428"/>
                <a:gd name="T50" fmla="*/ 656 w 1991"/>
                <a:gd name="T51" fmla="*/ 1329 h 1428"/>
                <a:gd name="T52" fmla="*/ 725 w 1991"/>
                <a:gd name="T53" fmla="*/ 1425 h 1428"/>
                <a:gd name="T54" fmla="*/ 1026 w 1991"/>
                <a:gd name="T55" fmla="*/ 1397 h 1428"/>
                <a:gd name="T56" fmla="*/ 1230 w 1991"/>
                <a:gd name="T57" fmla="*/ 1359 h 1428"/>
                <a:gd name="T58" fmla="*/ 1311 w 1991"/>
                <a:gd name="T59" fmla="*/ 1295 h 1428"/>
                <a:gd name="T60" fmla="*/ 1455 w 1991"/>
                <a:gd name="T61" fmla="*/ 1203 h 1428"/>
                <a:gd name="T62" fmla="*/ 1557 w 1991"/>
                <a:gd name="T63" fmla="*/ 1158 h 1428"/>
                <a:gd name="T64" fmla="*/ 1803 w 1991"/>
                <a:gd name="T65" fmla="*/ 1195 h 14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1"/>
                <a:gd name="T100" fmla="*/ 0 h 1428"/>
                <a:gd name="T101" fmla="*/ 1991 w 1991"/>
                <a:gd name="T102" fmla="*/ 1428 h 14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1" h="1428">
                  <a:moveTo>
                    <a:pt x="1847" y="1195"/>
                  </a:moveTo>
                  <a:cubicBezTo>
                    <a:pt x="1855" y="1139"/>
                    <a:pt x="1851" y="1087"/>
                    <a:pt x="1831" y="1035"/>
                  </a:cubicBezTo>
                  <a:cubicBezTo>
                    <a:pt x="1835" y="963"/>
                    <a:pt x="1815" y="903"/>
                    <a:pt x="1875" y="863"/>
                  </a:cubicBezTo>
                  <a:cubicBezTo>
                    <a:pt x="1879" y="847"/>
                    <a:pt x="1911" y="835"/>
                    <a:pt x="1927" y="827"/>
                  </a:cubicBezTo>
                  <a:cubicBezTo>
                    <a:pt x="1939" y="823"/>
                    <a:pt x="1963" y="815"/>
                    <a:pt x="1963" y="815"/>
                  </a:cubicBezTo>
                  <a:cubicBezTo>
                    <a:pt x="1991" y="787"/>
                    <a:pt x="1975" y="712"/>
                    <a:pt x="1947" y="684"/>
                  </a:cubicBezTo>
                  <a:cubicBezTo>
                    <a:pt x="1935" y="644"/>
                    <a:pt x="1863" y="672"/>
                    <a:pt x="1823" y="676"/>
                  </a:cubicBezTo>
                  <a:cubicBezTo>
                    <a:pt x="1815" y="708"/>
                    <a:pt x="1791" y="735"/>
                    <a:pt x="1759" y="747"/>
                  </a:cubicBezTo>
                  <a:cubicBezTo>
                    <a:pt x="1747" y="775"/>
                    <a:pt x="1735" y="767"/>
                    <a:pt x="1703" y="763"/>
                  </a:cubicBezTo>
                  <a:cubicBezTo>
                    <a:pt x="1687" y="755"/>
                    <a:pt x="1675" y="751"/>
                    <a:pt x="1659" y="743"/>
                  </a:cubicBezTo>
                  <a:cubicBezTo>
                    <a:pt x="1647" y="727"/>
                    <a:pt x="1639" y="708"/>
                    <a:pt x="1627" y="696"/>
                  </a:cubicBezTo>
                  <a:cubicBezTo>
                    <a:pt x="1619" y="688"/>
                    <a:pt x="1603" y="636"/>
                    <a:pt x="1603" y="636"/>
                  </a:cubicBezTo>
                  <a:cubicBezTo>
                    <a:pt x="1595" y="604"/>
                    <a:pt x="1587" y="560"/>
                    <a:pt x="1567" y="500"/>
                  </a:cubicBezTo>
                  <a:cubicBezTo>
                    <a:pt x="1583" y="396"/>
                    <a:pt x="1563" y="324"/>
                    <a:pt x="1483" y="296"/>
                  </a:cubicBezTo>
                  <a:cubicBezTo>
                    <a:pt x="1475" y="276"/>
                    <a:pt x="1467" y="268"/>
                    <a:pt x="1447" y="260"/>
                  </a:cubicBezTo>
                  <a:cubicBezTo>
                    <a:pt x="1431" y="244"/>
                    <a:pt x="1419" y="244"/>
                    <a:pt x="1399" y="236"/>
                  </a:cubicBezTo>
                  <a:cubicBezTo>
                    <a:pt x="1387" y="216"/>
                    <a:pt x="1379" y="204"/>
                    <a:pt x="1363" y="192"/>
                  </a:cubicBezTo>
                  <a:cubicBezTo>
                    <a:pt x="1359" y="176"/>
                    <a:pt x="1319" y="124"/>
                    <a:pt x="1299" y="116"/>
                  </a:cubicBezTo>
                  <a:cubicBezTo>
                    <a:pt x="1291" y="88"/>
                    <a:pt x="1255" y="76"/>
                    <a:pt x="1231" y="60"/>
                  </a:cubicBezTo>
                  <a:cubicBezTo>
                    <a:pt x="1223" y="48"/>
                    <a:pt x="1219" y="36"/>
                    <a:pt x="1207" y="24"/>
                  </a:cubicBezTo>
                  <a:cubicBezTo>
                    <a:pt x="1199" y="0"/>
                    <a:pt x="1135" y="44"/>
                    <a:pt x="1135" y="44"/>
                  </a:cubicBezTo>
                  <a:cubicBezTo>
                    <a:pt x="1111" y="76"/>
                    <a:pt x="1123" y="92"/>
                    <a:pt x="1079" y="100"/>
                  </a:cubicBezTo>
                  <a:cubicBezTo>
                    <a:pt x="1063" y="108"/>
                    <a:pt x="1043" y="116"/>
                    <a:pt x="1027" y="128"/>
                  </a:cubicBezTo>
                  <a:cubicBezTo>
                    <a:pt x="1015" y="164"/>
                    <a:pt x="943" y="168"/>
                    <a:pt x="915" y="192"/>
                  </a:cubicBezTo>
                  <a:cubicBezTo>
                    <a:pt x="899" y="196"/>
                    <a:pt x="871" y="204"/>
                    <a:pt x="871" y="204"/>
                  </a:cubicBezTo>
                  <a:cubicBezTo>
                    <a:pt x="859" y="216"/>
                    <a:pt x="847" y="220"/>
                    <a:pt x="835" y="228"/>
                  </a:cubicBezTo>
                  <a:cubicBezTo>
                    <a:pt x="723" y="216"/>
                    <a:pt x="787" y="220"/>
                    <a:pt x="643" y="216"/>
                  </a:cubicBezTo>
                  <a:cubicBezTo>
                    <a:pt x="535" y="220"/>
                    <a:pt x="543" y="180"/>
                    <a:pt x="483" y="228"/>
                  </a:cubicBezTo>
                  <a:cubicBezTo>
                    <a:pt x="475" y="248"/>
                    <a:pt x="435" y="292"/>
                    <a:pt x="411" y="296"/>
                  </a:cubicBezTo>
                  <a:cubicBezTo>
                    <a:pt x="399" y="312"/>
                    <a:pt x="383" y="312"/>
                    <a:pt x="363" y="320"/>
                  </a:cubicBezTo>
                  <a:cubicBezTo>
                    <a:pt x="359" y="320"/>
                    <a:pt x="351" y="324"/>
                    <a:pt x="351" y="324"/>
                  </a:cubicBezTo>
                  <a:cubicBezTo>
                    <a:pt x="339" y="340"/>
                    <a:pt x="331" y="360"/>
                    <a:pt x="319" y="372"/>
                  </a:cubicBezTo>
                  <a:cubicBezTo>
                    <a:pt x="295" y="440"/>
                    <a:pt x="287" y="528"/>
                    <a:pt x="247" y="588"/>
                  </a:cubicBezTo>
                  <a:cubicBezTo>
                    <a:pt x="233" y="623"/>
                    <a:pt x="235" y="632"/>
                    <a:pt x="219" y="680"/>
                  </a:cubicBezTo>
                  <a:cubicBezTo>
                    <a:pt x="215" y="720"/>
                    <a:pt x="203" y="725"/>
                    <a:pt x="183" y="753"/>
                  </a:cubicBezTo>
                  <a:cubicBezTo>
                    <a:pt x="173" y="772"/>
                    <a:pt x="174" y="780"/>
                    <a:pt x="161" y="800"/>
                  </a:cubicBezTo>
                  <a:cubicBezTo>
                    <a:pt x="144" y="813"/>
                    <a:pt x="98" y="825"/>
                    <a:pt x="83" y="849"/>
                  </a:cubicBezTo>
                  <a:cubicBezTo>
                    <a:pt x="60" y="860"/>
                    <a:pt x="27" y="862"/>
                    <a:pt x="20" y="866"/>
                  </a:cubicBezTo>
                  <a:cubicBezTo>
                    <a:pt x="0" y="878"/>
                    <a:pt x="33" y="866"/>
                    <a:pt x="36" y="881"/>
                  </a:cubicBezTo>
                  <a:cubicBezTo>
                    <a:pt x="50" y="921"/>
                    <a:pt x="90" y="912"/>
                    <a:pt x="105" y="927"/>
                  </a:cubicBezTo>
                  <a:cubicBezTo>
                    <a:pt x="129" y="959"/>
                    <a:pt x="141" y="962"/>
                    <a:pt x="163" y="991"/>
                  </a:cubicBezTo>
                  <a:cubicBezTo>
                    <a:pt x="170" y="1017"/>
                    <a:pt x="206" y="1035"/>
                    <a:pt x="225" y="1076"/>
                  </a:cubicBezTo>
                  <a:cubicBezTo>
                    <a:pt x="248" y="1083"/>
                    <a:pt x="257" y="1079"/>
                    <a:pt x="281" y="1086"/>
                  </a:cubicBezTo>
                  <a:cubicBezTo>
                    <a:pt x="293" y="1090"/>
                    <a:pt x="315" y="1111"/>
                    <a:pt x="315" y="1111"/>
                  </a:cubicBezTo>
                  <a:cubicBezTo>
                    <a:pt x="319" y="1199"/>
                    <a:pt x="288" y="1233"/>
                    <a:pt x="375" y="1231"/>
                  </a:cubicBezTo>
                  <a:cubicBezTo>
                    <a:pt x="391" y="1235"/>
                    <a:pt x="399" y="1226"/>
                    <a:pt x="422" y="1233"/>
                  </a:cubicBezTo>
                  <a:cubicBezTo>
                    <a:pt x="430" y="1237"/>
                    <a:pt x="462" y="1251"/>
                    <a:pt x="462" y="1251"/>
                  </a:cubicBezTo>
                  <a:cubicBezTo>
                    <a:pt x="473" y="1253"/>
                    <a:pt x="475" y="1254"/>
                    <a:pt x="491" y="1248"/>
                  </a:cubicBezTo>
                  <a:cubicBezTo>
                    <a:pt x="497" y="1235"/>
                    <a:pt x="498" y="1226"/>
                    <a:pt x="557" y="1206"/>
                  </a:cubicBezTo>
                  <a:cubicBezTo>
                    <a:pt x="581" y="1214"/>
                    <a:pt x="609" y="1265"/>
                    <a:pt x="600" y="1301"/>
                  </a:cubicBezTo>
                  <a:cubicBezTo>
                    <a:pt x="604" y="1309"/>
                    <a:pt x="618" y="1301"/>
                    <a:pt x="629" y="1316"/>
                  </a:cubicBezTo>
                  <a:cubicBezTo>
                    <a:pt x="641" y="1320"/>
                    <a:pt x="656" y="1329"/>
                    <a:pt x="656" y="1329"/>
                  </a:cubicBezTo>
                  <a:cubicBezTo>
                    <a:pt x="698" y="1392"/>
                    <a:pt x="678" y="1401"/>
                    <a:pt x="685" y="1415"/>
                  </a:cubicBezTo>
                  <a:cubicBezTo>
                    <a:pt x="704" y="1421"/>
                    <a:pt x="707" y="1423"/>
                    <a:pt x="725" y="1425"/>
                  </a:cubicBezTo>
                  <a:cubicBezTo>
                    <a:pt x="747" y="1428"/>
                    <a:pt x="771" y="1425"/>
                    <a:pt x="795" y="1425"/>
                  </a:cubicBezTo>
                  <a:cubicBezTo>
                    <a:pt x="871" y="1421"/>
                    <a:pt x="942" y="1409"/>
                    <a:pt x="1026" y="1397"/>
                  </a:cubicBezTo>
                  <a:cubicBezTo>
                    <a:pt x="1074" y="1389"/>
                    <a:pt x="1122" y="1385"/>
                    <a:pt x="1175" y="1380"/>
                  </a:cubicBezTo>
                  <a:cubicBezTo>
                    <a:pt x="1196" y="1371"/>
                    <a:pt x="1230" y="1359"/>
                    <a:pt x="1230" y="1359"/>
                  </a:cubicBezTo>
                  <a:cubicBezTo>
                    <a:pt x="1242" y="1351"/>
                    <a:pt x="1251" y="1346"/>
                    <a:pt x="1263" y="1338"/>
                  </a:cubicBezTo>
                  <a:cubicBezTo>
                    <a:pt x="1267" y="1322"/>
                    <a:pt x="1295" y="1307"/>
                    <a:pt x="1311" y="1295"/>
                  </a:cubicBezTo>
                  <a:cubicBezTo>
                    <a:pt x="1323" y="1274"/>
                    <a:pt x="1343" y="1257"/>
                    <a:pt x="1355" y="1233"/>
                  </a:cubicBezTo>
                  <a:cubicBezTo>
                    <a:pt x="1382" y="1216"/>
                    <a:pt x="1428" y="1213"/>
                    <a:pt x="1455" y="1203"/>
                  </a:cubicBezTo>
                  <a:cubicBezTo>
                    <a:pt x="1476" y="1182"/>
                    <a:pt x="1519" y="1175"/>
                    <a:pt x="1519" y="1175"/>
                  </a:cubicBezTo>
                  <a:cubicBezTo>
                    <a:pt x="1527" y="1167"/>
                    <a:pt x="1557" y="1158"/>
                    <a:pt x="1557" y="1158"/>
                  </a:cubicBezTo>
                  <a:cubicBezTo>
                    <a:pt x="1581" y="1162"/>
                    <a:pt x="1605" y="1154"/>
                    <a:pt x="1629" y="1158"/>
                  </a:cubicBezTo>
                  <a:cubicBezTo>
                    <a:pt x="1670" y="1172"/>
                    <a:pt x="1773" y="1197"/>
                    <a:pt x="1803" y="1195"/>
                  </a:cubicBezTo>
                  <a:cubicBezTo>
                    <a:pt x="1811" y="1195"/>
                    <a:pt x="1871" y="1219"/>
                    <a:pt x="1847" y="1195"/>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4" name="Freeform 2528">
              <a:extLst>
                <a:ext uri="{FF2B5EF4-FFF2-40B4-BE49-F238E27FC236}">
                  <a16:creationId xmlns:a16="http://schemas.microsoft.com/office/drawing/2014/main" id="{7B425F92-A8D5-4AD6-A914-B17C58079C75}"/>
                </a:ext>
              </a:extLst>
            </p:cNvPr>
            <p:cNvSpPr>
              <a:spLocks noChangeAspect="1"/>
            </p:cNvSpPr>
            <p:nvPr>
              <p:custDataLst>
                <p:tags r:id="rId27"/>
              </p:custDataLst>
            </p:nvPr>
          </p:nvSpPr>
          <p:spPr bwMode="auto">
            <a:xfrm>
              <a:off x="5659830" y="4474175"/>
              <a:ext cx="472526" cy="357974"/>
            </a:xfrm>
            <a:custGeom>
              <a:avLst/>
              <a:gdLst>
                <a:gd name="T0" fmla="*/ 1283 w 1320"/>
                <a:gd name="T1" fmla="*/ 578 h 999"/>
                <a:gd name="T2" fmla="*/ 1276 w 1320"/>
                <a:gd name="T3" fmla="*/ 507 h 999"/>
                <a:gd name="T4" fmla="*/ 1216 w 1320"/>
                <a:gd name="T5" fmla="*/ 480 h 999"/>
                <a:gd name="T6" fmla="*/ 1192 w 1320"/>
                <a:gd name="T7" fmla="*/ 464 h 999"/>
                <a:gd name="T8" fmla="*/ 1188 w 1320"/>
                <a:gd name="T9" fmla="*/ 368 h 999"/>
                <a:gd name="T10" fmla="*/ 1192 w 1320"/>
                <a:gd name="T11" fmla="*/ 288 h 999"/>
                <a:gd name="T12" fmla="*/ 1312 w 1320"/>
                <a:gd name="T13" fmla="*/ 128 h 999"/>
                <a:gd name="T14" fmla="*/ 1272 w 1320"/>
                <a:gd name="T15" fmla="*/ 48 h 999"/>
                <a:gd name="T16" fmla="*/ 1216 w 1320"/>
                <a:gd name="T17" fmla="*/ 40 h 999"/>
                <a:gd name="T18" fmla="*/ 1104 w 1320"/>
                <a:gd name="T19" fmla="*/ 16 h 999"/>
                <a:gd name="T20" fmla="*/ 1044 w 1320"/>
                <a:gd name="T21" fmla="*/ 0 h 999"/>
                <a:gd name="T22" fmla="*/ 924 w 1320"/>
                <a:gd name="T23" fmla="*/ 24 h 999"/>
                <a:gd name="T24" fmla="*/ 888 w 1320"/>
                <a:gd name="T25" fmla="*/ 48 h 999"/>
                <a:gd name="T26" fmla="*/ 784 w 1320"/>
                <a:gd name="T27" fmla="*/ 80 h 999"/>
                <a:gd name="T28" fmla="*/ 760 w 1320"/>
                <a:gd name="T29" fmla="*/ 112 h 999"/>
                <a:gd name="T30" fmla="*/ 736 w 1320"/>
                <a:gd name="T31" fmla="*/ 140 h 999"/>
                <a:gd name="T32" fmla="*/ 700 w 1320"/>
                <a:gd name="T33" fmla="*/ 172 h 999"/>
                <a:gd name="T34" fmla="*/ 612 w 1320"/>
                <a:gd name="T35" fmla="*/ 224 h 999"/>
                <a:gd name="T36" fmla="*/ 192 w 1320"/>
                <a:gd name="T37" fmla="*/ 272 h 999"/>
                <a:gd name="T38" fmla="*/ 96 w 1320"/>
                <a:gd name="T39" fmla="*/ 196 h 999"/>
                <a:gd name="T40" fmla="*/ 60 w 1320"/>
                <a:gd name="T41" fmla="*/ 160 h 999"/>
                <a:gd name="T42" fmla="*/ 16 w 1320"/>
                <a:gd name="T43" fmla="*/ 244 h 999"/>
                <a:gd name="T44" fmla="*/ 36 w 1320"/>
                <a:gd name="T45" fmla="*/ 370 h 999"/>
                <a:gd name="T46" fmla="*/ 51 w 1320"/>
                <a:gd name="T47" fmla="*/ 410 h 999"/>
                <a:gd name="T48" fmla="*/ 124 w 1320"/>
                <a:gd name="T49" fmla="*/ 432 h 999"/>
                <a:gd name="T50" fmla="*/ 156 w 1320"/>
                <a:gd name="T51" fmla="*/ 460 h 999"/>
                <a:gd name="T52" fmla="*/ 129 w 1320"/>
                <a:gd name="T53" fmla="*/ 541 h 999"/>
                <a:gd name="T54" fmla="*/ 84 w 1320"/>
                <a:gd name="T55" fmla="*/ 571 h 999"/>
                <a:gd name="T56" fmla="*/ 88 w 1320"/>
                <a:gd name="T57" fmla="*/ 603 h 999"/>
                <a:gd name="T58" fmla="*/ 86 w 1320"/>
                <a:gd name="T59" fmla="*/ 662 h 999"/>
                <a:gd name="T60" fmla="*/ 78 w 1320"/>
                <a:gd name="T61" fmla="*/ 739 h 999"/>
                <a:gd name="T62" fmla="*/ 93 w 1320"/>
                <a:gd name="T63" fmla="*/ 764 h 999"/>
                <a:gd name="T64" fmla="*/ 160 w 1320"/>
                <a:gd name="T65" fmla="*/ 799 h 999"/>
                <a:gd name="T66" fmla="*/ 216 w 1320"/>
                <a:gd name="T67" fmla="*/ 835 h 999"/>
                <a:gd name="T68" fmla="*/ 252 w 1320"/>
                <a:gd name="T69" fmla="*/ 907 h 999"/>
                <a:gd name="T70" fmla="*/ 248 w 1320"/>
                <a:gd name="T71" fmla="*/ 999 h 999"/>
                <a:gd name="T72" fmla="*/ 269 w 1320"/>
                <a:gd name="T73" fmla="*/ 977 h 999"/>
                <a:gd name="T74" fmla="*/ 438 w 1320"/>
                <a:gd name="T75" fmla="*/ 956 h 999"/>
                <a:gd name="T76" fmla="*/ 450 w 1320"/>
                <a:gd name="T77" fmla="*/ 923 h 999"/>
                <a:gd name="T78" fmla="*/ 500 w 1320"/>
                <a:gd name="T79" fmla="*/ 878 h 999"/>
                <a:gd name="T80" fmla="*/ 536 w 1320"/>
                <a:gd name="T81" fmla="*/ 865 h 999"/>
                <a:gd name="T82" fmla="*/ 600 w 1320"/>
                <a:gd name="T83" fmla="*/ 887 h 999"/>
                <a:gd name="T84" fmla="*/ 720 w 1320"/>
                <a:gd name="T85" fmla="*/ 911 h 999"/>
                <a:gd name="T86" fmla="*/ 819 w 1320"/>
                <a:gd name="T87" fmla="*/ 898 h 999"/>
                <a:gd name="T88" fmla="*/ 852 w 1320"/>
                <a:gd name="T89" fmla="*/ 883 h 999"/>
                <a:gd name="T90" fmla="*/ 928 w 1320"/>
                <a:gd name="T91" fmla="*/ 855 h 999"/>
                <a:gd name="T92" fmla="*/ 924 w 1320"/>
                <a:gd name="T93" fmla="*/ 770 h 999"/>
                <a:gd name="T94" fmla="*/ 917 w 1320"/>
                <a:gd name="T95" fmla="*/ 722 h 999"/>
                <a:gd name="T96" fmla="*/ 941 w 1320"/>
                <a:gd name="T97" fmla="*/ 730 h 999"/>
                <a:gd name="T98" fmla="*/ 965 w 1320"/>
                <a:gd name="T99" fmla="*/ 749 h 999"/>
                <a:gd name="T100" fmla="*/ 1002 w 1320"/>
                <a:gd name="T101" fmla="*/ 767 h 999"/>
                <a:gd name="T102" fmla="*/ 969 w 1320"/>
                <a:gd name="T103" fmla="*/ 737 h 999"/>
                <a:gd name="T104" fmla="*/ 975 w 1320"/>
                <a:gd name="T105" fmla="*/ 716 h 999"/>
                <a:gd name="T106" fmla="*/ 992 w 1320"/>
                <a:gd name="T107" fmla="*/ 701 h 999"/>
                <a:gd name="T108" fmla="*/ 995 w 1320"/>
                <a:gd name="T109" fmla="*/ 685 h 999"/>
                <a:gd name="T110" fmla="*/ 1007 w 1320"/>
                <a:gd name="T111" fmla="*/ 655 h 999"/>
                <a:gd name="T112" fmla="*/ 1037 w 1320"/>
                <a:gd name="T113" fmla="*/ 638 h 999"/>
                <a:gd name="T114" fmla="*/ 1118 w 1320"/>
                <a:gd name="T115" fmla="*/ 586 h 999"/>
                <a:gd name="T116" fmla="*/ 1200 w 1320"/>
                <a:gd name="T117" fmla="*/ 603 h 999"/>
                <a:gd name="T118" fmla="*/ 1257 w 1320"/>
                <a:gd name="T119" fmla="*/ 596 h 999"/>
                <a:gd name="T120" fmla="*/ 1283 w 1320"/>
                <a:gd name="T121" fmla="*/ 578 h 9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20"/>
                <a:gd name="T184" fmla="*/ 0 h 999"/>
                <a:gd name="T185" fmla="*/ 1320 w 1320"/>
                <a:gd name="T186" fmla="*/ 999 h 9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20" h="999">
                  <a:moveTo>
                    <a:pt x="1283" y="578"/>
                  </a:moveTo>
                  <a:cubicBezTo>
                    <a:pt x="1307" y="570"/>
                    <a:pt x="1284" y="527"/>
                    <a:pt x="1276" y="507"/>
                  </a:cubicBezTo>
                  <a:cubicBezTo>
                    <a:pt x="1272" y="500"/>
                    <a:pt x="1224" y="484"/>
                    <a:pt x="1216" y="480"/>
                  </a:cubicBezTo>
                  <a:cubicBezTo>
                    <a:pt x="1208" y="476"/>
                    <a:pt x="1192" y="464"/>
                    <a:pt x="1192" y="464"/>
                  </a:cubicBezTo>
                  <a:cubicBezTo>
                    <a:pt x="1172" y="436"/>
                    <a:pt x="1184" y="400"/>
                    <a:pt x="1188" y="368"/>
                  </a:cubicBezTo>
                  <a:cubicBezTo>
                    <a:pt x="1188" y="340"/>
                    <a:pt x="1192" y="316"/>
                    <a:pt x="1192" y="288"/>
                  </a:cubicBezTo>
                  <a:cubicBezTo>
                    <a:pt x="1200" y="164"/>
                    <a:pt x="1196" y="144"/>
                    <a:pt x="1312" y="128"/>
                  </a:cubicBezTo>
                  <a:cubicBezTo>
                    <a:pt x="1320" y="116"/>
                    <a:pt x="1292" y="56"/>
                    <a:pt x="1272" y="48"/>
                  </a:cubicBezTo>
                  <a:cubicBezTo>
                    <a:pt x="1256" y="40"/>
                    <a:pt x="1228" y="40"/>
                    <a:pt x="1216" y="40"/>
                  </a:cubicBezTo>
                  <a:cubicBezTo>
                    <a:pt x="1176" y="28"/>
                    <a:pt x="1144" y="20"/>
                    <a:pt x="1104" y="16"/>
                  </a:cubicBezTo>
                  <a:cubicBezTo>
                    <a:pt x="1084" y="8"/>
                    <a:pt x="1064" y="4"/>
                    <a:pt x="1044" y="0"/>
                  </a:cubicBezTo>
                  <a:cubicBezTo>
                    <a:pt x="996" y="4"/>
                    <a:pt x="968" y="8"/>
                    <a:pt x="924" y="24"/>
                  </a:cubicBezTo>
                  <a:cubicBezTo>
                    <a:pt x="912" y="28"/>
                    <a:pt x="900" y="44"/>
                    <a:pt x="888" y="48"/>
                  </a:cubicBezTo>
                  <a:cubicBezTo>
                    <a:pt x="852" y="56"/>
                    <a:pt x="816" y="64"/>
                    <a:pt x="784" y="80"/>
                  </a:cubicBezTo>
                  <a:cubicBezTo>
                    <a:pt x="780" y="96"/>
                    <a:pt x="772" y="104"/>
                    <a:pt x="760" y="112"/>
                  </a:cubicBezTo>
                  <a:cubicBezTo>
                    <a:pt x="752" y="128"/>
                    <a:pt x="752" y="136"/>
                    <a:pt x="736" y="140"/>
                  </a:cubicBezTo>
                  <a:cubicBezTo>
                    <a:pt x="708" y="168"/>
                    <a:pt x="720" y="156"/>
                    <a:pt x="700" y="172"/>
                  </a:cubicBezTo>
                  <a:cubicBezTo>
                    <a:pt x="688" y="208"/>
                    <a:pt x="648" y="200"/>
                    <a:pt x="612" y="224"/>
                  </a:cubicBezTo>
                  <a:cubicBezTo>
                    <a:pt x="492" y="232"/>
                    <a:pt x="336" y="264"/>
                    <a:pt x="192" y="272"/>
                  </a:cubicBezTo>
                  <a:cubicBezTo>
                    <a:pt x="72" y="264"/>
                    <a:pt x="152" y="252"/>
                    <a:pt x="96" y="196"/>
                  </a:cubicBezTo>
                  <a:cubicBezTo>
                    <a:pt x="88" y="168"/>
                    <a:pt x="80" y="172"/>
                    <a:pt x="60" y="160"/>
                  </a:cubicBezTo>
                  <a:cubicBezTo>
                    <a:pt x="48" y="191"/>
                    <a:pt x="33" y="242"/>
                    <a:pt x="16" y="244"/>
                  </a:cubicBezTo>
                  <a:cubicBezTo>
                    <a:pt x="0" y="288"/>
                    <a:pt x="27" y="326"/>
                    <a:pt x="36" y="370"/>
                  </a:cubicBezTo>
                  <a:cubicBezTo>
                    <a:pt x="39" y="397"/>
                    <a:pt x="43" y="406"/>
                    <a:pt x="51" y="410"/>
                  </a:cubicBezTo>
                  <a:cubicBezTo>
                    <a:pt x="86" y="415"/>
                    <a:pt x="108" y="424"/>
                    <a:pt x="124" y="432"/>
                  </a:cubicBezTo>
                  <a:cubicBezTo>
                    <a:pt x="136" y="448"/>
                    <a:pt x="140" y="448"/>
                    <a:pt x="156" y="460"/>
                  </a:cubicBezTo>
                  <a:cubicBezTo>
                    <a:pt x="169" y="502"/>
                    <a:pt x="142" y="523"/>
                    <a:pt x="129" y="541"/>
                  </a:cubicBezTo>
                  <a:cubicBezTo>
                    <a:pt x="115" y="557"/>
                    <a:pt x="91" y="559"/>
                    <a:pt x="84" y="571"/>
                  </a:cubicBezTo>
                  <a:cubicBezTo>
                    <a:pt x="80" y="592"/>
                    <a:pt x="80" y="583"/>
                    <a:pt x="88" y="603"/>
                  </a:cubicBezTo>
                  <a:cubicBezTo>
                    <a:pt x="92" y="626"/>
                    <a:pt x="87" y="637"/>
                    <a:pt x="86" y="662"/>
                  </a:cubicBezTo>
                  <a:cubicBezTo>
                    <a:pt x="89" y="695"/>
                    <a:pt x="86" y="715"/>
                    <a:pt x="78" y="739"/>
                  </a:cubicBezTo>
                  <a:cubicBezTo>
                    <a:pt x="84" y="755"/>
                    <a:pt x="79" y="754"/>
                    <a:pt x="93" y="764"/>
                  </a:cubicBezTo>
                  <a:cubicBezTo>
                    <a:pt x="107" y="774"/>
                    <a:pt x="139" y="787"/>
                    <a:pt x="160" y="799"/>
                  </a:cubicBezTo>
                  <a:cubicBezTo>
                    <a:pt x="183" y="817"/>
                    <a:pt x="201" y="817"/>
                    <a:pt x="216" y="835"/>
                  </a:cubicBezTo>
                  <a:cubicBezTo>
                    <a:pt x="232" y="859"/>
                    <a:pt x="245" y="878"/>
                    <a:pt x="252" y="907"/>
                  </a:cubicBezTo>
                  <a:cubicBezTo>
                    <a:pt x="248" y="943"/>
                    <a:pt x="244" y="963"/>
                    <a:pt x="248" y="999"/>
                  </a:cubicBezTo>
                  <a:cubicBezTo>
                    <a:pt x="252" y="983"/>
                    <a:pt x="269" y="977"/>
                    <a:pt x="269" y="977"/>
                  </a:cubicBezTo>
                  <a:cubicBezTo>
                    <a:pt x="311" y="961"/>
                    <a:pt x="422" y="956"/>
                    <a:pt x="438" y="956"/>
                  </a:cubicBezTo>
                  <a:cubicBezTo>
                    <a:pt x="444" y="941"/>
                    <a:pt x="447" y="931"/>
                    <a:pt x="450" y="923"/>
                  </a:cubicBezTo>
                  <a:cubicBezTo>
                    <a:pt x="477" y="911"/>
                    <a:pt x="480" y="899"/>
                    <a:pt x="500" y="878"/>
                  </a:cubicBezTo>
                  <a:cubicBezTo>
                    <a:pt x="516" y="866"/>
                    <a:pt x="516" y="869"/>
                    <a:pt x="536" y="865"/>
                  </a:cubicBezTo>
                  <a:cubicBezTo>
                    <a:pt x="568" y="869"/>
                    <a:pt x="576" y="875"/>
                    <a:pt x="600" y="887"/>
                  </a:cubicBezTo>
                  <a:cubicBezTo>
                    <a:pt x="650" y="920"/>
                    <a:pt x="668" y="907"/>
                    <a:pt x="720" y="911"/>
                  </a:cubicBezTo>
                  <a:cubicBezTo>
                    <a:pt x="753" y="911"/>
                    <a:pt x="777" y="913"/>
                    <a:pt x="819" y="898"/>
                  </a:cubicBezTo>
                  <a:cubicBezTo>
                    <a:pt x="831" y="894"/>
                    <a:pt x="848" y="881"/>
                    <a:pt x="852" y="883"/>
                  </a:cubicBezTo>
                  <a:cubicBezTo>
                    <a:pt x="869" y="859"/>
                    <a:pt x="900" y="863"/>
                    <a:pt x="928" y="855"/>
                  </a:cubicBezTo>
                  <a:cubicBezTo>
                    <a:pt x="948" y="827"/>
                    <a:pt x="931" y="802"/>
                    <a:pt x="924" y="770"/>
                  </a:cubicBezTo>
                  <a:cubicBezTo>
                    <a:pt x="904" y="753"/>
                    <a:pt x="917" y="722"/>
                    <a:pt x="917" y="722"/>
                  </a:cubicBezTo>
                  <a:cubicBezTo>
                    <a:pt x="933" y="719"/>
                    <a:pt x="925" y="718"/>
                    <a:pt x="941" y="730"/>
                  </a:cubicBezTo>
                  <a:cubicBezTo>
                    <a:pt x="951" y="745"/>
                    <a:pt x="955" y="743"/>
                    <a:pt x="965" y="749"/>
                  </a:cubicBezTo>
                  <a:cubicBezTo>
                    <a:pt x="975" y="755"/>
                    <a:pt x="1001" y="769"/>
                    <a:pt x="1002" y="767"/>
                  </a:cubicBezTo>
                  <a:cubicBezTo>
                    <a:pt x="992" y="728"/>
                    <a:pt x="973" y="745"/>
                    <a:pt x="969" y="737"/>
                  </a:cubicBezTo>
                  <a:cubicBezTo>
                    <a:pt x="965" y="729"/>
                    <a:pt x="971" y="722"/>
                    <a:pt x="975" y="716"/>
                  </a:cubicBezTo>
                  <a:cubicBezTo>
                    <a:pt x="979" y="716"/>
                    <a:pt x="988" y="701"/>
                    <a:pt x="992" y="701"/>
                  </a:cubicBezTo>
                  <a:cubicBezTo>
                    <a:pt x="996" y="697"/>
                    <a:pt x="995" y="689"/>
                    <a:pt x="995" y="685"/>
                  </a:cubicBezTo>
                  <a:cubicBezTo>
                    <a:pt x="995" y="673"/>
                    <a:pt x="1003" y="663"/>
                    <a:pt x="1007" y="655"/>
                  </a:cubicBezTo>
                  <a:cubicBezTo>
                    <a:pt x="1011" y="644"/>
                    <a:pt x="1029" y="642"/>
                    <a:pt x="1037" y="638"/>
                  </a:cubicBezTo>
                  <a:cubicBezTo>
                    <a:pt x="1065" y="620"/>
                    <a:pt x="1082" y="598"/>
                    <a:pt x="1118" y="586"/>
                  </a:cubicBezTo>
                  <a:cubicBezTo>
                    <a:pt x="1145" y="581"/>
                    <a:pt x="1157" y="602"/>
                    <a:pt x="1200" y="603"/>
                  </a:cubicBezTo>
                  <a:cubicBezTo>
                    <a:pt x="1222" y="603"/>
                    <a:pt x="1243" y="600"/>
                    <a:pt x="1257" y="596"/>
                  </a:cubicBezTo>
                  <a:cubicBezTo>
                    <a:pt x="1271" y="592"/>
                    <a:pt x="1266" y="583"/>
                    <a:pt x="1283" y="578"/>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5" name="Freeform 2529">
              <a:extLst>
                <a:ext uri="{FF2B5EF4-FFF2-40B4-BE49-F238E27FC236}">
                  <a16:creationId xmlns:a16="http://schemas.microsoft.com/office/drawing/2014/main" id="{E68F50A9-7C25-4B31-B368-CB60AA7138EC}"/>
                </a:ext>
              </a:extLst>
            </p:cNvPr>
            <p:cNvSpPr>
              <a:spLocks noChangeAspect="1"/>
            </p:cNvSpPr>
            <p:nvPr>
              <p:custDataLst>
                <p:tags r:id="rId28"/>
              </p:custDataLst>
            </p:nvPr>
          </p:nvSpPr>
          <p:spPr bwMode="auto">
            <a:xfrm>
              <a:off x="5549575" y="4727621"/>
              <a:ext cx="200466" cy="183283"/>
            </a:xfrm>
            <a:custGeom>
              <a:avLst/>
              <a:gdLst>
                <a:gd name="T0" fmla="*/ 380 w 559"/>
                <a:gd name="T1" fmla="*/ 28 h 512"/>
                <a:gd name="T2" fmla="*/ 200 w 559"/>
                <a:gd name="T3" fmla="*/ 83 h 512"/>
                <a:gd name="T4" fmla="*/ 155 w 559"/>
                <a:gd name="T5" fmla="*/ 102 h 512"/>
                <a:gd name="T6" fmla="*/ 52 w 559"/>
                <a:gd name="T7" fmla="*/ 160 h 512"/>
                <a:gd name="T8" fmla="*/ 32 w 559"/>
                <a:gd name="T9" fmla="*/ 200 h 512"/>
                <a:gd name="T10" fmla="*/ 0 w 559"/>
                <a:gd name="T11" fmla="*/ 268 h 512"/>
                <a:gd name="T12" fmla="*/ 16 w 559"/>
                <a:gd name="T13" fmla="*/ 380 h 512"/>
                <a:gd name="T14" fmla="*/ 43 w 559"/>
                <a:gd name="T15" fmla="*/ 437 h 512"/>
                <a:gd name="T16" fmla="*/ 80 w 559"/>
                <a:gd name="T17" fmla="*/ 484 h 512"/>
                <a:gd name="T18" fmla="*/ 121 w 559"/>
                <a:gd name="T19" fmla="*/ 512 h 512"/>
                <a:gd name="T20" fmla="*/ 216 w 559"/>
                <a:gd name="T21" fmla="*/ 484 h 512"/>
                <a:gd name="T22" fmla="*/ 298 w 559"/>
                <a:gd name="T23" fmla="*/ 456 h 512"/>
                <a:gd name="T24" fmla="*/ 329 w 559"/>
                <a:gd name="T25" fmla="*/ 426 h 512"/>
                <a:gd name="T26" fmla="*/ 392 w 559"/>
                <a:gd name="T27" fmla="*/ 369 h 512"/>
                <a:gd name="T28" fmla="*/ 556 w 559"/>
                <a:gd name="T29" fmla="*/ 284 h 512"/>
                <a:gd name="T30" fmla="*/ 559 w 559"/>
                <a:gd name="T31" fmla="*/ 198 h 512"/>
                <a:gd name="T32" fmla="*/ 508 w 559"/>
                <a:gd name="T33" fmla="*/ 116 h 512"/>
                <a:gd name="T34" fmla="*/ 396 w 559"/>
                <a:gd name="T35" fmla="*/ 56 h 512"/>
                <a:gd name="T36" fmla="*/ 380 w 559"/>
                <a:gd name="T37" fmla="*/ 28 h 5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9"/>
                <a:gd name="T58" fmla="*/ 0 h 512"/>
                <a:gd name="T59" fmla="*/ 559 w 559"/>
                <a:gd name="T60" fmla="*/ 512 h 5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9" h="512">
                  <a:moveTo>
                    <a:pt x="380" y="28"/>
                  </a:moveTo>
                  <a:cubicBezTo>
                    <a:pt x="310" y="36"/>
                    <a:pt x="242" y="57"/>
                    <a:pt x="200" y="83"/>
                  </a:cubicBezTo>
                  <a:cubicBezTo>
                    <a:pt x="184" y="87"/>
                    <a:pt x="155" y="102"/>
                    <a:pt x="155" y="102"/>
                  </a:cubicBezTo>
                  <a:cubicBezTo>
                    <a:pt x="110" y="107"/>
                    <a:pt x="74" y="123"/>
                    <a:pt x="52" y="160"/>
                  </a:cubicBezTo>
                  <a:cubicBezTo>
                    <a:pt x="48" y="180"/>
                    <a:pt x="49" y="188"/>
                    <a:pt x="32" y="200"/>
                  </a:cubicBezTo>
                  <a:cubicBezTo>
                    <a:pt x="16" y="220"/>
                    <a:pt x="5" y="227"/>
                    <a:pt x="0" y="268"/>
                  </a:cubicBezTo>
                  <a:cubicBezTo>
                    <a:pt x="4" y="308"/>
                    <a:pt x="5" y="341"/>
                    <a:pt x="16" y="380"/>
                  </a:cubicBezTo>
                  <a:cubicBezTo>
                    <a:pt x="23" y="401"/>
                    <a:pt x="27" y="421"/>
                    <a:pt x="43" y="437"/>
                  </a:cubicBezTo>
                  <a:cubicBezTo>
                    <a:pt x="51" y="457"/>
                    <a:pt x="76" y="467"/>
                    <a:pt x="80" y="484"/>
                  </a:cubicBezTo>
                  <a:cubicBezTo>
                    <a:pt x="94" y="494"/>
                    <a:pt x="101" y="491"/>
                    <a:pt x="121" y="512"/>
                  </a:cubicBezTo>
                  <a:cubicBezTo>
                    <a:pt x="154" y="503"/>
                    <a:pt x="184" y="492"/>
                    <a:pt x="216" y="484"/>
                  </a:cubicBezTo>
                  <a:cubicBezTo>
                    <a:pt x="248" y="477"/>
                    <a:pt x="275" y="468"/>
                    <a:pt x="298" y="456"/>
                  </a:cubicBezTo>
                  <a:cubicBezTo>
                    <a:pt x="313" y="447"/>
                    <a:pt x="317" y="440"/>
                    <a:pt x="329" y="426"/>
                  </a:cubicBezTo>
                  <a:cubicBezTo>
                    <a:pt x="356" y="395"/>
                    <a:pt x="352" y="397"/>
                    <a:pt x="392" y="369"/>
                  </a:cubicBezTo>
                  <a:cubicBezTo>
                    <a:pt x="433" y="360"/>
                    <a:pt x="542" y="398"/>
                    <a:pt x="556" y="284"/>
                  </a:cubicBezTo>
                  <a:cubicBezTo>
                    <a:pt x="555" y="257"/>
                    <a:pt x="557" y="233"/>
                    <a:pt x="559" y="198"/>
                  </a:cubicBezTo>
                  <a:cubicBezTo>
                    <a:pt x="552" y="166"/>
                    <a:pt x="535" y="140"/>
                    <a:pt x="508" y="116"/>
                  </a:cubicBezTo>
                  <a:cubicBezTo>
                    <a:pt x="464" y="92"/>
                    <a:pt x="432" y="68"/>
                    <a:pt x="396" y="56"/>
                  </a:cubicBezTo>
                  <a:cubicBezTo>
                    <a:pt x="392" y="48"/>
                    <a:pt x="380" y="0"/>
                    <a:pt x="380" y="28"/>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6" name="Freeform 2530">
              <a:extLst>
                <a:ext uri="{FF2B5EF4-FFF2-40B4-BE49-F238E27FC236}">
                  <a16:creationId xmlns:a16="http://schemas.microsoft.com/office/drawing/2014/main" id="{2EEDA7B4-5622-42F0-AF2B-0884123C110A}"/>
                </a:ext>
              </a:extLst>
            </p:cNvPr>
            <p:cNvSpPr>
              <a:spLocks noChangeAspect="1"/>
            </p:cNvSpPr>
            <p:nvPr>
              <p:custDataLst>
                <p:tags r:id="rId29"/>
              </p:custDataLst>
            </p:nvPr>
          </p:nvSpPr>
          <p:spPr bwMode="auto">
            <a:xfrm>
              <a:off x="5449342" y="4733349"/>
              <a:ext cx="166100" cy="329336"/>
            </a:xfrm>
            <a:custGeom>
              <a:avLst/>
              <a:gdLst>
                <a:gd name="T0" fmla="*/ 76 w 116"/>
                <a:gd name="T1" fmla="*/ 47 h 230"/>
                <a:gd name="T2" fmla="*/ 72 w 116"/>
                <a:gd name="T3" fmla="*/ 34 h 230"/>
                <a:gd name="T4" fmla="*/ 68 w 116"/>
                <a:gd name="T5" fmla="*/ 23 h 230"/>
                <a:gd name="T6" fmla="*/ 54 w 116"/>
                <a:gd name="T7" fmla="*/ 20 h 230"/>
                <a:gd name="T8" fmla="*/ 46 w 116"/>
                <a:gd name="T9" fmla="*/ 13 h 230"/>
                <a:gd name="T10" fmla="*/ 39 w 116"/>
                <a:gd name="T11" fmla="*/ 5 h 230"/>
                <a:gd name="T12" fmla="*/ 30 w 116"/>
                <a:gd name="T13" fmla="*/ 10 h 230"/>
                <a:gd name="T14" fmla="*/ 21 w 116"/>
                <a:gd name="T15" fmla="*/ 0 h 230"/>
                <a:gd name="T16" fmla="*/ 8 w 116"/>
                <a:gd name="T17" fmla="*/ 19 h 230"/>
                <a:gd name="T18" fmla="*/ 2 w 116"/>
                <a:gd name="T19" fmla="*/ 32 h 230"/>
                <a:gd name="T20" fmla="*/ 4 w 116"/>
                <a:gd name="T21" fmla="*/ 37 h 230"/>
                <a:gd name="T22" fmla="*/ 9 w 116"/>
                <a:gd name="T23" fmla="*/ 48 h 230"/>
                <a:gd name="T24" fmla="*/ 22 w 116"/>
                <a:gd name="T25" fmla="*/ 69 h 230"/>
                <a:gd name="T26" fmla="*/ 20 w 116"/>
                <a:gd name="T27" fmla="*/ 78 h 230"/>
                <a:gd name="T28" fmla="*/ 26 w 116"/>
                <a:gd name="T29" fmla="*/ 161 h 230"/>
                <a:gd name="T30" fmla="*/ 36 w 116"/>
                <a:gd name="T31" fmla="*/ 187 h 230"/>
                <a:gd name="T32" fmla="*/ 55 w 116"/>
                <a:gd name="T33" fmla="*/ 193 h 230"/>
                <a:gd name="T34" fmla="*/ 63 w 116"/>
                <a:gd name="T35" fmla="*/ 199 h 230"/>
                <a:gd name="T36" fmla="*/ 82 w 116"/>
                <a:gd name="T37" fmla="*/ 230 h 230"/>
                <a:gd name="T38" fmla="*/ 81 w 116"/>
                <a:gd name="T39" fmla="*/ 202 h 230"/>
                <a:gd name="T40" fmla="*/ 95 w 116"/>
                <a:gd name="T41" fmla="*/ 180 h 230"/>
                <a:gd name="T42" fmla="*/ 99 w 116"/>
                <a:gd name="T43" fmla="*/ 161 h 230"/>
                <a:gd name="T44" fmla="*/ 108 w 116"/>
                <a:gd name="T45" fmla="*/ 150 h 230"/>
                <a:gd name="T46" fmla="*/ 109 w 116"/>
                <a:gd name="T47" fmla="*/ 136 h 230"/>
                <a:gd name="T48" fmla="*/ 105 w 116"/>
                <a:gd name="T49" fmla="*/ 126 h 230"/>
                <a:gd name="T50" fmla="*/ 100 w 116"/>
                <a:gd name="T51" fmla="*/ 124 h 230"/>
                <a:gd name="T52" fmla="*/ 91 w 116"/>
                <a:gd name="T53" fmla="*/ 117 h 230"/>
                <a:gd name="T54" fmla="*/ 81 w 116"/>
                <a:gd name="T55" fmla="*/ 106 h 230"/>
                <a:gd name="T56" fmla="*/ 72 w 116"/>
                <a:gd name="T57" fmla="*/ 84 h 230"/>
                <a:gd name="T58" fmla="*/ 70 w 116"/>
                <a:gd name="T59" fmla="*/ 61 h 230"/>
                <a:gd name="T60" fmla="*/ 76 w 116"/>
                <a:gd name="T61" fmla="*/ 47 h 2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230"/>
                <a:gd name="T95" fmla="*/ 116 w 116"/>
                <a:gd name="T96" fmla="*/ 230 h 2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230">
                  <a:moveTo>
                    <a:pt x="76" y="47"/>
                  </a:moveTo>
                  <a:cubicBezTo>
                    <a:pt x="73" y="47"/>
                    <a:pt x="70" y="39"/>
                    <a:pt x="72" y="34"/>
                  </a:cubicBezTo>
                  <a:cubicBezTo>
                    <a:pt x="71" y="30"/>
                    <a:pt x="69" y="26"/>
                    <a:pt x="68" y="23"/>
                  </a:cubicBezTo>
                  <a:cubicBezTo>
                    <a:pt x="64" y="21"/>
                    <a:pt x="59" y="23"/>
                    <a:pt x="54" y="20"/>
                  </a:cubicBezTo>
                  <a:cubicBezTo>
                    <a:pt x="48" y="17"/>
                    <a:pt x="47" y="14"/>
                    <a:pt x="46" y="13"/>
                  </a:cubicBezTo>
                  <a:cubicBezTo>
                    <a:pt x="43" y="11"/>
                    <a:pt x="41" y="5"/>
                    <a:pt x="39" y="5"/>
                  </a:cubicBezTo>
                  <a:cubicBezTo>
                    <a:pt x="37" y="8"/>
                    <a:pt x="34" y="9"/>
                    <a:pt x="30" y="10"/>
                  </a:cubicBezTo>
                  <a:cubicBezTo>
                    <a:pt x="23" y="8"/>
                    <a:pt x="25" y="5"/>
                    <a:pt x="21" y="0"/>
                  </a:cubicBezTo>
                  <a:cubicBezTo>
                    <a:pt x="13" y="6"/>
                    <a:pt x="10" y="14"/>
                    <a:pt x="8" y="19"/>
                  </a:cubicBezTo>
                  <a:cubicBezTo>
                    <a:pt x="6" y="26"/>
                    <a:pt x="4" y="28"/>
                    <a:pt x="2" y="32"/>
                  </a:cubicBezTo>
                  <a:cubicBezTo>
                    <a:pt x="0" y="37"/>
                    <a:pt x="1" y="34"/>
                    <a:pt x="4" y="37"/>
                  </a:cubicBezTo>
                  <a:cubicBezTo>
                    <a:pt x="6" y="41"/>
                    <a:pt x="7" y="44"/>
                    <a:pt x="9" y="48"/>
                  </a:cubicBezTo>
                  <a:cubicBezTo>
                    <a:pt x="10" y="57"/>
                    <a:pt x="13" y="65"/>
                    <a:pt x="22" y="69"/>
                  </a:cubicBezTo>
                  <a:cubicBezTo>
                    <a:pt x="23" y="73"/>
                    <a:pt x="22" y="74"/>
                    <a:pt x="20" y="78"/>
                  </a:cubicBezTo>
                  <a:cubicBezTo>
                    <a:pt x="17" y="88"/>
                    <a:pt x="22" y="159"/>
                    <a:pt x="26" y="161"/>
                  </a:cubicBezTo>
                  <a:cubicBezTo>
                    <a:pt x="30" y="169"/>
                    <a:pt x="33" y="179"/>
                    <a:pt x="36" y="187"/>
                  </a:cubicBezTo>
                  <a:cubicBezTo>
                    <a:pt x="37" y="191"/>
                    <a:pt x="51" y="192"/>
                    <a:pt x="55" y="193"/>
                  </a:cubicBezTo>
                  <a:cubicBezTo>
                    <a:pt x="58" y="195"/>
                    <a:pt x="59" y="198"/>
                    <a:pt x="63" y="199"/>
                  </a:cubicBezTo>
                  <a:cubicBezTo>
                    <a:pt x="69" y="209"/>
                    <a:pt x="77" y="221"/>
                    <a:pt x="82" y="230"/>
                  </a:cubicBezTo>
                  <a:cubicBezTo>
                    <a:pt x="85" y="224"/>
                    <a:pt x="81" y="210"/>
                    <a:pt x="81" y="202"/>
                  </a:cubicBezTo>
                  <a:cubicBezTo>
                    <a:pt x="83" y="194"/>
                    <a:pt x="72" y="187"/>
                    <a:pt x="95" y="180"/>
                  </a:cubicBezTo>
                  <a:cubicBezTo>
                    <a:pt x="98" y="174"/>
                    <a:pt x="101" y="169"/>
                    <a:pt x="99" y="161"/>
                  </a:cubicBezTo>
                  <a:cubicBezTo>
                    <a:pt x="95" y="154"/>
                    <a:pt x="100" y="153"/>
                    <a:pt x="108" y="150"/>
                  </a:cubicBezTo>
                  <a:cubicBezTo>
                    <a:pt x="116" y="152"/>
                    <a:pt x="113" y="145"/>
                    <a:pt x="109" y="136"/>
                  </a:cubicBezTo>
                  <a:cubicBezTo>
                    <a:pt x="107" y="133"/>
                    <a:pt x="107" y="129"/>
                    <a:pt x="105" y="126"/>
                  </a:cubicBezTo>
                  <a:cubicBezTo>
                    <a:pt x="104" y="124"/>
                    <a:pt x="100" y="124"/>
                    <a:pt x="100" y="124"/>
                  </a:cubicBezTo>
                  <a:cubicBezTo>
                    <a:pt x="97" y="121"/>
                    <a:pt x="91" y="117"/>
                    <a:pt x="91" y="117"/>
                  </a:cubicBezTo>
                  <a:cubicBezTo>
                    <a:pt x="88" y="113"/>
                    <a:pt x="85" y="109"/>
                    <a:pt x="81" y="106"/>
                  </a:cubicBezTo>
                  <a:cubicBezTo>
                    <a:pt x="78" y="101"/>
                    <a:pt x="73" y="94"/>
                    <a:pt x="72" y="84"/>
                  </a:cubicBezTo>
                  <a:cubicBezTo>
                    <a:pt x="71" y="76"/>
                    <a:pt x="70" y="66"/>
                    <a:pt x="70" y="61"/>
                  </a:cubicBezTo>
                  <a:cubicBezTo>
                    <a:pt x="71" y="55"/>
                    <a:pt x="75" y="49"/>
                    <a:pt x="76" y="47"/>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37" name="Group 2531">
              <a:extLst>
                <a:ext uri="{FF2B5EF4-FFF2-40B4-BE49-F238E27FC236}">
                  <a16:creationId xmlns:a16="http://schemas.microsoft.com/office/drawing/2014/main" id="{ECB9E2AE-CCCE-44DD-9837-AED7100F5B5D}"/>
                </a:ext>
              </a:extLst>
            </p:cNvPr>
            <p:cNvGrpSpPr>
              <a:grpSpLocks/>
            </p:cNvGrpSpPr>
            <p:nvPr>
              <p:custDataLst>
                <p:tags r:id="rId30"/>
              </p:custDataLst>
            </p:nvPr>
          </p:nvGrpSpPr>
          <p:grpSpPr bwMode="auto">
            <a:xfrm>
              <a:off x="5987739" y="4674781"/>
              <a:ext cx="244910" cy="240294"/>
              <a:chOff x="6214" y="7863"/>
              <a:chExt cx="684" cy="671"/>
            </a:xfrm>
          </p:grpSpPr>
          <p:sp>
            <p:nvSpPr>
              <p:cNvPr id="272" name="Freeform 2533">
                <a:extLst>
                  <a:ext uri="{FF2B5EF4-FFF2-40B4-BE49-F238E27FC236}">
                    <a16:creationId xmlns:a16="http://schemas.microsoft.com/office/drawing/2014/main" id="{DEF9301D-F444-427C-A994-941CF1876324}"/>
                  </a:ext>
                </a:extLst>
              </p:cNvPr>
              <p:cNvSpPr>
                <a:spLocks noChangeAspect="1"/>
              </p:cNvSpPr>
              <p:nvPr/>
            </p:nvSpPr>
            <p:spPr bwMode="auto">
              <a:xfrm>
                <a:off x="6214" y="8466"/>
                <a:ext cx="64" cy="68"/>
              </a:xfrm>
              <a:custGeom>
                <a:avLst/>
                <a:gdLst>
                  <a:gd name="T0" fmla="*/ 13 w 16"/>
                  <a:gd name="T1" fmla="*/ 3 h 17"/>
                  <a:gd name="T2" fmla="*/ 3 w 16"/>
                  <a:gd name="T3" fmla="*/ 8 h 17"/>
                  <a:gd name="T4" fmla="*/ 2 w 16"/>
                  <a:gd name="T5" fmla="*/ 17 h 17"/>
                  <a:gd name="T6" fmla="*/ 12 w 16"/>
                  <a:gd name="T7" fmla="*/ 13 h 17"/>
                  <a:gd name="T8" fmla="*/ 13 w 16"/>
                  <a:gd name="T9" fmla="*/ 3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3" y="3"/>
                    </a:moveTo>
                    <a:cubicBezTo>
                      <a:pt x="10" y="5"/>
                      <a:pt x="7" y="7"/>
                      <a:pt x="3" y="8"/>
                    </a:cubicBezTo>
                    <a:cubicBezTo>
                      <a:pt x="1" y="15"/>
                      <a:pt x="0" y="12"/>
                      <a:pt x="2" y="17"/>
                    </a:cubicBezTo>
                    <a:cubicBezTo>
                      <a:pt x="6" y="16"/>
                      <a:pt x="8" y="14"/>
                      <a:pt x="12" y="13"/>
                    </a:cubicBezTo>
                    <a:cubicBezTo>
                      <a:pt x="13" y="11"/>
                      <a:pt x="16" y="0"/>
                      <a:pt x="13" y="3"/>
                    </a:cubicBezTo>
                    <a:close/>
                  </a:path>
                </a:pathLst>
              </a:custGeom>
              <a:solidFill>
                <a:schemeClr val="accent1"/>
              </a:solidFill>
              <a:ln w="3175">
                <a:no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3" name="Freeform 2534">
                <a:extLst>
                  <a:ext uri="{FF2B5EF4-FFF2-40B4-BE49-F238E27FC236}">
                    <a16:creationId xmlns:a16="http://schemas.microsoft.com/office/drawing/2014/main" id="{CEBE054B-C5AD-4694-A113-18B437D69500}"/>
                  </a:ext>
                </a:extLst>
              </p:cNvPr>
              <p:cNvSpPr>
                <a:spLocks noChangeAspect="1"/>
              </p:cNvSpPr>
              <p:nvPr/>
            </p:nvSpPr>
            <p:spPr bwMode="auto">
              <a:xfrm>
                <a:off x="6258" y="7863"/>
                <a:ext cx="640" cy="623"/>
              </a:xfrm>
              <a:custGeom>
                <a:avLst/>
                <a:gdLst>
                  <a:gd name="T0" fmla="*/ 340 w 640"/>
                  <a:gd name="T1" fmla="*/ 20 h 623"/>
                  <a:gd name="T2" fmla="*/ 384 w 640"/>
                  <a:gd name="T3" fmla="*/ 92 h 623"/>
                  <a:gd name="T4" fmla="*/ 468 w 640"/>
                  <a:gd name="T5" fmla="*/ 140 h 623"/>
                  <a:gd name="T6" fmla="*/ 604 w 640"/>
                  <a:gd name="T7" fmla="*/ 156 h 623"/>
                  <a:gd name="T8" fmla="*/ 588 w 640"/>
                  <a:gd name="T9" fmla="*/ 248 h 623"/>
                  <a:gd name="T10" fmla="*/ 516 w 640"/>
                  <a:gd name="T11" fmla="*/ 252 h 623"/>
                  <a:gd name="T12" fmla="*/ 472 w 640"/>
                  <a:gd name="T13" fmla="*/ 264 h 623"/>
                  <a:gd name="T14" fmla="*/ 388 w 640"/>
                  <a:gd name="T15" fmla="*/ 284 h 623"/>
                  <a:gd name="T16" fmla="*/ 324 w 640"/>
                  <a:gd name="T17" fmla="*/ 312 h 623"/>
                  <a:gd name="T18" fmla="*/ 280 w 640"/>
                  <a:gd name="T19" fmla="*/ 395 h 623"/>
                  <a:gd name="T20" fmla="*/ 208 w 640"/>
                  <a:gd name="T21" fmla="*/ 451 h 623"/>
                  <a:gd name="T22" fmla="*/ 160 w 640"/>
                  <a:gd name="T23" fmla="*/ 519 h 623"/>
                  <a:gd name="T24" fmla="*/ 84 w 640"/>
                  <a:gd name="T25" fmla="*/ 591 h 623"/>
                  <a:gd name="T26" fmla="*/ 56 w 640"/>
                  <a:gd name="T27" fmla="*/ 599 h 623"/>
                  <a:gd name="T28" fmla="*/ 100 w 640"/>
                  <a:gd name="T29" fmla="*/ 519 h 623"/>
                  <a:gd name="T30" fmla="*/ 124 w 640"/>
                  <a:gd name="T31" fmla="*/ 487 h 623"/>
                  <a:gd name="T32" fmla="*/ 72 w 640"/>
                  <a:gd name="T33" fmla="*/ 491 h 623"/>
                  <a:gd name="T34" fmla="*/ 0 w 640"/>
                  <a:gd name="T35" fmla="*/ 475 h 623"/>
                  <a:gd name="T36" fmla="*/ 28 w 640"/>
                  <a:gd name="T37" fmla="*/ 439 h 623"/>
                  <a:gd name="T38" fmla="*/ 48 w 640"/>
                  <a:gd name="T39" fmla="*/ 384 h 623"/>
                  <a:gd name="T40" fmla="*/ 38 w 640"/>
                  <a:gd name="T41" fmla="*/ 342 h 623"/>
                  <a:gd name="T42" fmla="*/ 81 w 640"/>
                  <a:gd name="T43" fmla="*/ 254 h 623"/>
                  <a:gd name="T44" fmla="*/ 42 w 640"/>
                  <a:gd name="T45" fmla="*/ 209 h 623"/>
                  <a:gd name="T46" fmla="*/ 4 w 640"/>
                  <a:gd name="T47" fmla="*/ 176 h 623"/>
                  <a:gd name="T48" fmla="*/ 28 w 640"/>
                  <a:gd name="T49" fmla="*/ 144 h 623"/>
                  <a:gd name="T50" fmla="*/ 48 w 640"/>
                  <a:gd name="T51" fmla="*/ 88 h 623"/>
                  <a:gd name="T52" fmla="*/ 72 w 640"/>
                  <a:gd name="T53" fmla="*/ 80 h 623"/>
                  <a:gd name="T54" fmla="*/ 156 w 640"/>
                  <a:gd name="T55" fmla="*/ 24 h 623"/>
                  <a:gd name="T56" fmla="*/ 216 w 640"/>
                  <a:gd name="T57" fmla="*/ 40 h 623"/>
                  <a:gd name="T58" fmla="*/ 296 w 640"/>
                  <a:gd name="T59" fmla="*/ 36 h 623"/>
                  <a:gd name="T60" fmla="*/ 340 w 640"/>
                  <a:gd name="T61" fmla="*/ 20 h 6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0"/>
                  <a:gd name="T94" fmla="*/ 0 h 623"/>
                  <a:gd name="T95" fmla="*/ 640 w 640"/>
                  <a:gd name="T96" fmla="*/ 623 h 6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0" h="623">
                    <a:moveTo>
                      <a:pt x="340" y="20"/>
                    </a:moveTo>
                    <a:cubicBezTo>
                      <a:pt x="352" y="56"/>
                      <a:pt x="352" y="72"/>
                      <a:pt x="384" y="92"/>
                    </a:cubicBezTo>
                    <a:cubicBezTo>
                      <a:pt x="400" y="136"/>
                      <a:pt x="424" y="136"/>
                      <a:pt x="468" y="140"/>
                    </a:cubicBezTo>
                    <a:cubicBezTo>
                      <a:pt x="512" y="148"/>
                      <a:pt x="604" y="156"/>
                      <a:pt x="604" y="156"/>
                    </a:cubicBezTo>
                    <a:cubicBezTo>
                      <a:pt x="640" y="168"/>
                      <a:pt x="616" y="244"/>
                      <a:pt x="588" y="248"/>
                    </a:cubicBezTo>
                    <a:cubicBezTo>
                      <a:pt x="564" y="252"/>
                      <a:pt x="540" y="252"/>
                      <a:pt x="516" y="252"/>
                    </a:cubicBezTo>
                    <a:cubicBezTo>
                      <a:pt x="500" y="256"/>
                      <a:pt x="472" y="264"/>
                      <a:pt x="472" y="264"/>
                    </a:cubicBezTo>
                    <a:cubicBezTo>
                      <a:pt x="444" y="284"/>
                      <a:pt x="424" y="280"/>
                      <a:pt x="388" y="284"/>
                    </a:cubicBezTo>
                    <a:cubicBezTo>
                      <a:pt x="368" y="292"/>
                      <a:pt x="344" y="300"/>
                      <a:pt x="324" y="312"/>
                    </a:cubicBezTo>
                    <a:cubicBezTo>
                      <a:pt x="316" y="339"/>
                      <a:pt x="312" y="383"/>
                      <a:pt x="280" y="395"/>
                    </a:cubicBezTo>
                    <a:cubicBezTo>
                      <a:pt x="264" y="415"/>
                      <a:pt x="232" y="443"/>
                      <a:pt x="208" y="451"/>
                    </a:cubicBezTo>
                    <a:cubicBezTo>
                      <a:pt x="196" y="471"/>
                      <a:pt x="180" y="507"/>
                      <a:pt x="160" y="519"/>
                    </a:cubicBezTo>
                    <a:cubicBezTo>
                      <a:pt x="152" y="535"/>
                      <a:pt x="104" y="583"/>
                      <a:pt x="84" y="591"/>
                    </a:cubicBezTo>
                    <a:cubicBezTo>
                      <a:pt x="80" y="615"/>
                      <a:pt x="68" y="623"/>
                      <a:pt x="56" y="599"/>
                    </a:cubicBezTo>
                    <a:cubicBezTo>
                      <a:pt x="64" y="579"/>
                      <a:pt x="80" y="531"/>
                      <a:pt x="100" y="519"/>
                    </a:cubicBezTo>
                    <a:cubicBezTo>
                      <a:pt x="108" y="499"/>
                      <a:pt x="120" y="503"/>
                      <a:pt x="124" y="487"/>
                    </a:cubicBezTo>
                    <a:cubicBezTo>
                      <a:pt x="116" y="447"/>
                      <a:pt x="96" y="483"/>
                      <a:pt x="72" y="491"/>
                    </a:cubicBezTo>
                    <a:cubicBezTo>
                      <a:pt x="40" y="487"/>
                      <a:pt x="28" y="479"/>
                      <a:pt x="0" y="475"/>
                    </a:cubicBezTo>
                    <a:cubicBezTo>
                      <a:pt x="12" y="463"/>
                      <a:pt x="16" y="451"/>
                      <a:pt x="28" y="439"/>
                    </a:cubicBezTo>
                    <a:cubicBezTo>
                      <a:pt x="32" y="423"/>
                      <a:pt x="44" y="400"/>
                      <a:pt x="48" y="384"/>
                    </a:cubicBezTo>
                    <a:cubicBezTo>
                      <a:pt x="44" y="364"/>
                      <a:pt x="46" y="362"/>
                      <a:pt x="38" y="342"/>
                    </a:cubicBezTo>
                    <a:cubicBezTo>
                      <a:pt x="42" y="303"/>
                      <a:pt x="59" y="275"/>
                      <a:pt x="81" y="254"/>
                    </a:cubicBezTo>
                    <a:cubicBezTo>
                      <a:pt x="83" y="232"/>
                      <a:pt x="55" y="222"/>
                      <a:pt x="42" y="209"/>
                    </a:cubicBezTo>
                    <a:cubicBezTo>
                      <a:pt x="38" y="194"/>
                      <a:pt x="42" y="183"/>
                      <a:pt x="4" y="176"/>
                    </a:cubicBezTo>
                    <a:cubicBezTo>
                      <a:pt x="8" y="160"/>
                      <a:pt x="16" y="152"/>
                      <a:pt x="28" y="144"/>
                    </a:cubicBezTo>
                    <a:cubicBezTo>
                      <a:pt x="36" y="128"/>
                      <a:pt x="40" y="100"/>
                      <a:pt x="48" y="88"/>
                    </a:cubicBezTo>
                    <a:cubicBezTo>
                      <a:pt x="52" y="80"/>
                      <a:pt x="64" y="84"/>
                      <a:pt x="72" y="80"/>
                    </a:cubicBezTo>
                    <a:cubicBezTo>
                      <a:pt x="100" y="60"/>
                      <a:pt x="128" y="44"/>
                      <a:pt x="156" y="24"/>
                    </a:cubicBezTo>
                    <a:cubicBezTo>
                      <a:pt x="176" y="28"/>
                      <a:pt x="216" y="40"/>
                      <a:pt x="216" y="40"/>
                    </a:cubicBezTo>
                    <a:cubicBezTo>
                      <a:pt x="236" y="56"/>
                      <a:pt x="272" y="36"/>
                      <a:pt x="296" y="36"/>
                    </a:cubicBezTo>
                    <a:cubicBezTo>
                      <a:pt x="300" y="32"/>
                      <a:pt x="340" y="0"/>
                      <a:pt x="340" y="20"/>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38" name="Freeform 2535">
              <a:extLst>
                <a:ext uri="{FF2B5EF4-FFF2-40B4-BE49-F238E27FC236}">
                  <a16:creationId xmlns:a16="http://schemas.microsoft.com/office/drawing/2014/main" id="{CC436FA0-CDC1-4EE5-A1CE-B8B64624DEE8}"/>
                </a:ext>
              </a:extLst>
            </p:cNvPr>
            <p:cNvSpPr>
              <a:spLocks noChangeAspect="1"/>
            </p:cNvSpPr>
            <p:nvPr>
              <p:custDataLst>
                <p:tags r:id="rId31"/>
              </p:custDataLst>
            </p:nvPr>
          </p:nvSpPr>
          <p:spPr bwMode="auto">
            <a:xfrm>
              <a:off x="5150076" y="4485630"/>
              <a:ext cx="299267" cy="270629"/>
            </a:xfrm>
            <a:custGeom>
              <a:avLst/>
              <a:gdLst>
                <a:gd name="T0" fmla="*/ 177 w 209"/>
                <a:gd name="T1" fmla="*/ 6 h 189"/>
                <a:gd name="T2" fmla="*/ 168 w 209"/>
                <a:gd name="T3" fmla="*/ 19 h 189"/>
                <a:gd name="T4" fmla="*/ 154 w 209"/>
                <a:gd name="T5" fmla="*/ 5 h 189"/>
                <a:gd name="T6" fmla="*/ 132 w 209"/>
                <a:gd name="T7" fmla="*/ 3 h 189"/>
                <a:gd name="T8" fmla="*/ 102 w 209"/>
                <a:gd name="T9" fmla="*/ 7 h 189"/>
                <a:gd name="T10" fmla="*/ 80 w 209"/>
                <a:gd name="T11" fmla="*/ 9 h 189"/>
                <a:gd name="T12" fmla="*/ 65 w 209"/>
                <a:gd name="T13" fmla="*/ 5 h 189"/>
                <a:gd name="T14" fmla="*/ 43 w 209"/>
                <a:gd name="T15" fmla="*/ 9 h 189"/>
                <a:gd name="T16" fmla="*/ 33 w 209"/>
                <a:gd name="T17" fmla="*/ 16 h 189"/>
                <a:gd name="T18" fmla="*/ 23 w 209"/>
                <a:gd name="T19" fmla="*/ 17 h 189"/>
                <a:gd name="T20" fmla="*/ 18 w 209"/>
                <a:gd name="T21" fmla="*/ 14 h 189"/>
                <a:gd name="T22" fmla="*/ 3 w 209"/>
                <a:gd name="T23" fmla="*/ 6 h 189"/>
                <a:gd name="T24" fmla="*/ 0 w 209"/>
                <a:gd name="T25" fmla="*/ 21 h 189"/>
                <a:gd name="T26" fmla="*/ 4 w 209"/>
                <a:gd name="T27" fmla="*/ 39 h 189"/>
                <a:gd name="T28" fmla="*/ 16 w 209"/>
                <a:gd name="T29" fmla="*/ 48 h 189"/>
                <a:gd name="T30" fmla="*/ 29 w 209"/>
                <a:gd name="T31" fmla="*/ 67 h 189"/>
                <a:gd name="T32" fmla="*/ 38 w 209"/>
                <a:gd name="T33" fmla="*/ 84 h 189"/>
                <a:gd name="T34" fmla="*/ 57 w 209"/>
                <a:gd name="T35" fmla="*/ 102 h 189"/>
                <a:gd name="T36" fmla="*/ 69 w 209"/>
                <a:gd name="T37" fmla="*/ 112 h 189"/>
                <a:gd name="T38" fmla="*/ 75 w 209"/>
                <a:gd name="T39" fmla="*/ 116 h 189"/>
                <a:gd name="T40" fmla="*/ 83 w 209"/>
                <a:gd name="T41" fmla="*/ 126 h 189"/>
                <a:gd name="T42" fmla="*/ 91 w 209"/>
                <a:gd name="T43" fmla="*/ 135 h 189"/>
                <a:gd name="T44" fmla="*/ 105 w 209"/>
                <a:gd name="T45" fmla="*/ 152 h 189"/>
                <a:gd name="T46" fmla="*/ 119 w 209"/>
                <a:gd name="T47" fmla="*/ 163 h 189"/>
                <a:gd name="T48" fmla="*/ 132 w 209"/>
                <a:gd name="T49" fmla="*/ 175 h 189"/>
                <a:gd name="T50" fmla="*/ 148 w 209"/>
                <a:gd name="T51" fmla="*/ 182 h 189"/>
                <a:gd name="T52" fmla="*/ 158 w 209"/>
                <a:gd name="T53" fmla="*/ 189 h 189"/>
                <a:gd name="T54" fmla="*/ 158 w 209"/>
                <a:gd name="T55" fmla="*/ 169 h 189"/>
                <a:gd name="T56" fmla="*/ 161 w 209"/>
                <a:gd name="T57" fmla="*/ 158 h 189"/>
                <a:gd name="T58" fmla="*/ 166 w 209"/>
                <a:gd name="T59" fmla="*/ 142 h 189"/>
                <a:gd name="T60" fmla="*/ 185 w 209"/>
                <a:gd name="T61" fmla="*/ 131 h 189"/>
                <a:gd name="T62" fmla="*/ 184 w 209"/>
                <a:gd name="T63" fmla="*/ 121 h 189"/>
                <a:gd name="T64" fmla="*/ 189 w 209"/>
                <a:gd name="T65" fmla="*/ 110 h 189"/>
                <a:gd name="T66" fmla="*/ 206 w 209"/>
                <a:gd name="T67" fmla="*/ 111 h 189"/>
                <a:gd name="T68" fmla="*/ 206 w 209"/>
                <a:gd name="T69" fmla="*/ 98 h 189"/>
                <a:gd name="T70" fmla="*/ 192 w 209"/>
                <a:gd name="T71" fmla="*/ 82 h 189"/>
                <a:gd name="T72" fmla="*/ 208 w 209"/>
                <a:gd name="T73" fmla="*/ 77 h 189"/>
                <a:gd name="T74" fmla="*/ 197 w 209"/>
                <a:gd name="T75" fmla="*/ 68 h 189"/>
                <a:gd name="T76" fmla="*/ 190 w 209"/>
                <a:gd name="T77" fmla="*/ 60 h 189"/>
                <a:gd name="T78" fmla="*/ 183 w 209"/>
                <a:gd name="T79" fmla="*/ 50 h 189"/>
                <a:gd name="T80" fmla="*/ 184 w 209"/>
                <a:gd name="T81" fmla="*/ 24 h 189"/>
                <a:gd name="T82" fmla="*/ 177 w 209"/>
                <a:gd name="T83" fmla="*/ 6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9"/>
                <a:gd name="T127" fmla="*/ 0 h 189"/>
                <a:gd name="T128" fmla="*/ 209 w 209"/>
                <a:gd name="T129" fmla="*/ 189 h 18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9" h="189">
                  <a:moveTo>
                    <a:pt x="177" y="6"/>
                  </a:moveTo>
                  <a:cubicBezTo>
                    <a:pt x="175" y="11"/>
                    <a:pt x="181" y="16"/>
                    <a:pt x="168" y="19"/>
                  </a:cubicBezTo>
                  <a:cubicBezTo>
                    <a:pt x="155" y="20"/>
                    <a:pt x="157" y="14"/>
                    <a:pt x="154" y="5"/>
                  </a:cubicBezTo>
                  <a:cubicBezTo>
                    <a:pt x="152" y="4"/>
                    <a:pt x="132" y="3"/>
                    <a:pt x="132" y="3"/>
                  </a:cubicBezTo>
                  <a:cubicBezTo>
                    <a:pt x="123" y="1"/>
                    <a:pt x="116" y="6"/>
                    <a:pt x="102" y="7"/>
                  </a:cubicBezTo>
                  <a:cubicBezTo>
                    <a:pt x="92" y="7"/>
                    <a:pt x="89" y="9"/>
                    <a:pt x="80" y="9"/>
                  </a:cubicBezTo>
                  <a:cubicBezTo>
                    <a:pt x="78" y="9"/>
                    <a:pt x="65" y="5"/>
                    <a:pt x="65" y="5"/>
                  </a:cubicBezTo>
                  <a:cubicBezTo>
                    <a:pt x="60" y="0"/>
                    <a:pt x="44" y="4"/>
                    <a:pt x="43" y="9"/>
                  </a:cubicBezTo>
                  <a:cubicBezTo>
                    <a:pt x="41" y="13"/>
                    <a:pt x="33" y="16"/>
                    <a:pt x="33" y="16"/>
                  </a:cubicBezTo>
                  <a:cubicBezTo>
                    <a:pt x="29" y="17"/>
                    <a:pt x="28" y="18"/>
                    <a:pt x="23" y="17"/>
                  </a:cubicBezTo>
                  <a:cubicBezTo>
                    <a:pt x="21" y="15"/>
                    <a:pt x="22" y="15"/>
                    <a:pt x="18" y="14"/>
                  </a:cubicBezTo>
                  <a:cubicBezTo>
                    <a:pt x="17" y="10"/>
                    <a:pt x="10" y="8"/>
                    <a:pt x="3" y="6"/>
                  </a:cubicBezTo>
                  <a:cubicBezTo>
                    <a:pt x="1" y="13"/>
                    <a:pt x="4" y="3"/>
                    <a:pt x="0" y="21"/>
                  </a:cubicBezTo>
                  <a:cubicBezTo>
                    <a:pt x="0" y="26"/>
                    <a:pt x="1" y="35"/>
                    <a:pt x="4" y="39"/>
                  </a:cubicBezTo>
                  <a:cubicBezTo>
                    <a:pt x="7" y="44"/>
                    <a:pt x="8" y="40"/>
                    <a:pt x="16" y="48"/>
                  </a:cubicBezTo>
                  <a:cubicBezTo>
                    <a:pt x="24" y="53"/>
                    <a:pt x="25" y="62"/>
                    <a:pt x="29" y="67"/>
                  </a:cubicBezTo>
                  <a:cubicBezTo>
                    <a:pt x="32" y="72"/>
                    <a:pt x="35" y="79"/>
                    <a:pt x="38" y="84"/>
                  </a:cubicBezTo>
                  <a:cubicBezTo>
                    <a:pt x="40" y="89"/>
                    <a:pt x="51" y="100"/>
                    <a:pt x="57" y="102"/>
                  </a:cubicBezTo>
                  <a:cubicBezTo>
                    <a:pt x="60" y="106"/>
                    <a:pt x="60" y="111"/>
                    <a:pt x="69" y="112"/>
                  </a:cubicBezTo>
                  <a:cubicBezTo>
                    <a:pt x="73" y="113"/>
                    <a:pt x="75" y="116"/>
                    <a:pt x="75" y="116"/>
                  </a:cubicBezTo>
                  <a:cubicBezTo>
                    <a:pt x="77" y="120"/>
                    <a:pt x="75" y="124"/>
                    <a:pt x="83" y="126"/>
                  </a:cubicBezTo>
                  <a:cubicBezTo>
                    <a:pt x="89" y="130"/>
                    <a:pt x="90" y="131"/>
                    <a:pt x="91" y="135"/>
                  </a:cubicBezTo>
                  <a:cubicBezTo>
                    <a:pt x="96" y="140"/>
                    <a:pt x="99" y="148"/>
                    <a:pt x="105" y="152"/>
                  </a:cubicBezTo>
                  <a:cubicBezTo>
                    <a:pt x="109" y="155"/>
                    <a:pt x="113" y="151"/>
                    <a:pt x="119" y="163"/>
                  </a:cubicBezTo>
                  <a:cubicBezTo>
                    <a:pt x="128" y="168"/>
                    <a:pt x="127" y="172"/>
                    <a:pt x="132" y="175"/>
                  </a:cubicBezTo>
                  <a:cubicBezTo>
                    <a:pt x="137" y="178"/>
                    <a:pt x="143" y="179"/>
                    <a:pt x="148" y="182"/>
                  </a:cubicBezTo>
                  <a:cubicBezTo>
                    <a:pt x="151" y="182"/>
                    <a:pt x="158" y="189"/>
                    <a:pt x="158" y="189"/>
                  </a:cubicBezTo>
                  <a:cubicBezTo>
                    <a:pt x="160" y="186"/>
                    <a:pt x="164" y="172"/>
                    <a:pt x="158" y="169"/>
                  </a:cubicBezTo>
                  <a:cubicBezTo>
                    <a:pt x="164" y="160"/>
                    <a:pt x="155" y="160"/>
                    <a:pt x="161" y="158"/>
                  </a:cubicBezTo>
                  <a:cubicBezTo>
                    <a:pt x="167" y="151"/>
                    <a:pt x="166" y="149"/>
                    <a:pt x="166" y="142"/>
                  </a:cubicBezTo>
                  <a:cubicBezTo>
                    <a:pt x="168" y="138"/>
                    <a:pt x="172" y="130"/>
                    <a:pt x="185" y="131"/>
                  </a:cubicBezTo>
                  <a:cubicBezTo>
                    <a:pt x="186" y="127"/>
                    <a:pt x="183" y="124"/>
                    <a:pt x="184" y="121"/>
                  </a:cubicBezTo>
                  <a:cubicBezTo>
                    <a:pt x="184" y="118"/>
                    <a:pt x="187" y="112"/>
                    <a:pt x="189" y="110"/>
                  </a:cubicBezTo>
                  <a:cubicBezTo>
                    <a:pt x="193" y="109"/>
                    <a:pt x="203" y="113"/>
                    <a:pt x="206" y="111"/>
                  </a:cubicBezTo>
                  <a:cubicBezTo>
                    <a:pt x="208" y="105"/>
                    <a:pt x="208" y="104"/>
                    <a:pt x="206" y="98"/>
                  </a:cubicBezTo>
                  <a:cubicBezTo>
                    <a:pt x="203" y="94"/>
                    <a:pt x="191" y="86"/>
                    <a:pt x="192" y="82"/>
                  </a:cubicBezTo>
                  <a:cubicBezTo>
                    <a:pt x="200" y="82"/>
                    <a:pt x="203" y="81"/>
                    <a:pt x="208" y="77"/>
                  </a:cubicBezTo>
                  <a:cubicBezTo>
                    <a:pt x="209" y="70"/>
                    <a:pt x="201" y="69"/>
                    <a:pt x="197" y="68"/>
                  </a:cubicBezTo>
                  <a:cubicBezTo>
                    <a:pt x="193" y="64"/>
                    <a:pt x="192" y="66"/>
                    <a:pt x="190" y="60"/>
                  </a:cubicBezTo>
                  <a:cubicBezTo>
                    <a:pt x="186" y="56"/>
                    <a:pt x="184" y="54"/>
                    <a:pt x="183" y="50"/>
                  </a:cubicBezTo>
                  <a:cubicBezTo>
                    <a:pt x="180" y="41"/>
                    <a:pt x="184" y="31"/>
                    <a:pt x="184" y="24"/>
                  </a:cubicBezTo>
                  <a:cubicBezTo>
                    <a:pt x="187" y="15"/>
                    <a:pt x="178" y="10"/>
                    <a:pt x="177" y="6"/>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9" name="Freeform 2537">
              <a:extLst>
                <a:ext uri="{FF2B5EF4-FFF2-40B4-BE49-F238E27FC236}">
                  <a16:creationId xmlns:a16="http://schemas.microsoft.com/office/drawing/2014/main" id="{72E0762C-5CA1-4B4E-9729-F92E72141F10}"/>
                </a:ext>
              </a:extLst>
            </p:cNvPr>
            <p:cNvSpPr>
              <a:spLocks noChangeAspect="1"/>
            </p:cNvSpPr>
            <p:nvPr>
              <p:custDataLst>
                <p:tags r:id="rId32"/>
              </p:custDataLst>
            </p:nvPr>
          </p:nvSpPr>
          <p:spPr bwMode="auto">
            <a:xfrm>
              <a:off x="4972521" y="4320963"/>
              <a:ext cx="214785" cy="170396"/>
            </a:xfrm>
            <a:custGeom>
              <a:avLst/>
              <a:gdLst>
                <a:gd name="T0" fmla="*/ 183 w 598"/>
                <a:gd name="T1" fmla="*/ 162 h 474"/>
                <a:gd name="T2" fmla="*/ 265 w 598"/>
                <a:gd name="T3" fmla="*/ 139 h 474"/>
                <a:gd name="T4" fmla="*/ 337 w 598"/>
                <a:gd name="T5" fmla="*/ 99 h 474"/>
                <a:gd name="T6" fmla="*/ 428 w 598"/>
                <a:gd name="T7" fmla="*/ 66 h 474"/>
                <a:gd name="T8" fmla="*/ 505 w 598"/>
                <a:gd name="T9" fmla="*/ 51 h 474"/>
                <a:gd name="T10" fmla="*/ 543 w 598"/>
                <a:gd name="T11" fmla="*/ 0 h 474"/>
                <a:gd name="T12" fmla="*/ 591 w 598"/>
                <a:gd name="T13" fmla="*/ 74 h 474"/>
                <a:gd name="T14" fmla="*/ 590 w 598"/>
                <a:gd name="T15" fmla="*/ 96 h 474"/>
                <a:gd name="T16" fmla="*/ 565 w 598"/>
                <a:gd name="T17" fmla="*/ 123 h 474"/>
                <a:gd name="T18" fmla="*/ 529 w 598"/>
                <a:gd name="T19" fmla="*/ 163 h 474"/>
                <a:gd name="T20" fmla="*/ 468 w 598"/>
                <a:gd name="T21" fmla="*/ 188 h 474"/>
                <a:gd name="T22" fmla="*/ 474 w 598"/>
                <a:gd name="T23" fmla="*/ 288 h 474"/>
                <a:gd name="T24" fmla="*/ 399 w 598"/>
                <a:gd name="T25" fmla="*/ 345 h 474"/>
                <a:gd name="T26" fmla="*/ 395 w 598"/>
                <a:gd name="T27" fmla="*/ 432 h 474"/>
                <a:gd name="T28" fmla="*/ 366 w 598"/>
                <a:gd name="T29" fmla="*/ 449 h 474"/>
                <a:gd name="T30" fmla="*/ 338 w 598"/>
                <a:gd name="T31" fmla="*/ 422 h 474"/>
                <a:gd name="T32" fmla="*/ 266 w 598"/>
                <a:gd name="T33" fmla="*/ 431 h 474"/>
                <a:gd name="T34" fmla="*/ 255 w 598"/>
                <a:gd name="T35" fmla="*/ 375 h 474"/>
                <a:gd name="T36" fmla="*/ 228 w 598"/>
                <a:gd name="T37" fmla="*/ 423 h 474"/>
                <a:gd name="T38" fmla="*/ 205 w 598"/>
                <a:gd name="T39" fmla="*/ 451 h 474"/>
                <a:gd name="T40" fmla="*/ 161 w 598"/>
                <a:gd name="T41" fmla="*/ 437 h 474"/>
                <a:gd name="T42" fmla="*/ 60 w 598"/>
                <a:gd name="T43" fmla="*/ 474 h 474"/>
                <a:gd name="T44" fmla="*/ 36 w 598"/>
                <a:gd name="T45" fmla="*/ 468 h 474"/>
                <a:gd name="T46" fmla="*/ 29 w 598"/>
                <a:gd name="T47" fmla="*/ 351 h 474"/>
                <a:gd name="T48" fmla="*/ 11 w 598"/>
                <a:gd name="T49" fmla="*/ 288 h 474"/>
                <a:gd name="T50" fmla="*/ 35 w 598"/>
                <a:gd name="T51" fmla="*/ 252 h 474"/>
                <a:gd name="T52" fmla="*/ 0 w 598"/>
                <a:gd name="T53" fmla="*/ 227 h 474"/>
                <a:gd name="T54" fmla="*/ 29 w 598"/>
                <a:gd name="T55" fmla="*/ 139 h 474"/>
                <a:gd name="T56" fmla="*/ 183 w 598"/>
                <a:gd name="T57" fmla="*/ 162 h 4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98"/>
                <a:gd name="T88" fmla="*/ 0 h 474"/>
                <a:gd name="T89" fmla="*/ 598 w 598"/>
                <a:gd name="T90" fmla="*/ 474 h 4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98" h="474">
                  <a:moveTo>
                    <a:pt x="183" y="162"/>
                  </a:moveTo>
                  <a:cubicBezTo>
                    <a:pt x="257" y="150"/>
                    <a:pt x="217" y="163"/>
                    <a:pt x="265" y="139"/>
                  </a:cubicBezTo>
                  <a:cubicBezTo>
                    <a:pt x="285" y="115"/>
                    <a:pt x="317" y="122"/>
                    <a:pt x="337" y="99"/>
                  </a:cubicBezTo>
                  <a:cubicBezTo>
                    <a:pt x="378" y="95"/>
                    <a:pt x="413" y="101"/>
                    <a:pt x="428" y="66"/>
                  </a:cubicBezTo>
                  <a:cubicBezTo>
                    <a:pt x="449" y="60"/>
                    <a:pt x="481" y="63"/>
                    <a:pt x="505" y="51"/>
                  </a:cubicBezTo>
                  <a:cubicBezTo>
                    <a:pt x="513" y="35"/>
                    <a:pt x="535" y="16"/>
                    <a:pt x="543" y="0"/>
                  </a:cubicBezTo>
                  <a:cubicBezTo>
                    <a:pt x="560" y="18"/>
                    <a:pt x="576" y="51"/>
                    <a:pt x="591" y="74"/>
                  </a:cubicBezTo>
                  <a:cubicBezTo>
                    <a:pt x="595" y="82"/>
                    <a:pt x="598" y="88"/>
                    <a:pt x="590" y="96"/>
                  </a:cubicBezTo>
                  <a:cubicBezTo>
                    <a:pt x="573" y="102"/>
                    <a:pt x="565" y="123"/>
                    <a:pt x="565" y="123"/>
                  </a:cubicBezTo>
                  <a:cubicBezTo>
                    <a:pt x="551" y="153"/>
                    <a:pt x="529" y="163"/>
                    <a:pt x="529" y="163"/>
                  </a:cubicBezTo>
                  <a:cubicBezTo>
                    <a:pt x="512" y="179"/>
                    <a:pt x="494" y="189"/>
                    <a:pt x="468" y="188"/>
                  </a:cubicBezTo>
                  <a:cubicBezTo>
                    <a:pt x="450" y="218"/>
                    <a:pt x="466" y="268"/>
                    <a:pt x="474" y="288"/>
                  </a:cubicBezTo>
                  <a:cubicBezTo>
                    <a:pt x="462" y="314"/>
                    <a:pt x="412" y="321"/>
                    <a:pt x="399" y="345"/>
                  </a:cubicBezTo>
                  <a:cubicBezTo>
                    <a:pt x="391" y="369"/>
                    <a:pt x="431" y="422"/>
                    <a:pt x="395" y="432"/>
                  </a:cubicBezTo>
                  <a:cubicBezTo>
                    <a:pt x="383" y="450"/>
                    <a:pt x="366" y="449"/>
                    <a:pt x="366" y="449"/>
                  </a:cubicBezTo>
                  <a:cubicBezTo>
                    <a:pt x="336" y="453"/>
                    <a:pt x="338" y="422"/>
                    <a:pt x="338" y="422"/>
                  </a:cubicBezTo>
                  <a:cubicBezTo>
                    <a:pt x="326" y="426"/>
                    <a:pt x="278" y="439"/>
                    <a:pt x="266" y="431"/>
                  </a:cubicBezTo>
                  <a:cubicBezTo>
                    <a:pt x="269" y="404"/>
                    <a:pt x="264" y="398"/>
                    <a:pt x="255" y="375"/>
                  </a:cubicBezTo>
                  <a:cubicBezTo>
                    <a:pt x="251" y="398"/>
                    <a:pt x="236" y="410"/>
                    <a:pt x="228" y="423"/>
                  </a:cubicBezTo>
                  <a:cubicBezTo>
                    <a:pt x="220" y="436"/>
                    <a:pt x="216" y="449"/>
                    <a:pt x="205" y="451"/>
                  </a:cubicBezTo>
                  <a:cubicBezTo>
                    <a:pt x="165" y="447"/>
                    <a:pt x="170" y="450"/>
                    <a:pt x="161" y="437"/>
                  </a:cubicBezTo>
                  <a:cubicBezTo>
                    <a:pt x="96" y="441"/>
                    <a:pt x="88" y="466"/>
                    <a:pt x="60" y="474"/>
                  </a:cubicBezTo>
                  <a:cubicBezTo>
                    <a:pt x="60" y="473"/>
                    <a:pt x="36" y="468"/>
                    <a:pt x="36" y="468"/>
                  </a:cubicBezTo>
                  <a:cubicBezTo>
                    <a:pt x="17" y="450"/>
                    <a:pt x="33" y="379"/>
                    <a:pt x="29" y="351"/>
                  </a:cubicBezTo>
                  <a:cubicBezTo>
                    <a:pt x="45" y="318"/>
                    <a:pt x="47" y="296"/>
                    <a:pt x="11" y="288"/>
                  </a:cubicBezTo>
                  <a:cubicBezTo>
                    <a:pt x="15" y="269"/>
                    <a:pt x="23" y="280"/>
                    <a:pt x="35" y="252"/>
                  </a:cubicBezTo>
                  <a:cubicBezTo>
                    <a:pt x="19" y="236"/>
                    <a:pt x="16" y="239"/>
                    <a:pt x="0" y="227"/>
                  </a:cubicBezTo>
                  <a:cubicBezTo>
                    <a:pt x="16" y="203"/>
                    <a:pt x="41" y="162"/>
                    <a:pt x="29" y="139"/>
                  </a:cubicBezTo>
                  <a:cubicBezTo>
                    <a:pt x="61" y="131"/>
                    <a:pt x="147" y="161"/>
                    <a:pt x="183" y="162"/>
                  </a:cubicBezTo>
                  <a:close/>
                </a:path>
              </a:pathLst>
            </a:custGeom>
            <a:solidFill>
              <a:schemeClr val="accent6"/>
            </a:solidFill>
            <a:ln w="3175">
              <a:solidFill>
                <a:schemeClr val="accent6"/>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0" name="Freeform 2538">
              <a:extLst>
                <a:ext uri="{FF2B5EF4-FFF2-40B4-BE49-F238E27FC236}">
                  <a16:creationId xmlns:a16="http://schemas.microsoft.com/office/drawing/2014/main" id="{FCEDB2EF-1A46-422C-8210-3FDA81F041C2}"/>
                </a:ext>
              </a:extLst>
            </p:cNvPr>
            <p:cNvSpPr>
              <a:spLocks noChangeAspect="1"/>
            </p:cNvSpPr>
            <p:nvPr>
              <p:custDataLst>
                <p:tags r:id="rId33"/>
              </p:custDataLst>
            </p:nvPr>
          </p:nvSpPr>
          <p:spPr bwMode="auto">
            <a:xfrm>
              <a:off x="5165827" y="4109042"/>
              <a:ext cx="455343" cy="315017"/>
            </a:xfrm>
            <a:custGeom>
              <a:avLst/>
              <a:gdLst>
                <a:gd name="T0" fmla="*/ 833 w 1273"/>
                <a:gd name="T1" fmla="*/ 727 h 878"/>
                <a:gd name="T2" fmla="*/ 905 w 1273"/>
                <a:gd name="T3" fmla="*/ 703 h 878"/>
                <a:gd name="T4" fmla="*/ 957 w 1273"/>
                <a:gd name="T5" fmla="*/ 675 h 878"/>
                <a:gd name="T6" fmla="*/ 977 w 1273"/>
                <a:gd name="T7" fmla="*/ 659 h 878"/>
                <a:gd name="T8" fmla="*/ 1021 w 1273"/>
                <a:gd name="T9" fmla="*/ 587 h 878"/>
                <a:gd name="T10" fmla="*/ 1037 w 1273"/>
                <a:gd name="T11" fmla="*/ 535 h 878"/>
                <a:gd name="T12" fmla="*/ 1045 w 1273"/>
                <a:gd name="T13" fmla="*/ 511 h 878"/>
                <a:gd name="T14" fmla="*/ 1073 w 1273"/>
                <a:gd name="T15" fmla="*/ 439 h 878"/>
                <a:gd name="T16" fmla="*/ 1093 w 1273"/>
                <a:gd name="T17" fmla="*/ 387 h 878"/>
                <a:gd name="T18" fmla="*/ 1169 w 1273"/>
                <a:gd name="T19" fmla="*/ 187 h 878"/>
                <a:gd name="T20" fmla="*/ 1216 w 1273"/>
                <a:gd name="T21" fmla="*/ 162 h 878"/>
                <a:gd name="T22" fmla="*/ 1273 w 1273"/>
                <a:gd name="T23" fmla="*/ 131 h 878"/>
                <a:gd name="T24" fmla="*/ 1145 w 1273"/>
                <a:gd name="T25" fmla="*/ 51 h 878"/>
                <a:gd name="T26" fmla="*/ 1116 w 1273"/>
                <a:gd name="T27" fmla="*/ 16 h 878"/>
                <a:gd name="T28" fmla="*/ 1053 w 1273"/>
                <a:gd name="T29" fmla="*/ 27 h 878"/>
                <a:gd name="T30" fmla="*/ 988 w 1273"/>
                <a:gd name="T31" fmla="*/ 1 h 878"/>
                <a:gd name="T32" fmla="*/ 903 w 1273"/>
                <a:gd name="T33" fmla="*/ 9 h 878"/>
                <a:gd name="T34" fmla="*/ 822 w 1273"/>
                <a:gd name="T35" fmla="*/ 10 h 878"/>
                <a:gd name="T36" fmla="*/ 772 w 1273"/>
                <a:gd name="T37" fmla="*/ 63 h 878"/>
                <a:gd name="T38" fmla="*/ 732 w 1273"/>
                <a:gd name="T39" fmla="*/ 129 h 878"/>
                <a:gd name="T40" fmla="*/ 685 w 1273"/>
                <a:gd name="T41" fmla="*/ 135 h 878"/>
                <a:gd name="T42" fmla="*/ 649 w 1273"/>
                <a:gd name="T43" fmla="*/ 123 h 878"/>
                <a:gd name="T44" fmla="*/ 529 w 1273"/>
                <a:gd name="T45" fmla="*/ 175 h 878"/>
                <a:gd name="T46" fmla="*/ 506 w 1273"/>
                <a:gd name="T47" fmla="*/ 227 h 878"/>
                <a:gd name="T48" fmla="*/ 271 w 1273"/>
                <a:gd name="T49" fmla="*/ 309 h 878"/>
                <a:gd name="T50" fmla="*/ 246 w 1273"/>
                <a:gd name="T51" fmla="*/ 289 h 878"/>
                <a:gd name="T52" fmla="*/ 222 w 1273"/>
                <a:gd name="T53" fmla="*/ 267 h 878"/>
                <a:gd name="T54" fmla="*/ 182 w 1273"/>
                <a:gd name="T55" fmla="*/ 251 h 878"/>
                <a:gd name="T56" fmla="*/ 135 w 1273"/>
                <a:gd name="T57" fmla="*/ 232 h 878"/>
                <a:gd name="T58" fmla="*/ 142 w 1273"/>
                <a:gd name="T59" fmla="*/ 342 h 878"/>
                <a:gd name="T60" fmla="*/ 25 w 1273"/>
                <a:gd name="T61" fmla="*/ 348 h 878"/>
                <a:gd name="T62" fmla="*/ 48 w 1273"/>
                <a:gd name="T63" fmla="*/ 360 h 878"/>
                <a:gd name="T64" fmla="*/ 88 w 1273"/>
                <a:gd name="T65" fmla="*/ 412 h 878"/>
                <a:gd name="T66" fmla="*/ 52 w 1273"/>
                <a:gd name="T67" fmla="*/ 462 h 878"/>
                <a:gd name="T68" fmla="*/ 7 w 1273"/>
                <a:gd name="T69" fmla="*/ 589 h 878"/>
                <a:gd name="T70" fmla="*/ 38 w 1273"/>
                <a:gd name="T71" fmla="*/ 639 h 878"/>
                <a:gd name="T72" fmla="*/ 55 w 1273"/>
                <a:gd name="T73" fmla="*/ 687 h 878"/>
                <a:gd name="T74" fmla="*/ 78 w 1273"/>
                <a:gd name="T75" fmla="*/ 703 h 878"/>
                <a:gd name="T76" fmla="*/ 112 w 1273"/>
                <a:gd name="T77" fmla="*/ 735 h 878"/>
                <a:gd name="T78" fmla="*/ 182 w 1273"/>
                <a:gd name="T79" fmla="*/ 759 h 878"/>
                <a:gd name="T80" fmla="*/ 237 w 1273"/>
                <a:gd name="T81" fmla="*/ 804 h 878"/>
                <a:gd name="T82" fmla="*/ 283 w 1273"/>
                <a:gd name="T83" fmla="*/ 829 h 878"/>
                <a:gd name="T84" fmla="*/ 310 w 1273"/>
                <a:gd name="T85" fmla="*/ 859 h 878"/>
                <a:gd name="T86" fmla="*/ 411 w 1273"/>
                <a:gd name="T87" fmla="*/ 868 h 878"/>
                <a:gd name="T88" fmla="*/ 471 w 1273"/>
                <a:gd name="T89" fmla="*/ 874 h 878"/>
                <a:gd name="T90" fmla="*/ 516 w 1273"/>
                <a:gd name="T91" fmla="*/ 852 h 878"/>
                <a:gd name="T92" fmla="*/ 542 w 1273"/>
                <a:gd name="T93" fmla="*/ 835 h 878"/>
                <a:gd name="T94" fmla="*/ 594 w 1273"/>
                <a:gd name="T95" fmla="*/ 803 h 878"/>
                <a:gd name="T96" fmla="*/ 645 w 1273"/>
                <a:gd name="T97" fmla="*/ 779 h 878"/>
                <a:gd name="T98" fmla="*/ 709 w 1273"/>
                <a:gd name="T99" fmla="*/ 723 h 878"/>
                <a:gd name="T100" fmla="*/ 833 w 1273"/>
                <a:gd name="T101" fmla="*/ 727 h 8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73"/>
                <a:gd name="T154" fmla="*/ 0 h 878"/>
                <a:gd name="T155" fmla="*/ 1273 w 1273"/>
                <a:gd name="T156" fmla="*/ 878 h 8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73" h="878">
                  <a:moveTo>
                    <a:pt x="833" y="727"/>
                  </a:moveTo>
                  <a:cubicBezTo>
                    <a:pt x="861" y="723"/>
                    <a:pt x="881" y="719"/>
                    <a:pt x="905" y="703"/>
                  </a:cubicBezTo>
                  <a:cubicBezTo>
                    <a:pt x="917" y="687"/>
                    <a:pt x="937" y="683"/>
                    <a:pt x="957" y="675"/>
                  </a:cubicBezTo>
                  <a:cubicBezTo>
                    <a:pt x="969" y="668"/>
                    <a:pt x="966" y="674"/>
                    <a:pt x="977" y="659"/>
                  </a:cubicBezTo>
                  <a:cubicBezTo>
                    <a:pt x="993" y="639"/>
                    <a:pt x="997" y="603"/>
                    <a:pt x="1021" y="587"/>
                  </a:cubicBezTo>
                  <a:cubicBezTo>
                    <a:pt x="1025" y="571"/>
                    <a:pt x="1033" y="551"/>
                    <a:pt x="1037" y="535"/>
                  </a:cubicBezTo>
                  <a:cubicBezTo>
                    <a:pt x="1041" y="527"/>
                    <a:pt x="1045" y="511"/>
                    <a:pt x="1045" y="511"/>
                  </a:cubicBezTo>
                  <a:cubicBezTo>
                    <a:pt x="1049" y="483"/>
                    <a:pt x="1053" y="459"/>
                    <a:pt x="1073" y="439"/>
                  </a:cubicBezTo>
                  <a:cubicBezTo>
                    <a:pt x="1077" y="423"/>
                    <a:pt x="1081" y="403"/>
                    <a:pt x="1093" y="387"/>
                  </a:cubicBezTo>
                  <a:cubicBezTo>
                    <a:pt x="1101" y="343"/>
                    <a:pt x="1129" y="215"/>
                    <a:pt x="1169" y="187"/>
                  </a:cubicBezTo>
                  <a:cubicBezTo>
                    <a:pt x="1201" y="172"/>
                    <a:pt x="1207" y="178"/>
                    <a:pt x="1216" y="162"/>
                  </a:cubicBezTo>
                  <a:cubicBezTo>
                    <a:pt x="1249" y="148"/>
                    <a:pt x="1257" y="144"/>
                    <a:pt x="1273" y="131"/>
                  </a:cubicBezTo>
                  <a:cubicBezTo>
                    <a:pt x="1269" y="31"/>
                    <a:pt x="1225" y="59"/>
                    <a:pt x="1145" y="51"/>
                  </a:cubicBezTo>
                  <a:cubicBezTo>
                    <a:pt x="1129" y="35"/>
                    <a:pt x="1136" y="24"/>
                    <a:pt x="1116" y="16"/>
                  </a:cubicBezTo>
                  <a:cubicBezTo>
                    <a:pt x="1101" y="16"/>
                    <a:pt x="1074" y="29"/>
                    <a:pt x="1053" y="27"/>
                  </a:cubicBezTo>
                  <a:cubicBezTo>
                    <a:pt x="1032" y="25"/>
                    <a:pt x="1013" y="4"/>
                    <a:pt x="988" y="1"/>
                  </a:cubicBezTo>
                  <a:cubicBezTo>
                    <a:pt x="954" y="0"/>
                    <a:pt x="931" y="8"/>
                    <a:pt x="903" y="9"/>
                  </a:cubicBezTo>
                  <a:cubicBezTo>
                    <a:pt x="875" y="10"/>
                    <a:pt x="844" y="1"/>
                    <a:pt x="822" y="10"/>
                  </a:cubicBezTo>
                  <a:cubicBezTo>
                    <a:pt x="802" y="22"/>
                    <a:pt x="788" y="47"/>
                    <a:pt x="772" y="63"/>
                  </a:cubicBezTo>
                  <a:cubicBezTo>
                    <a:pt x="768" y="95"/>
                    <a:pt x="771" y="136"/>
                    <a:pt x="732" y="129"/>
                  </a:cubicBezTo>
                  <a:cubicBezTo>
                    <a:pt x="716" y="129"/>
                    <a:pt x="701" y="139"/>
                    <a:pt x="685" y="135"/>
                  </a:cubicBezTo>
                  <a:cubicBezTo>
                    <a:pt x="673" y="131"/>
                    <a:pt x="649" y="123"/>
                    <a:pt x="649" y="123"/>
                  </a:cubicBezTo>
                  <a:cubicBezTo>
                    <a:pt x="610" y="180"/>
                    <a:pt x="615" y="172"/>
                    <a:pt x="529" y="175"/>
                  </a:cubicBezTo>
                  <a:cubicBezTo>
                    <a:pt x="499" y="181"/>
                    <a:pt x="499" y="208"/>
                    <a:pt x="506" y="227"/>
                  </a:cubicBezTo>
                  <a:cubicBezTo>
                    <a:pt x="504" y="333"/>
                    <a:pt x="441" y="282"/>
                    <a:pt x="271" y="309"/>
                  </a:cubicBezTo>
                  <a:cubicBezTo>
                    <a:pt x="264" y="300"/>
                    <a:pt x="254" y="296"/>
                    <a:pt x="246" y="289"/>
                  </a:cubicBezTo>
                  <a:cubicBezTo>
                    <a:pt x="238" y="282"/>
                    <a:pt x="255" y="277"/>
                    <a:pt x="222" y="267"/>
                  </a:cubicBezTo>
                  <a:cubicBezTo>
                    <a:pt x="205" y="252"/>
                    <a:pt x="182" y="251"/>
                    <a:pt x="182" y="251"/>
                  </a:cubicBezTo>
                  <a:cubicBezTo>
                    <a:pt x="171" y="248"/>
                    <a:pt x="145" y="232"/>
                    <a:pt x="135" y="232"/>
                  </a:cubicBezTo>
                  <a:cubicBezTo>
                    <a:pt x="128" y="247"/>
                    <a:pt x="181" y="270"/>
                    <a:pt x="142" y="342"/>
                  </a:cubicBezTo>
                  <a:cubicBezTo>
                    <a:pt x="90" y="346"/>
                    <a:pt x="60" y="346"/>
                    <a:pt x="25" y="348"/>
                  </a:cubicBezTo>
                  <a:cubicBezTo>
                    <a:pt x="0" y="351"/>
                    <a:pt x="40" y="355"/>
                    <a:pt x="48" y="360"/>
                  </a:cubicBezTo>
                  <a:cubicBezTo>
                    <a:pt x="58" y="370"/>
                    <a:pt x="76" y="375"/>
                    <a:pt x="88" y="412"/>
                  </a:cubicBezTo>
                  <a:cubicBezTo>
                    <a:pt x="66" y="418"/>
                    <a:pt x="64" y="454"/>
                    <a:pt x="52" y="462"/>
                  </a:cubicBezTo>
                  <a:cubicBezTo>
                    <a:pt x="70" y="544"/>
                    <a:pt x="58" y="570"/>
                    <a:pt x="7" y="589"/>
                  </a:cubicBezTo>
                  <a:cubicBezTo>
                    <a:pt x="19" y="609"/>
                    <a:pt x="27" y="619"/>
                    <a:pt x="38" y="639"/>
                  </a:cubicBezTo>
                  <a:cubicBezTo>
                    <a:pt x="42" y="651"/>
                    <a:pt x="57" y="672"/>
                    <a:pt x="55" y="687"/>
                  </a:cubicBezTo>
                  <a:cubicBezTo>
                    <a:pt x="70" y="693"/>
                    <a:pt x="78" y="703"/>
                    <a:pt x="78" y="703"/>
                  </a:cubicBezTo>
                  <a:cubicBezTo>
                    <a:pt x="99" y="708"/>
                    <a:pt x="103" y="721"/>
                    <a:pt x="112" y="735"/>
                  </a:cubicBezTo>
                  <a:cubicBezTo>
                    <a:pt x="130" y="742"/>
                    <a:pt x="158" y="751"/>
                    <a:pt x="182" y="759"/>
                  </a:cubicBezTo>
                  <a:cubicBezTo>
                    <a:pt x="203" y="773"/>
                    <a:pt x="235" y="784"/>
                    <a:pt x="237" y="804"/>
                  </a:cubicBezTo>
                  <a:cubicBezTo>
                    <a:pt x="264" y="807"/>
                    <a:pt x="271" y="820"/>
                    <a:pt x="283" y="829"/>
                  </a:cubicBezTo>
                  <a:cubicBezTo>
                    <a:pt x="305" y="845"/>
                    <a:pt x="289" y="853"/>
                    <a:pt x="310" y="859"/>
                  </a:cubicBezTo>
                  <a:cubicBezTo>
                    <a:pt x="331" y="865"/>
                    <a:pt x="384" y="866"/>
                    <a:pt x="411" y="868"/>
                  </a:cubicBezTo>
                  <a:cubicBezTo>
                    <a:pt x="447" y="873"/>
                    <a:pt x="453" y="878"/>
                    <a:pt x="471" y="874"/>
                  </a:cubicBezTo>
                  <a:cubicBezTo>
                    <a:pt x="475" y="870"/>
                    <a:pt x="512" y="856"/>
                    <a:pt x="516" y="852"/>
                  </a:cubicBezTo>
                  <a:cubicBezTo>
                    <a:pt x="524" y="844"/>
                    <a:pt x="529" y="843"/>
                    <a:pt x="542" y="835"/>
                  </a:cubicBezTo>
                  <a:cubicBezTo>
                    <a:pt x="555" y="827"/>
                    <a:pt x="578" y="811"/>
                    <a:pt x="594" y="803"/>
                  </a:cubicBezTo>
                  <a:cubicBezTo>
                    <a:pt x="614" y="775"/>
                    <a:pt x="614" y="783"/>
                    <a:pt x="645" y="779"/>
                  </a:cubicBezTo>
                  <a:cubicBezTo>
                    <a:pt x="665" y="759"/>
                    <a:pt x="681" y="731"/>
                    <a:pt x="709" y="723"/>
                  </a:cubicBezTo>
                  <a:cubicBezTo>
                    <a:pt x="749" y="727"/>
                    <a:pt x="789" y="723"/>
                    <a:pt x="833" y="727"/>
                  </a:cubicBezTo>
                  <a:close/>
                </a:path>
              </a:pathLst>
            </a:custGeom>
            <a:solidFill>
              <a:schemeClr val="accent2"/>
            </a:solidFill>
            <a:ln w="3175">
              <a:solidFill>
                <a:schemeClr val="accent2"/>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1" name="Freeform 2539">
              <a:extLst>
                <a:ext uri="{FF2B5EF4-FFF2-40B4-BE49-F238E27FC236}">
                  <a16:creationId xmlns:a16="http://schemas.microsoft.com/office/drawing/2014/main" id="{AA56E837-E00E-4F50-B968-10476016C36F}"/>
                </a:ext>
              </a:extLst>
            </p:cNvPr>
            <p:cNvSpPr>
              <a:spLocks noChangeAspect="1"/>
            </p:cNvSpPr>
            <p:nvPr>
              <p:custDataLst>
                <p:tags r:id="rId34"/>
              </p:custDataLst>
            </p:nvPr>
          </p:nvSpPr>
          <p:spPr bwMode="auto">
            <a:xfrm>
              <a:off x="4978248" y="3486166"/>
              <a:ext cx="670128" cy="569895"/>
            </a:xfrm>
            <a:custGeom>
              <a:avLst/>
              <a:gdLst>
                <a:gd name="T0" fmla="*/ 891 w 1874"/>
                <a:gd name="T1" fmla="*/ 96 h 1593"/>
                <a:gd name="T2" fmla="*/ 767 w 1874"/>
                <a:gd name="T3" fmla="*/ 100 h 1593"/>
                <a:gd name="T4" fmla="*/ 687 w 1874"/>
                <a:gd name="T5" fmla="*/ 0 h 1593"/>
                <a:gd name="T6" fmla="*/ 423 w 1874"/>
                <a:gd name="T7" fmla="*/ 112 h 1593"/>
                <a:gd name="T8" fmla="*/ 323 w 1874"/>
                <a:gd name="T9" fmla="*/ 168 h 1593"/>
                <a:gd name="T10" fmla="*/ 231 w 1874"/>
                <a:gd name="T11" fmla="*/ 224 h 1593"/>
                <a:gd name="T12" fmla="*/ 99 w 1874"/>
                <a:gd name="T13" fmla="*/ 292 h 1593"/>
                <a:gd name="T14" fmla="*/ 35 w 1874"/>
                <a:gd name="T15" fmla="*/ 380 h 1593"/>
                <a:gd name="T16" fmla="*/ 36 w 1874"/>
                <a:gd name="T17" fmla="*/ 595 h 1593"/>
                <a:gd name="T18" fmla="*/ 123 w 1874"/>
                <a:gd name="T19" fmla="*/ 716 h 1593"/>
                <a:gd name="T20" fmla="*/ 130 w 1874"/>
                <a:gd name="T21" fmla="*/ 853 h 1593"/>
                <a:gd name="T22" fmla="*/ 129 w 1874"/>
                <a:gd name="T23" fmla="*/ 968 h 1593"/>
                <a:gd name="T24" fmla="*/ 216 w 1874"/>
                <a:gd name="T25" fmla="*/ 1019 h 1593"/>
                <a:gd name="T26" fmla="*/ 190 w 1874"/>
                <a:gd name="T27" fmla="*/ 1070 h 1593"/>
                <a:gd name="T28" fmla="*/ 220 w 1874"/>
                <a:gd name="T29" fmla="*/ 1166 h 1593"/>
                <a:gd name="T30" fmla="*/ 349 w 1874"/>
                <a:gd name="T31" fmla="*/ 1223 h 1593"/>
                <a:gd name="T32" fmla="*/ 475 w 1874"/>
                <a:gd name="T33" fmla="*/ 1328 h 1593"/>
                <a:gd name="T34" fmla="*/ 558 w 1874"/>
                <a:gd name="T35" fmla="*/ 1375 h 1593"/>
                <a:gd name="T36" fmla="*/ 607 w 1874"/>
                <a:gd name="T37" fmla="*/ 1312 h 1593"/>
                <a:gd name="T38" fmla="*/ 697 w 1874"/>
                <a:gd name="T39" fmla="*/ 1324 h 1593"/>
                <a:gd name="T40" fmla="*/ 718 w 1874"/>
                <a:gd name="T41" fmla="*/ 1391 h 1593"/>
                <a:gd name="T42" fmla="*/ 943 w 1874"/>
                <a:gd name="T43" fmla="*/ 1486 h 1593"/>
                <a:gd name="T44" fmla="*/ 1014 w 1874"/>
                <a:gd name="T45" fmla="*/ 1549 h 1593"/>
                <a:gd name="T46" fmla="*/ 1118 w 1874"/>
                <a:gd name="T47" fmla="*/ 1536 h 1593"/>
                <a:gd name="T48" fmla="*/ 1206 w 1874"/>
                <a:gd name="T49" fmla="*/ 1580 h 1593"/>
                <a:gd name="T50" fmla="*/ 1351 w 1874"/>
                <a:gd name="T51" fmla="*/ 1535 h 1593"/>
                <a:gd name="T52" fmla="*/ 1543 w 1874"/>
                <a:gd name="T53" fmla="*/ 1495 h 1593"/>
                <a:gd name="T54" fmla="*/ 1714 w 1874"/>
                <a:gd name="T55" fmla="*/ 1536 h 1593"/>
                <a:gd name="T56" fmla="*/ 1706 w 1874"/>
                <a:gd name="T57" fmla="*/ 1360 h 1593"/>
                <a:gd name="T58" fmla="*/ 1770 w 1874"/>
                <a:gd name="T59" fmla="*/ 1220 h 1593"/>
                <a:gd name="T60" fmla="*/ 1862 w 1874"/>
                <a:gd name="T61" fmla="*/ 980 h 1593"/>
                <a:gd name="T62" fmla="*/ 1790 w 1874"/>
                <a:gd name="T63" fmla="*/ 896 h 1593"/>
                <a:gd name="T64" fmla="*/ 1714 w 1874"/>
                <a:gd name="T65" fmla="*/ 744 h 1593"/>
                <a:gd name="T66" fmla="*/ 1634 w 1874"/>
                <a:gd name="T67" fmla="*/ 548 h 1593"/>
                <a:gd name="T68" fmla="*/ 1722 w 1874"/>
                <a:gd name="T69" fmla="*/ 448 h 1593"/>
                <a:gd name="T70" fmla="*/ 1698 w 1874"/>
                <a:gd name="T71" fmla="*/ 376 h 1593"/>
                <a:gd name="T72" fmla="*/ 1618 w 1874"/>
                <a:gd name="T73" fmla="*/ 216 h 1593"/>
                <a:gd name="T74" fmla="*/ 1530 w 1874"/>
                <a:gd name="T75" fmla="*/ 44 h 1593"/>
                <a:gd name="T76" fmla="*/ 1394 w 1874"/>
                <a:gd name="T77" fmla="*/ 20 h 1593"/>
                <a:gd name="T78" fmla="*/ 1090 w 1874"/>
                <a:gd name="T79" fmla="*/ 80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4"/>
                <a:gd name="T121" fmla="*/ 0 h 1593"/>
                <a:gd name="T122" fmla="*/ 1874 w 1874"/>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4" h="1593">
                  <a:moveTo>
                    <a:pt x="927" y="76"/>
                  </a:moveTo>
                  <a:cubicBezTo>
                    <a:pt x="911" y="80"/>
                    <a:pt x="911" y="92"/>
                    <a:pt x="891" y="96"/>
                  </a:cubicBezTo>
                  <a:cubicBezTo>
                    <a:pt x="883" y="100"/>
                    <a:pt x="867" y="104"/>
                    <a:pt x="867" y="104"/>
                  </a:cubicBezTo>
                  <a:cubicBezTo>
                    <a:pt x="843" y="140"/>
                    <a:pt x="799" y="112"/>
                    <a:pt x="767" y="100"/>
                  </a:cubicBezTo>
                  <a:cubicBezTo>
                    <a:pt x="759" y="80"/>
                    <a:pt x="751" y="44"/>
                    <a:pt x="735" y="28"/>
                  </a:cubicBezTo>
                  <a:cubicBezTo>
                    <a:pt x="723" y="16"/>
                    <a:pt x="687" y="0"/>
                    <a:pt x="687" y="0"/>
                  </a:cubicBezTo>
                  <a:cubicBezTo>
                    <a:pt x="543" y="0"/>
                    <a:pt x="595" y="16"/>
                    <a:pt x="507" y="44"/>
                  </a:cubicBezTo>
                  <a:cubicBezTo>
                    <a:pt x="499" y="68"/>
                    <a:pt x="451" y="108"/>
                    <a:pt x="423" y="112"/>
                  </a:cubicBezTo>
                  <a:cubicBezTo>
                    <a:pt x="403" y="116"/>
                    <a:pt x="363" y="128"/>
                    <a:pt x="363" y="128"/>
                  </a:cubicBezTo>
                  <a:cubicBezTo>
                    <a:pt x="355" y="144"/>
                    <a:pt x="323" y="168"/>
                    <a:pt x="323" y="168"/>
                  </a:cubicBezTo>
                  <a:cubicBezTo>
                    <a:pt x="307" y="192"/>
                    <a:pt x="295" y="192"/>
                    <a:pt x="267" y="200"/>
                  </a:cubicBezTo>
                  <a:cubicBezTo>
                    <a:pt x="255" y="216"/>
                    <a:pt x="247" y="212"/>
                    <a:pt x="231" y="224"/>
                  </a:cubicBezTo>
                  <a:cubicBezTo>
                    <a:pt x="219" y="260"/>
                    <a:pt x="175" y="260"/>
                    <a:pt x="143" y="264"/>
                  </a:cubicBezTo>
                  <a:cubicBezTo>
                    <a:pt x="115" y="272"/>
                    <a:pt x="123" y="276"/>
                    <a:pt x="99" y="292"/>
                  </a:cubicBezTo>
                  <a:cubicBezTo>
                    <a:pt x="91" y="308"/>
                    <a:pt x="67" y="328"/>
                    <a:pt x="51" y="332"/>
                  </a:cubicBezTo>
                  <a:cubicBezTo>
                    <a:pt x="47" y="348"/>
                    <a:pt x="35" y="380"/>
                    <a:pt x="35" y="380"/>
                  </a:cubicBezTo>
                  <a:cubicBezTo>
                    <a:pt x="43" y="404"/>
                    <a:pt x="56" y="405"/>
                    <a:pt x="60" y="433"/>
                  </a:cubicBezTo>
                  <a:cubicBezTo>
                    <a:pt x="60" y="453"/>
                    <a:pt x="49" y="557"/>
                    <a:pt x="36" y="595"/>
                  </a:cubicBezTo>
                  <a:cubicBezTo>
                    <a:pt x="0" y="608"/>
                    <a:pt x="22" y="637"/>
                    <a:pt x="59" y="648"/>
                  </a:cubicBezTo>
                  <a:cubicBezTo>
                    <a:pt x="75" y="668"/>
                    <a:pt x="108" y="679"/>
                    <a:pt x="123" y="716"/>
                  </a:cubicBezTo>
                  <a:cubicBezTo>
                    <a:pt x="120" y="736"/>
                    <a:pt x="104" y="764"/>
                    <a:pt x="100" y="788"/>
                  </a:cubicBezTo>
                  <a:cubicBezTo>
                    <a:pt x="114" y="815"/>
                    <a:pt x="122" y="825"/>
                    <a:pt x="130" y="853"/>
                  </a:cubicBezTo>
                  <a:cubicBezTo>
                    <a:pt x="126" y="885"/>
                    <a:pt x="131" y="890"/>
                    <a:pt x="123" y="914"/>
                  </a:cubicBezTo>
                  <a:cubicBezTo>
                    <a:pt x="132" y="935"/>
                    <a:pt x="121" y="948"/>
                    <a:pt x="129" y="968"/>
                  </a:cubicBezTo>
                  <a:cubicBezTo>
                    <a:pt x="133" y="1016"/>
                    <a:pt x="143" y="1012"/>
                    <a:pt x="191" y="1016"/>
                  </a:cubicBezTo>
                  <a:cubicBezTo>
                    <a:pt x="199" y="1020"/>
                    <a:pt x="216" y="1011"/>
                    <a:pt x="216" y="1019"/>
                  </a:cubicBezTo>
                  <a:cubicBezTo>
                    <a:pt x="216" y="1027"/>
                    <a:pt x="220" y="1037"/>
                    <a:pt x="207" y="1048"/>
                  </a:cubicBezTo>
                  <a:cubicBezTo>
                    <a:pt x="195" y="1057"/>
                    <a:pt x="190" y="1070"/>
                    <a:pt x="190" y="1070"/>
                  </a:cubicBezTo>
                  <a:cubicBezTo>
                    <a:pt x="194" y="1106"/>
                    <a:pt x="196" y="1100"/>
                    <a:pt x="213" y="1114"/>
                  </a:cubicBezTo>
                  <a:cubicBezTo>
                    <a:pt x="221" y="1126"/>
                    <a:pt x="214" y="1157"/>
                    <a:pt x="220" y="1166"/>
                  </a:cubicBezTo>
                  <a:cubicBezTo>
                    <a:pt x="226" y="1175"/>
                    <a:pt x="231" y="1162"/>
                    <a:pt x="252" y="1171"/>
                  </a:cubicBezTo>
                  <a:cubicBezTo>
                    <a:pt x="273" y="1180"/>
                    <a:pt x="304" y="1216"/>
                    <a:pt x="349" y="1223"/>
                  </a:cubicBezTo>
                  <a:cubicBezTo>
                    <a:pt x="385" y="1233"/>
                    <a:pt x="450" y="1215"/>
                    <a:pt x="471" y="1232"/>
                  </a:cubicBezTo>
                  <a:cubicBezTo>
                    <a:pt x="499" y="1276"/>
                    <a:pt x="431" y="1300"/>
                    <a:pt x="475" y="1328"/>
                  </a:cubicBezTo>
                  <a:cubicBezTo>
                    <a:pt x="489" y="1355"/>
                    <a:pt x="505" y="1352"/>
                    <a:pt x="528" y="1390"/>
                  </a:cubicBezTo>
                  <a:cubicBezTo>
                    <a:pt x="540" y="1396"/>
                    <a:pt x="552" y="1386"/>
                    <a:pt x="558" y="1375"/>
                  </a:cubicBezTo>
                  <a:cubicBezTo>
                    <a:pt x="564" y="1364"/>
                    <a:pt x="594" y="1355"/>
                    <a:pt x="567" y="1324"/>
                  </a:cubicBezTo>
                  <a:cubicBezTo>
                    <a:pt x="589" y="1310"/>
                    <a:pt x="592" y="1313"/>
                    <a:pt x="607" y="1312"/>
                  </a:cubicBezTo>
                  <a:cubicBezTo>
                    <a:pt x="635" y="1316"/>
                    <a:pt x="635" y="1330"/>
                    <a:pt x="663" y="1334"/>
                  </a:cubicBezTo>
                  <a:cubicBezTo>
                    <a:pt x="671" y="1338"/>
                    <a:pt x="689" y="1320"/>
                    <a:pt x="697" y="1324"/>
                  </a:cubicBezTo>
                  <a:cubicBezTo>
                    <a:pt x="709" y="1321"/>
                    <a:pt x="724" y="1336"/>
                    <a:pt x="724" y="1336"/>
                  </a:cubicBezTo>
                  <a:cubicBezTo>
                    <a:pt x="732" y="1344"/>
                    <a:pt x="696" y="1363"/>
                    <a:pt x="718" y="1391"/>
                  </a:cubicBezTo>
                  <a:cubicBezTo>
                    <a:pt x="763" y="1405"/>
                    <a:pt x="828" y="1397"/>
                    <a:pt x="875" y="1408"/>
                  </a:cubicBezTo>
                  <a:cubicBezTo>
                    <a:pt x="903" y="1448"/>
                    <a:pt x="910" y="1469"/>
                    <a:pt x="943" y="1486"/>
                  </a:cubicBezTo>
                  <a:cubicBezTo>
                    <a:pt x="951" y="1502"/>
                    <a:pt x="958" y="1508"/>
                    <a:pt x="974" y="1516"/>
                  </a:cubicBezTo>
                  <a:cubicBezTo>
                    <a:pt x="978" y="1532"/>
                    <a:pt x="1000" y="1540"/>
                    <a:pt x="1014" y="1549"/>
                  </a:cubicBezTo>
                  <a:cubicBezTo>
                    <a:pt x="1048" y="1522"/>
                    <a:pt x="1035" y="1523"/>
                    <a:pt x="1059" y="1487"/>
                  </a:cubicBezTo>
                  <a:cubicBezTo>
                    <a:pt x="1072" y="1487"/>
                    <a:pt x="1080" y="1511"/>
                    <a:pt x="1118" y="1536"/>
                  </a:cubicBezTo>
                  <a:cubicBezTo>
                    <a:pt x="1140" y="1552"/>
                    <a:pt x="1145" y="1569"/>
                    <a:pt x="1165" y="1577"/>
                  </a:cubicBezTo>
                  <a:cubicBezTo>
                    <a:pt x="1181" y="1593"/>
                    <a:pt x="1168" y="1577"/>
                    <a:pt x="1206" y="1580"/>
                  </a:cubicBezTo>
                  <a:cubicBezTo>
                    <a:pt x="1218" y="1547"/>
                    <a:pt x="1215" y="1522"/>
                    <a:pt x="1308" y="1516"/>
                  </a:cubicBezTo>
                  <a:cubicBezTo>
                    <a:pt x="1328" y="1520"/>
                    <a:pt x="1351" y="1535"/>
                    <a:pt x="1351" y="1535"/>
                  </a:cubicBezTo>
                  <a:cubicBezTo>
                    <a:pt x="1366" y="1516"/>
                    <a:pt x="1396" y="1502"/>
                    <a:pt x="1478" y="1480"/>
                  </a:cubicBezTo>
                  <a:cubicBezTo>
                    <a:pt x="1502" y="1484"/>
                    <a:pt x="1519" y="1487"/>
                    <a:pt x="1543" y="1495"/>
                  </a:cubicBezTo>
                  <a:cubicBezTo>
                    <a:pt x="1579" y="1513"/>
                    <a:pt x="1626" y="1519"/>
                    <a:pt x="1682" y="1540"/>
                  </a:cubicBezTo>
                  <a:cubicBezTo>
                    <a:pt x="1694" y="1540"/>
                    <a:pt x="1710" y="1548"/>
                    <a:pt x="1714" y="1536"/>
                  </a:cubicBezTo>
                  <a:cubicBezTo>
                    <a:pt x="1718" y="1520"/>
                    <a:pt x="1694" y="1456"/>
                    <a:pt x="1682" y="1436"/>
                  </a:cubicBezTo>
                  <a:cubicBezTo>
                    <a:pt x="1674" y="1396"/>
                    <a:pt x="1674" y="1380"/>
                    <a:pt x="1706" y="1360"/>
                  </a:cubicBezTo>
                  <a:cubicBezTo>
                    <a:pt x="1714" y="1348"/>
                    <a:pt x="1722" y="1324"/>
                    <a:pt x="1722" y="1324"/>
                  </a:cubicBezTo>
                  <a:cubicBezTo>
                    <a:pt x="1726" y="1284"/>
                    <a:pt x="1726" y="1236"/>
                    <a:pt x="1770" y="1220"/>
                  </a:cubicBezTo>
                  <a:cubicBezTo>
                    <a:pt x="1802" y="1172"/>
                    <a:pt x="1842" y="1144"/>
                    <a:pt x="1874" y="1096"/>
                  </a:cubicBezTo>
                  <a:cubicBezTo>
                    <a:pt x="1874" y="1032"/>
                    <a:pt x="1874" y="1016"/>
                    <a:pt x="1862" y="980"/>
                  </a:cubicBezTo>
                  <a:cubicBezTo>
                    <a:pt x="1870" y="952"/>
                    <a:pt x="1846" y="944"/>
                    <a:pt x="1822" y="940"/>
                  </a:cubicBezTo>
                  <a:cubicBezTo>
                    <a:pt x="1814" y="916"/>
                    <a:pt x="1810" y="912"/>
                    <a:pt x="1790" y="896"/>
                  </a:cubicBezTo>
                  <a:cubicBezTo>
                    <a:pt x="1778" y="888"/>
                    <a:pt x="1754" y="872"/>
                    <a:pt x="1754" y="872"/>
                  </a:cubicBezTo>
                  <a:cubicBezTo>
                    <a:pt x="1742" y="812"/>
                    <a:pt x="1722" y="780"/>
                    <a:pt x="1714" y="744"/>
                  </a:cubicBezTo>
                  <a:cubicBezTo>
                    <a:pt x="1726" y="644"/>
                    <a:pt x="1726" y="632"/>
                    <a:pt x="1630" y="624"/>
                  </a:cubicBezTo>
                  <a:cubicBezTo>
                    <a:pt x="1630" y="600"/>
                    <a:pt x="1610" y="564"/>
                    <a:pt x="1634" y="548"/>
                  </a:cubicBezTo>
                  <a:cubicBezTo>
                    <a:pt x="1654" y="520"/>
                    <a:pt x="1666" y="496"/>
                    <a:pt x="1702" y="484"/>
                  </a:cubicBezTo>
                  <a:cubicBezTo>
                    <a:pt x="1710" y="476"/>
                    <a:pt x="1722" y="448"/>
                    <a:pt x="1722" y="448"/>
                  </a:cubicBezTo>
                  <a:cubicBezTo>
                    <a:pt x="1722" y="440"/>
                    <a:pt x="1722" y="412"/>
                    <a:pt x="1714" y="400"/>
                  </a:cubicBezTo>
                  <a:cubicBezTo>
                    <a:pt x="1710" y="392"/>
                    <a:pt x="1698" y="376"/>
                    <a:pt x="1698" y="376"/>
                  </a:cubicBezTo>
                  <a:cubicBezTo>
                    <a:pt x="1694" y="368"/>
                    <a:pt x="1690" y="356"/>
                    <a:pt x="1674" y="328"/>
                  </a:cubicBezTo>
                  <a:cubicBezTo>
                    <a:pt x="1662" y="300"/>
                    <a:pt x="1634" y="252"/>
                    <a:pt x="1618" y="216"/>
                  </a:cubicBezTo>
                  <a:cubicBezTo>
                    <a:pt x="1602" y="192"/>
                    <a:pt x="1614" y="108"/>
                    <a:pt x="1586" y="100"/>
                  </a:cubicBezTo>
                  <a:cubicBezTo>
                    <a:pt x="1582" y="76"/>
                    <a:pt x="1554" y="52"/>
                    <a:pt x="1530" y="44"/>
                  </a:cubicBezTo>
                  <a:cubicBezTo>
                    <a:pt x="1510" y="20"/>
                    <a:pt x="1502" y="24"/>
                    <a:pt x="1466" y="20"/>
                  </a:cubicBezTo>
                  <a:cubicBezTo>
                    <a:pt x="1446" y="16"/>
                    <a:pt x="1414" y="16"/>
                    <a:pt x="1394" y="20"/>
                  </a:cubicBezTo>
                  <a:cubicBezTo>
                    <a:pt x="1354" y="40"/>
                    <a:pt x="1318" y="52"/>
                    <a:pt x="1286" y="56"/>
                  </a:cubicBezTo>
                  <a:cubicBezTo>
                    <a:pt x="1234" y="64"/>
                    <a:pt x="1150" y="76"/>
                    <a:pt x="1090" y="80"/>
                  </a:cubicBezTo>
                  <a:cubicBezTo>
                    <a:pt x="1030" y="84"/>
                    <a:pt x="994" y="80"/>
                    <a:pt x="927" y="76"/>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2" name="Freeform 2540">
              <a:extLst>
                <a:ext uri="{FF2B5EF4-FFF2-40B4-BE49-F238E27FC236}">
                  <a16:creationId xmlns:a16="http://schemas.microsoft.com/office/drawing/2014/main" id="{329F130D-A71E-4350-B7C1-A06D962D200A}"/>
                </a:ext>
              </a:extLst>
            </p:cNvPr>
            <p:cNvSpPr>
              <a:spLocks noChangeAspect="1"/>
            </p:cNvSpPr>
            <p:nvPr>
              <p:custDataLst>
                <p:tags r:id="rId35"/>
              </p:custDataLst>
            </p:nvPr>
          </p:nvSpPr>
          <p:spPr bwMode="auto">
            <a:xfrm>
              <a:off x="4870856" y="3902849"/>
              <a:ext cx="455343" cy="252014"/>
            </a:xfrm>
            <a:custGeom>
              <a:avLst/>
              <a:gdLst>
                <a:gd name="T0" fmla="*/ 939 w 1271"/>
                <a:gd name="T1" fmla="*/ 620 h 703"/>
                <a:gd name="T2" fmla="*/ 954 w 1271"/>
                <a:gd name="T3" fmla="*/ 592 h 703"/>
                <a:gd name="T4" fmla="*/ 1032 w 1271"/>
                <a:gd name="T5" fmla="*/ 589 h 703"/>
                <a:gd name="T6" fmla="*/ 1104 w 1271"/>
                <a:gd name="T7" fmla="*/ 539 h 703"/>
                <a:gd name="T8" fmla="*/ 1114 w 1271"/>
                <a:gd name="T9" fmla="*/ 503 h 703"/>
                <a:gd name="T10" fmla="*/ 1171 w 1271"/>
                <a:gd name="T11" fmla="*/ 431 h 703"/>
                <a:gd name="T12" fmla="*/ 1239 w 1271"/>
                <a:gd name="T13" fmla="*/ 359 h 703"/>
                <a:gd name="T14" fmla="*/ 1251 w 1271"/>
                <a:gd name="T15" fmla="*/ 340 h 703"/>
                <a:gd name="T16" fmla="*/ 1215 w 1271"/>
                <a:gd name="T17" fmla="*/ 304 h 703"/>
                <a:gd name="T18" fmla="*/ 1175 w 1271"/>
                <a:gd name="T19" fmla="*/ 248 h 703"/>
                <a:gd name="T20" fmla="*/ 1019 w 1271"/>
                <a:gd name="T21" fmla="*/ 228 h 703"/>
                <a:gd name="T22" fmla="*/ 1007 w 1271"/>
                <a:gd name="T23" fmla="*/ 200 h 703"/>
                <a:gd name="T24" fmla="*/ 1023 w 1271"/>
                <a:gd name="T25" fmla="*/ 176 h 703"/>
                <a:gd name="T26" fmla="*/ 963 w 1271"/>
                <a:gd name="T27" fmla="*/ 172 h 703"/>
                <a:gd name="T28" fmla="*/ 915 w 1271"/>
                <a:gd name="T29" fmla="*/ 148 h 703"/>
                <a:gd name="T30" fmla="*/ 867 w 1271"/>
                <a:gd name="T31" fmla="*/ 160 h 703"/>
                <a:gd name="T32" fmla="*/ 855 w 1271"/>
                <a:gd name="T33" fmla="*/ 208 h 703"/>
                <a:gd name="T34" fmla="*/ 827 w 1271"/>
                <a:gd name="T35" fmla="*/ 224 h 703"/>
                <a:gd name="T36" fmla="*/ 779 w 1271"/>
                <a:gd name="T37" fmla="*/ 176 h 703"/>
                <a:gd name="T38" fmla="*/ 759 w 1271"/>
                <a:gd name="T39" fmla="*/ 140 h 703"/>
                <a:gd name="T40" fmla="*/ 679 w 1271"/>
                <a:gd name="T41" fmla="*/ 64 h 703"/>
                <a:gd name="T42" fmla="*/ 587 w 1271"/>
                <a:gd name="T43" fmla="*/ 32 h 703"/>
                <a:gd name="T44" fmla="*/ 551 w 1271"/>
                <a:gd name="T45" fmla="*/ 4 h 703"/>
                <a:gd name="T46" fmla="*/ 522 w 1271"/>
                <a:gd name="T47" fmla="*/ 10 h 703"/>
                <a:gd name="T48" fmla="*/ 479 w 1271"/>
                <a:gd name="T49" fmla="*/ 28 h 703"/>
                <a:gd name="T50" fmla="*/ 447 w 1271"/>
                <a:gd name="T51" fmla="*/ 31 h 703"/>
                <a:gd name="T52" fmla="*/ 388 w 1271"/>
                <a:gd name="T53" fmla="*/ 17 h 703"/>
                <a:gd name="T54" fmla="*/ 339 w 1271"/>
                <a:gd name="T55" fmla="*/ 76 h 703"/>
                <a:gd name="T56" fmla="*/ 289 w 1271"/>
                <a:gd name="T57" fmla="*/ 100 h 703"/>
                <a:gd name="T58" fmla="*/ 183 w 1271"/>
                <a:gd name="T59" fmla="*/ 142 h 703"/>
                <a:gd name="T60" fmla="*/ 102 w 1271"/>
                <a:gd name="T61" fmla="*/ 193 h 703"/>
                <a:gd name="T62" fmla="*/ 58 w 1271"/>
                <a:gd name="T63" fmla="*/ 211 h 703"/>
                <a:gd name="T64" fmla="*/ 0 w 1271"/>
                <a:gd name="T65" fmla="*/ 250 h 703"/>
                <a:gd name="T66" fmla="*/ 34 w 1271"/>
                <a:gd name="T67" fmla="*/ 299 h 703"/>
                <a:gd name="T68" fmla="*/ 63 w 1271"/>
                <a:gd name="T69" fmla="*/ 352 h 703"/>
                <a:gd name="T70" fmla="*/ 83 w 1271"/>
                <a:gd name="T71" fmla="*/ 428 h 703"/>
                <a:gd name="T72" fmla="*/ 142 w 1271"/>
                <a:gd name="T73" fmla="*/ 485 h 703"/>
                <a:gd name="T74" fmla="*/ 207 w 1271"/>
                <a:gd name="T75" fmla="*/ 541 h 703"/>
                <a:gd name="T76" fmla="*/ 228 w 1271"/>
                <a:gd name="T77" fmla="*/ 566 h 703"/>
                <a:gd name="T78" fmla="*/ 253 w 1271"/>
                <a:gd name="T79" fmla="*/ 593 h 703"/>
                <a:gd name="T80" fmla="*/ 301 w 1271"/>
                <a:gd name="T81" fmla="*/ 604 h 703"/>
                <a:gd name="T82" fmla="*/ 346 w 1271"/>
                <a:gd name="T83" fmla="*/ 688 h 703"/>
                <a:gd name="T84" fmla="*/ 411 w 1271"/>
                <a:gd name="T85" fmla="*/ 700 h 703"/>
                <a:gd name="T86" fmla="*/ 486 w 1271"/>
                <a:gd name="T87" fmla="*/ 695 h 703"/>
                <a:gd name="T88" fmla="*/ 508 w 1271"/>
                <a:gd name="T89" fmla="*/ 685 h 703"/>
                <a:gd name="T90" fmla="*/ 534 w 1271"/>
                <a:gd name="T91" fmla="*/ 599 h 703"/>
                <a:gd name="T92" fmla="*/ 564 w 1271"/>
                <a:gd name="T93" fmla="*/ 574 h 703"/>
                <a:gd name="T94" fmla="*/ 616 w 1271"/>
                <a:gd name="T95" fmla="*/ 580 h 703"/>
                <a:gd name="T96" fmla="*/ 679 w 1271"/>
                <a:gd name="T97" fmla="*/ 588 h 703"/>
                <a:gd name="T98" fmla="*/ 731 w 1271"/>
                <a:gd name="T99" fmla="*/ 608 h 703"/>
                <a:gd name="T100" fmla="*/ 783 w 1271"/>
                <a:gd name="T101" fmla="*/ 632 h 703"/>
                <a:gd name="T102" fmla="*/ 855 w 1271"/>
                <a:gd name="T103" fmla="*/ 636 h 703"/>
                <a:gd name="T104" fmla="*/ 919 w 1271"/>
                <a:gd name="T105" fmla="*/ 637 h 703"/>
                <a:gd name="T106" fmla="*/ 939 w 1271"/>
                <a:gd name="T107" fmla="*/ 620 h 7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71"/>
                <a:gd name="T163" fmla="*/ 0 h 703"/>
                <a:gd name="T164" fmla="*/ 1271 w 1271"/>
                <a:gd name="T165" fmla="*/ 703 h 7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71" h="703">
                  <a:moveTo>
                    <a:pt x="939" y="620"/>
                  </a:moveTo>
                  <a:cubicBezTo>
                    <a:pt x="947" y="613"/>
                    <a:pt x="939" y="597"/>
                    <a:pt x="954" y="592"/>
                  </a:cubicBezTo>
                  <a:cubicBezTo>
                    <a:pt x="969" y="587"/>
                    <a:pt x="1007" y="598"/>
                    <a:pt x="1032" y="589"/>
                  </a:cubicBezTo>
                  <a:cubicBezTo>
                    <a:pt x="1064" y="581"/>
                    <a:pt x="1084" y="547"/>
                    <a:pt x="1104" y="539"/>
                  </a:cubicBezTo>
                  <a:cubicBezTo>
                    <a:pt x="1111" y="526"/>
                    <a:pt x="1103" y="521"/>
                    <a:pt x="1114" y="503"/>
                  </a:cubicBezTo>
                  <a:cubicBezTo>
                    <a:pt x="1135" y="490"/>
                    <a:pt x="1143" y="452"/>
                    <a:pt x="1171" y="431"/>
                  </a:cubicBezTo>
                  <a:cubicBezTo>
                    <a:pt x="1183" y="391"/>
                    <a:pt x="1206" y="371"/>
                    <a:pt x="1239" y="359"/>
                  </a:cubicBezTo>
                  <a:cubicBezTo>
                    <a:pt x="1270" y="340"/>
                    <a:pt x="1271" y="360"/>
                    <a:pt x="1251" y="340"/>
                  </a:cubicBezTo>
                  <a:cubicBezTo>
                    <a:pt x="1243" y="320"/>
                    <a:pt x="1235" y="312"/>
                    <a:pt x="1215" y="304"/>
                  </a:cubicBezTo>
                  <a:cubicBezTo>
                    <a:pt x="1207" y="288"/>
                    <a:pt x="1191" y="256"/>
                    <a:pt x="1175" y="248"/>
                  </a:cubicBezTo>
                  <a:cubicBezTo>
                    <a:pt x="1135" y="224"/>
                    <a:pt x="1083" y="248"/>
                    <a:pt x="1019" y="228"/>
                  </a:cubicBezTo>
                  <a:cubicBezTo>
                    <a:pt x="1015" y="220"/>
                    <a:pt x="1003" y="208"/>
                    <a:pt x="1007" y="200"/>
                  </a:cubicBezTo>
                  <a:cubicBezTo>
                    <a:pt x="1011" y="192"/>
                    <a:pt x="1023" y="176"/>
                    <a:pt x="1023" y="176"/>
                  </a:cubicBezTo>
                  <a:cubicBezTo>
                    <a:pt x="1015" y="144"/>
                    <a:pt x="987" y="164"/>
                    <a:pt x="963" y="172"/>
                  </a:cubicBezTo>
                  <a:cubicBezTo>
                    <a:pt x="947" y="164"/>
                    <a:pt x="931" y="160"/>
                    <a:pt x="915" y="148"/>
                  </a:cubicBezTo>
                  <a:cubicBezTo>
                    <a:pt x="899" y="148"/>
                    <a:pt x="875" y="152"/>
                    <a:pt x="867" y="160"/>
                  </a:cubicBezTo>
                  <a:cubicBezTo>
                    <a:pt x="887" y="188"/>
                    <a:pt x="875" y="196"/>
                    <a:pt x="855" y="208"/>
                  </a:cubicBezTo>
                  <a:cubicBezTo>
                    <a:pt x="851" y="224"/>
                    <a:pt x="843" y="228"/>
                    <a:pt x="827" y="224"/>
                  </a:cubicBezTo>
                  <a:cubicBezTo>
                    <a:pt x="815" y="208"/>
                    <a:pt x="799" y="188"/>
                    <a:pt x="779" y="176"/>
                  </a:cubicBezTo>
                  <a:cubicBezTo>
                    <a:pt x="775" y="164"/>
                    <a:pt x="759" y="140"/>
                    <a:pt x="759" y="140"/>
                  </a:cubicBezTo>
                  <a:cubicBezTo>
                    <a:pt x="803" y="40"/>
                    <a:pt x="751" y="68"/>
                    <a:pt x="679" y="64"/>
                  </a:cubicBezTo>
                  <a:cubicBezTo>
                    <a:pt x="651" y="56"/>
                    <a:pt x="611" y="52"/>
                    <a:pt x="587" y="32"/>
                  </a:cubicBezTo>
                  <a:cubicBezTo>
                    <a:pt x="575" y="24"/>
                    <a:pt x="551" y="4"/>
                    <a:pt x="551" y="4"/>
                  </a:cubicBezTo>
                  <a:cubicBezTo>
                    <a:pt x="540" y="0"/>
                    <a:pt x="534" y="6"/>
                    <a:pt x="522" y="10"/>
                  </a:cubicBezTo>
                  <a:cubicBezTo>
                    <a:pt x="510" y="14"/>
                    <a:pt x="491" y="25"/>
                    <a:pt x="479" y="28"/>
                  </a:cubicBezTo>
                  <a:cubicBezTo>
                    <a:pt x="475" y="32"/>
                    <a:pt x="447" y="31"/>
                    <a:pt x="447" y="31"/>
                  </a:cubicBezTo>
                  <a:cubicBezTo>
                    <a:pt x="427" y="23"/>
                    <a:pt x="408" y="25"/>
                    <a:pt x="388" y="17"/>
                  </a:cubicBezTo>
                  <a:cubicBezTo>
                    <a:pt x="364" y="43"/>
                    <a:pt x="369" y="29"/>
                    <a:pt x="339" y="76"/>
                  </a:cubicBezTo>
                  <a:cubicBezTo>
                    <a:pt x="285" y="88"/>
                    <a:pt x="301" y="89"/>
                    <a:pt x="289" y="100"/>
                  </a:cubicBezTo>
                  <a:cubicBezTo>
                    <a:pt x="263" y="111"/>
                    <a:pt x="222" y="125"/>
                    <a:pt x="183" y="142"/>
                  </a:cubicBezTo>
                  <a:cubicBezTo>
                    <a:pt x="153" y="158"/>
                    <a:pt x="123" y="182"/>
                    <a:pt x="102" y="193"/>
                  </a:cubicBezTo>
                  <a:cubicBezTo>
                    <a:pt x="81" y="204"/>
                    <a:pt x="70" y="194"/>
                    <a:pt x="58" y="211"/>
                  </a:cubicBezTo>
                  <a:cubicBezTo>
                    <a:pt x="18" y="223"/>
                    <a:pt x="13" y="221"/>
                    <a:pt x="0" y="250"/>
                  </a:cubicBezTo>
                  <a:cubicBezTo>
                    <a:pt x="4" y="286"/>
                    <a:pt x="10" y="283"/>
                    <a:pt x="34" y="299"/>
                  </a:cubicBezTo>
                  <a:cubicBezTo>
                    <a:pt x="60" y="314"/>
                    <a:pt x="55" y="328"/>
                    <a:pt x="63" y="352"/>
                  </a:cubicBezTo>
                  <a:cubicBezTo>
                    <a:pt x="59" y="380"/>
                    <a:pt x="60" y="407"/>
                    <a:pt x="83" y="428"/>
                  </a:cubicBezTo>
                  <a:cubicBezTo>
                    <a:pt x="99" y="454"/>
                    <a:pt x="126" y="473"/>
                    <a:pt x="142" y="485"/>
                  </a:cubicBezTo>
                  <a:cubicBezTo>
                    <a:pt x="162" y="513"/>
                    <a:pt x="178" y="529"/>
                    <a:pt x="207" y="541"/>
                  </a:cubicBezTo>
                  <a:cubicBezTo>
                    <a:pt x="223" y="553"/>
                    <a:pt x="212" y="554"/>
                    <a:pt x="228" y="566"/>
                  </a:cubicBezTo>
                  <a:cubicBezTo>
                    <a:pt x="236" y="573"/>
                    <a:pt x="244" y="580"/>
                    <a:pt x="253" y="593"/>
                  </a:cubicBezTo>
                  <a:cubicBezTo>
                    <a:pt x="265" y="598"/>
                    <a:pt x="285" y="590"/>
                    <a:pt x="301" y="604"/>
                  </a:cubicBezTo>
                  <a:cubicBezTo>
                    <a:pt x="325" y="628"/>
                    <a:pt x="325" y="673"/>
                    <a:pt x="346" y="688"/>
                  </a:cubicBezTo>
                  <a:cubicBezTo>
                    <a:pt x="373" y="680"/>
                    <a:pt x="391" y="696"/>
                    <a:pt x="411" y="700"/>
                  </a:cubicBezTo>
                  <a:cubicBezTo>
                    <a:pt x="439" y="703"/>
                    <a:pt x="453" y="691"/>
                    <a:pt x="486" y="695"/>
                  </a:cubicBezTo>
                  <a:cubicBezTo>
                    <a:pt x="494" y="691"/>
                    <a:pt x="508" y="685"/>
                    <a:pt x="508" y="685"/>
                  </a:cubicBezTo>
                  <a:cubicBezTo>
                    <a:pt x="513" y="659"/>
                    <a:pt x="514" y="619"/>
                    <a:pt x="534" y="599"/>
                  </a:cubicBezTo>
                  <a:cubicBezTo>
                    <a:pt x="534" y="587"/>
                    <a:pt x="552" y="578"/>
                    <a:pt x="564" y="574"/>
                  </a:cubicBezTo>
                  <a:cubicBezTo>
                    <a:pt x="580" y="566"/>
                    <a:pt x="600" y="576"/>
                    <a:pt x="616" y="580"/>
                  </a:cubicBezTo>
                  <a:cubicBezTo>
                    <a:pt x="640" y="584"/>
                    <a:pt x="655" y="588"/>
                    <a:pt x="679" y="588"/>
                  </a:cubicBezTo>
                  <a:cubicBezTo>
                    <a:pt x="708" y="593"/>
                    <a:pt x="735" y="593"/>
                    <a:pt x="731" y="608"/>
                  </a:cubicBezTo>
                  <a:cubicBezTo>
                    <a:pt x="747" y="612"/>
                    <a:pt x="759" y="628"/>
                    <a:pt x="783" y="632"/>
                  </a:cubicBezTo>
                  <a:cubicBezTo>
                    <a:pt x="803" y="636"/>
                    <a:pt x="832" y="635"/>
                    <a:pt x="855" y="636"/>
                  </a:cubicBezTo>
                  <a:cubicBezTo>
                    <a:pt x="880" y="640"/>
                    <a:pt x="891" y="641"/>
                    <a:pt x="919" y="637"/>
                  </a:cubicBezTo>
                  <a:cubicBezTo>
                    <a:pt x="935" y="629"/>
                    <a:pt x="931" y="620"/>
                    <a:pt x="939" y="620"/>
                  </a:cubicBezTo>
                  <a:close/>
                </a:path>
              </a:pathLst>
            </a:custGeom>
            <a:solidFill>
              <a:schemeClr val="accent2"/>
            </a:solidFill>
            <a:ln w="3175">
              <a:solidFill>
                <a:schemeClr val="accent2"/>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3" name="Freeform 2541">
              <a:extLst>
                <a:ext uri="{FF2B5EF4-FFF2-40B4-BE49-F238E27FC236}">
                  <a16:creationId xmlns:a16="http://schemas.microsoft.com/office/drawing/2014/main" id="{7FDD716A-FFAC-4B6C-9525-4F38D5FFD3E4}"/>
                </a:ext>
              </a:extLst>
            </p:cNvPr>
            <p:cNvSpPr>
              <a:spLocks noChangeAspect="1"/>
            </p:cNvSpPr>
            <p:nvPr>
              <p:custDataLst>
                <p:tags r:id="rId36"/>
              </p:custDataLst>
            </p:nvPr>
          </p:nvSpPr>
          <p:spPr bwMode="auto">
            <a:xfrm>
              <a:off x="4694732" y="4107609"/>
              <a:ext cx="528370" cy="273493"/>
            </a:xfrm>
            <a:custGeom>
              <a:avLst/>
              <a:gdLst>
                <a:gd name="T0" fmla="*/ 72 w 1474"/>
                <a:gd name="T1" fmla="*/ 471 h 764"/>
                <a:gd name="T2" fmla="*/ 125 w 1474"/>
                <a:gd name="T3" fmla="*/ 501 h 764"/>
                <a:gd name="T4" fmla="*/ 200 w 1474"/>
                <a:gd name="T5" fmla="*/ 474 h 764"/>
                <a:gd name="T6" fmla="*/ 321 w 1474"/>
                <a:gd name="T7" fmla="*/ 497 h 764"/>
                <a:gd name="T8" fmla="*/ 420 w 1474"/>
                <a:gd name="T9" fmla="*/ 428 h 764"/>
                <a:gd name="T10" fmla="*/ 574 w 1474"/>
                <a:gd name="T11" fmla="*/ 420 h 764"/>
                <a:gd name="T12" fmla="*/ 639 w 1474"/>
                <a:gd name="T13" fmla="*/ 420 h 764"/>
                <a:gd name="T14" fmla="*/ 699 w 1474"/>
                <a:gd name="T15" fmla="*/ 450 h 764"/>
                <a:gd name="T16" fmla="*/ 671 w 1474"/>
                <a:gd name="T17" fmla="*/ 401 h 764"/>
                <a:gd name="T18" fmla="*/ 680 w 1474"/>
                <a:gd name="T19" fmla="*/ 234 h 764"/>
                <a:gd name="T20" fmla="*/ 761 w 1474"/>
                <a:gd name="T21" fmla="*/ 149 h 764"/>
                <a:gd name="T22" fmla="*/ 827 w 1474"/>
                <a:gd name="T23" fmla="*/ 116 h 764"/>
                <a:gd name="T24" fmla="*/ 974 w 1474"/>
                <a:gd name="T25" fmla="*/ 120 h 764"/>
                <a:gd name="T26" fmla="*/ 1054 w 1474"/>
                <a:gd name="T27" fmla="*/ 0 h 764"/>
                <a:gd name="T28" fmla="*/ 1410 w 1474"/>
                <a:gd name="T29" fmla="*/ 64 h 764"/>
                <a:gd name="T30" fmla="*/ 1421 w 1474"/>
                <a:gd name="T31" fmla="*/ 116 h 764"/>
                <a:gd name="T32" fmla="*/ 1474 w 1474"/>
                <a:gd name="T33" fmla="*/ 284 h 764"/>
                <a:gd name="T34" fmla="*/ 1338 w 1474"/>
                <a:gd name="T35" fmla="*/ 356 h 764"/>
                <a:gd name="T36" fmla="*/ 1390 w 1474"/>
                <a:gd name="T37" fmla="*/ 424 h 764"/>
                <a:gd name="T38" fmla="*/ 1322 w 1474"/>
                <a:gd name="T39" fmla="*/ 588 h 764"/>
                <a:gd name="T40" fmla="*/ 1222 w 1474"/>
                <a:gd name="T41" fmla="*/ 660 h 764"/>
                <a:gd name="T42" fmla="*/ 1174 w 1474"/>
                <a:gd name="T43" fmla="*/ 692 h 764"/>
                <a:gd name="T44" fmla="*/ 1066 w 1474"/>
                <a:gd name="T45" fmla="*/ 720 h 764"/>
                <a:gd name="T46" fmla="*/ 807 w 1474"/>
                <a:gd name="T47" fmla="*/ 737 h 764"/>
                <a:gd name="T48" fmla="*/ 578 w 1474"/>
                <a:gd name="T49" fmla="*/ 688 h 764"/>
                <a:gd name="T50" fmla="*/ 530 w 1474"/>
                <a:gd name="T51" fmla="*/ 620 h 764"/>
                <a:gd name="T52" fmla="*/ 438 w 1474"/>
                <a:gd name="T53" fmla="*/ 608 h 764"/>
                <a:gd name="T54" fmla="*/ 310 w 1474"/>
                <a:gd name="T55" fmla="*/ 656 h 764"/>
                <a:gd name="T56" fmla="*/ 214 w 1474"/>
                <a:gd name="T57" fmla="*/ 650 h 764"/>
                <a:gd name="T58" fmla="*/ 142 w 1474"/>
                <a:gd name="T59" fmla="*/ 632 h 764"/>
                <a:gd name="T60" fmla="*/ 71 w 1474"/>
                <a:gd name="T61" fmla="*/ 627 h 764"/>
                <a:gd name="T62" fmla="*/ 0 w 1474"/>
                <a:gd name="T63" fmla="*/ 552 h 7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74"/>
                <a:gd name="T97" fmla="*/ 0 h 764"/>
                <a:gd name="T98" fmla="*/ 1474 w 1474"/>
                <a:gd name="T99" fmla="*/ 764 h 7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solidFill>
              <a:schemeClr val="accent2"/>
            </a:solidFill>
            <a:ln w="3175">
              <a:solidFill>
                <a:schemeClr val="accent2"/>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4" name="Freeform 2542">
              <a:extLst>
                <a:ext uri="{FF2B5EF4-FFF2-40B4-BE49-F238E27FC236}">
                  <a16:creationId xmlns:a16="http://schemas.microsoft.com/office/drawing/2014/main" id="{32E938A3-516A-449E-806D-F32AB550F81B}"/>
                </a:ext>
              </a:extLst>
            </p:cNvPr>
            <p:cNvSpPr>
              <a:spLocks noChangeAspect="1"/>
            </p:cNvSpPr>
            <p:nvPr>
              <p:custDataLst>
                <p:tags r:id="rId37"/>
              </p:custDataLst>
            </p:nvPr>
          </p:nvSpPr>
          <p:spPr bwMode="auto">
            <a:xfrm>
              <a:off x="4438423" y="4239344"/>
              <a:ext cx="330769" cy="216217"/>
            </a:xfrm>
            <a:custGeom>
              <a:avLst/>
              <a:gdLst>
                <a:gd name="T0" fmla="*/ 328 w 925"/>
                <a:gd name="T1" fmla="*/ 78 h 605"/>
                <a:gd name="T2" fmla="*/ 428 w 925"/>
                <a:gd name="T3" fmla="*/ 82 h 605"/>
                <a:gd name="T4" fmla="*/ 513 w 925"/>
                <a:gd name="T5" fmla="*/ 69 h 605"/>
                <a:gd name="T6" fmla="*/ 535 w 925"/>
                <a:gd name="T7" fmla="*/ 48 h 605"/>
                <a:gd name="T8" fmla="*/ 500 w 925"/>
                <a:gd name="T9" fmla="*/ 30 h 605"/>
                <a:gd name="T10" fmla="*/ 528 w 925"/>
                <a:gd name="T11" fmla="*/ 10 h 605"/>
                <a:gd name="T12" fmla="*/ 567 w 925"/>
                <a:gd name="T13" fmla="*/ 26 h 605"/>
                <a:gd name="T14" fmla="*/ 596 w 925"/>
                <a:gd name="T15" fmla="*/ 62 h 605"/>
                <a:gd name="T16" fmla="*/ 633 w 925"/>
                <a:gd name="T17" fmla="*/ 42 h 605"/>
                <a:gd name="T18" fmla="*/ 685 w 925"/>
                <a:gd name="T19" fmla="*/ 50 h 605"/>
                <a:gd name="T20" fmla="*/ 744 w 925"/>
                <a:gd name="T21" fmla="*/ 80 h 605"/>
                <a:gd name="T22" fmla="*/ 720 w 925"/>
                <a:gd name="T23" fmla="*/ 182 h 605"/>
                <a:gd name="T24" fmla="*/ 752 w 925"/>
                <a:gd name="T25" fmla="*/ 226 h 605"/>
                <a:gd name="T26" fmla="*/ 788 w 925"/>
                <a:gd name="T27" fmla="*/ 254 h 605"/>
                <a:gd name="T28" fmla="*/ 808 w 925"/>
                <a:gd name="T29" fmla="*/ 294 h 605"/>
                <a:gd name="T30" fmla="*/ 880 w 925"/>
                <a:gd name="T31" fmla="*/ 258 h 605"/>
                <a:gd name="T32" fmla="*/ 898 w 925"/>
                <a:gd name="T33" fmla="*/ 281 h 605"/>
                <a:gd name="T34" fmla="*/ 924 w 925"/>
                <a:gd name="T35" fmla="*/ 282 h 605"/>
                <a:gd name="T36" fmla="*/ 903 w 925"/>
                <a:gd name="T37" fmla="*/ 300 h 605"/>
                <a:gd name="T38" fmla="*/ 888 w 925"/>
                <a:gd name="T39" fmla="*/ 350 h 605"/>
                <a:gd name="T40" fmla="*/ 838 w 925"/>
                <a:gd name="T41" fmla="*/ 374 h 605"/>
                <a:gd name="T42" fmla="*/ 823 w 925"/>
                <a:gd name="T43" fmla="*/ 419 h 605"/>
                <a:gd name="T44" fmla="*/ 792 w 925"/>
                <a:gd name="T45" fmla="*/ 434 h 605"/>
                <a:gd name="T46" fmla="*/ 744 w 925"/>
                <a:gd name="T47" fmla="*/ 470 h 605"/>
                <a:gd name="T48" fmla="*/ 709 w 925"/>
                <a:gd name="T49" fmla="*/ 435 h 605"/>
                <a:gd name="T50" fmla="*/ 693 w 925"/>
                <a:gd name="T51" fmla="*/ 417 h 605"/>
                <a:gd name="T52" fmla="*/ 655 w 925"/>
                <a:gd name="T53" fmla="*/ 453 h 605"/>
                <a:gd name="T54" fmla="*/ 610 w 925"/>
                <a:gd name="T55" fmla="*/ 534 h 605"/>
                <a:gd name="T56" fmla="*/ 583 w 925"/>
                <a:gd name="T57" fmla="*/ 605 h 605"/>
                <a:gd name="T58" fmla="*/ 555 w 925"/>
                <a:gd name="T59" fmla="*/ 515 h 605"/>
                <a:gd name="T60" fmla="*/ 528 w 925"/>
                <a:gd name="T61" fmla="*/ 495 h 605"/>
                <a:gd name="T62" fmla="*/ 525 w 925"/>
                <a:gd name="T63" fmla="*/ 476 h 605"/>
                <a:gd name="T64" fmla="*/ 496 w 925"/>
                <a:gd name="T65" fmla="*/ 438 h 605"/>
                <a:gd name="T66" fmla="*/ 464 w 925"/>
                <a:gd name="T67" fmla="*/ 458 h 605"/>
                <a:gd name="T68" fmla="*/ 432 w 925"/>
                <a:gd name="T69" fmla="*/ 498 h 605"/>
                <a:gd name="T70" fmla="*/ 411 w 925"/>
                <a:gd name="T71" fmla="*/ 540 h 605"/>
                <a:gd name="T72" fmla="*/ 360 w 925"/>
                <a:gd name="T73" fmla="*/ 546 h 605"/>
                <a:gd name="T74" fmla="*/ 286 w 925"/>
                <a:gd name="T75" fmla="*/ 548 h 605"/>
                <a:gd name="T76" fmla="*/ 248 w 925"/>
                <a:gd name="T77" fmla="*/ 566 h 605"/>
                <a:gd name="T78" fmla="*/ 198 w 925"/>
                <a:gd name="T79" fmla="*/ 552 h 605"/>
                <a:gd name="T80" fmla="*/ 188 w 925"/>
                <a:gd name="T81" fmla="*/ 534 h 605"/>
                <a:gd name="T82" fmla="*/ 168 w 925"/>
                <a:gd name="T83" fmla="*/ 473 h 605"/>
                <a:gd name="T84" fmla="*/ 128 w 925"/>
                <a:gd name="T85" fmla="*/ 422 h 605"/>
                <a:gd name="T86" fmla="*/ 44 w 925"/>
                <a:gd name="T87" fmla="*/ 438 h 605"/>
                <a:gd name="T88" fmla="*/ 0 w 925"/>
                <a:gd name="T89" fmla="*/ 494 h 605"/>
                <a:gd name="T90" fmla="*/ 24 w 925"/>
                <a:gd name="T91" fmla="*/ 414 h 605"/>
                <a:gd name="T92" fmla="*/ 36 w 925"/>
                <a:gd name="T93" fmla="*/ 351 h 605"/>
                <a:gd name="T94" fmla="*/ 94 w 925"/>
                <a:gd name="T95" fmla="*/ 299 h 605"/>
                <a:gd name="T96" fmla="*/ 136 w 925"/>
                <a:gd name="T97" fmla="*/ 245 h 605"/>
                <a:gd name="T98" fmla="*/ 184 w 925"/>
                <a:gd name="T99" fmla="*/ 174 h 605"/>
                <a:gd name="T100" fmla="*/ 198 w 925"/>
                <a:gd name="T101" fmla="*/ 134 h 605"/>
                <a:gd name="T102" fmla="*/ 225 w 925"/>
                <a:gd name="T103" fmla="*/ 81 h 605"/>
                <a:gd name="T104" fmla="*/ 276 w 925"/>
                <a:gd name="T105" fmla="*/ 87 h 605"/>
                <a:gd name="T106" fmla="*/ 328 w 925"/>
                <a:gd name="T107" fmla="*/ 78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5"/>
                <a:gd name="T163" fmla="*/ 0 h 605"/>
                <a:gd name="T164" fmla="*/ 925 w 925"/>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solidFill>
              <a:schemeClr val="accent2"/>
            </a:solidFill>
            <a:ln w="3175">
              <a:solidFill>
                <a:schemeClr val="accent2"/>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5" name="Group 2543">
              <a:extLst>
                <a:ext uri="{FF2B5EF4-FFF2-40B4-BE49-F238E27FC236}">
                  <a16:creationId xmlns:a16="http://schemas.microsoft.com/office/drawing/2014/main" id="{D8B34750-0E2B-4D9D-B888-736E148F6547}"/>
                </a:ext>
              </a:extLst>
            </p:cNvPr>
            <p:cNvGrpSpPr>
              <a:grpSpLocks/>
            </p:cNvGrpSpPr>
            <p:nvPr>
              <p:custDataLst>
                <p:tags r:id="rId38"/>
              </p:custDataLst>
            </p:nvPr>
          </p:nvGrpSpPr>
          <p:grpSpPr bwMode="auto">
            <a:xfrm>
              <a:off x="3712451" y="3879938"/>
              <a:ext cx="985145" cy="1033830"/>
              <a:chOff x="-144" y="5643"/>
              <a:chExt cx="2751" cy="2887"/>
            </a:xfrm>
          </p:grpSpPr>
          <p:sp>
            <p:nvSpPr>
              <p:cNvPr id="267" name="Freeform 2544">
                <a:extLst>
                  <a:ext uri="{FF2B5EF4-FFF2-40B4-BE49-F238E27FC236}">
                    <a16:creationId xmlns:a16="http://schemas.microsoft.com/office/drawing/2014/main" id="{A5C63469-9017-46ED-857B-F832BC27756A}"/>
                  </a:ext>
                </a:extLst>
              </p:cNvPr>
              <p:cNvSpPr>
                <a:spLocks noChangeAspect="1"/>
              </p:cNvSpPr>
              <p:nvPr/>
            </p:nvSpPr>
            <p:spPr bwMode="auto">
              <a:xfrm>
                <a:off x="372" y="6943"/>
                <a:ext cx="68" cy="203"/>
              </a:xfrm>
              <a:custGeom>
                <a:avLst/>
                <a:gdLst>
                  <a:gd name="T0" fmla="*/ 5 w 17"/>
                  <a:gd name="T1" fmla="*/ 11 h 51"/>
                  <a:gd name="T2" fmla="*/ 11 w 17"/>
                  <a:gd name="T3" fmla="*/ 20 h 51"/>
                  <a:gd name="T4" fmla="*/ 9 w 17"/>
                  <a:gd name="T5" fmla="*/ 40 h 51"/>
                  <a:gd name="T6" fmla="*/ 5 w 17"/>
                  <a:gd name="T7" fmla="*/ 11 h 51"/>
                  <a:gd name="T8" fmla="*/ 0 60000 65536"/>
                  <a:gd name="T9" fmla="*/ 0 60000 65536"/>
                  <a:gd name="T10" fmla="*/ 0 60000 65536"/>
                  <a:gd name="T11" fmla="*/ 0 60000 65536"/>
                  <a:gd name="T12" fmla="*/ 0 w 17"/>
                  <a:gd name="T13" fmla="*/ 0 h 51"/>
                  <a:gd name="T14" fmla="*/ 17 w 17"/>
                  <a:gd name="T15" fmla="*/ 51 h 51"/>
                </a:gdLst>
                <a:ahLst/>
                <a:cxnLst>
                  <a:cxn ang="T8">
                    <a:pos x="T0" y="T1"/>
                  </a:cxn>
                  <a:cxn ang="T9">
                    <a:pos x="T2" y="T3"/>
                  </a:cxn>
                  <a:cxn ang="T10">
                    <a:pos x="T4" y="T5"/>
                  </a:cxn>
                  <a:cxn ang="T11">
                    <a:pos x="T6" y="T7"/>
                  </a:cxn>
                </a:cxnLst>
                <a:rect l="T12" t="T13" r="T14" b="T15"/>
                <a:pathLst>
                  <a:path w="17" h="51">
                    <a:moveTo>
                      <a:pt x="5" y="11"/>
                    </a:moveTo>
                    <a:cubicBezTo>
                      <a:pt x="8" y="14"/>
                      <a:pt x="9" y="17"/>
                      <a:pt x="11" y="20"/>
                    </a:cubicBezTo>
                    <a:cubicBezTo>
                      <a:pt x="12" y="26"/>
                      <a:pt x="17" y="51"/>
                      <a:pt x="9" y="40"/>
                    </a:cubicBezTo>
                    <a:cubicBezTo>
                      <a:pt x="8" y="35"/>
                      <a:pt x="0" y="0"/>
                      <a:pt x="5" y="11"/>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8" name="Freeform 2545">
                <a:extLst>
                  <a:ext uri="{FF2B5EF4-FFF2-40B4-BE49-F238E27FC236}">
                    <a16:creationId xmlns:a16="http://schemas.microsoft.com/office/drawing/2014/main" id="{4F9053BA-D20F-4A64-8A3E-C4ABEC9FD978}"/>
                  </a:ext>
                </a:extLst>
              </p:cNvPr>
              <p:cNvSpPr>
                <a:spLocks noChangeAspect="1"/>
              </p:cNvSpPr>
              <p:nvPr/>
            </p:nvSpPr>
            <p:spPr bwMode="auto">
              <a:xfrm>
                <a:off x="364" y="6911"/>
                <a:ext cx="76" cy="52"/>
              </a:xfrm>
              <a:custGeom>
                <a:avLst/>
                <a:gdLst>
                  <a:gd name="T0" fmla="*/ 0 w 19"/>
                  <a:gd name="T1" fmla="*/ 0 h 13"/>
                  <a:gd name="T2" fmla="*/ 16 w 19"/>
                  <a:gd name="T3" fmla="*/ 13 h 13"/>
                  <a:gd name="T4" fmla="*/ 0 w 19"/>
                  <a:gd name="T5" fmla="*/ 0 h 13"/>
                  <a:gd name="T6" fmla="*/ 0 60000 65536"/>
                  <a:gd name="T7" fmla="*/ 0 60000 65536"/>
                  <a:gd name="T8" fmla="*/ 0 60000 65536"/>
                  <a:gd name="T9" fmla="*/ 0 w 19"/>
                  <a:gd name="T10" fmla="*/ 0 h 13"/>
                  <a:gd name="T11" fmla="*/ 19 w 19"/>
                  <a:gd name="T12" fmla="*/ 13 h 13"/>
                </a:gdLst>
                <a:ahLst/>
                <a:cxnLst>
                  <a:cxn ang="T6">
                    <a:pos x="T0" y="T1"/>
                  </a:cxn>
                  <a:cxn ang="T7">
                    <a:pos x="T2" y="T3"/>
                  </a:cxn>
                  <a:cxn ang="T8">
                    <a:pos x="T4" y="T5"/>
                  </a:cxn>
                </a:cxnLst>
                <a:rect l="T9" t="T10" r="T11" b="T12"/>
                <a:pathLst>
                  <a:path w="19" h="13">
                    <a:moveTo>
                      <a:pt x="0" y="0"/>
                    </a:moveTo>
                    <a:cubicBezTo>
                      <a:pt x="7" y="3"/>
                      <a:pt x="10" y="11"/>
                      <a:pt x="16" y="13"/>
                    </a:cubicBezTo>
                    <a:cubicBezTo>
                      <a:pt x="19" y="2"/>
                      <a:pt x="9" y="0"/>
                      <a:pt x="0" y="0"/>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9" name="Freeform 2546">
                <a:extLst>
                  <a:ext uri="{FF2B5EF4-FFF2-40B4-BE49-F238E27FC236}">
                    <a16:creationId xmlns:a16="http://schemas.microsoft.com/office/drawing/2014/main" id="{0AFBF810-0378-4D6D-9E39-D7D4CE65447F}"/>
                  </a:ext>
                </a:extLst>
              </p:cNvPr>
              <p:cNvSpPr>
                <a:spLocks noChangeAspect="1"/>
              </p:cNvSpPr>
              <p:nvPr/>
            </p:nvSpPr>
            <p:spPr bwMode="auto">
              <a:xfrm>
                <a:off x="2347" y="8050"/>
                <a:ext cx="260" cy="480"/>
              </a:xfrm>
              <a:custGeom>
                <a:avLst/>
                <a:gdLst>
                  <a:gd name="T0" fmla="*/ 49 w 65"/>
                  <a:gd name="T1" fmla="*/ 27 h 120"/>
                  <a:gd name="T2" fmla="*/ 57 w 65"/>
                  <a:gd name="T3" fmla="*/ 0 h 120"/>
                  <a:gd name="T4" fmla="*/ 56 w 65"/>
                  <a:gd name="T5" fmla="*/ 25 h 120"/>
                  <a:gd name="T6" fmla="*/ 61 w 65"/>
                  <a:gd name="T7" fmla="*/ 36 h 120"/>
                  <a:gd name="T8" fmla="*/ 60 w 65"/>
                  <a:gd name="T9" fmla="*/ 72 h 120"/>
                  <a:gd name="T10" fmla="*/ 55 w 65"/>
                  <a:gd name="T11" fmla="*/ 85 h 120"/>
                  <a:gd name="T12" fmla="*/ 54 w 65"/>
                  <a:gd name="T13" fmla="*/ 88 h 120"/>
                  <a:gd name="T14" fmla="*/ 51 w 65"/>
                  <a:gd name="T15" fmla="*/ 103 h 120"/>
                  <a:gd name="T16" fmla="*/ 44 w 65"/>
                  <a:gd name="T17" fmla="*/ 120 h 120"/>
                  <a:gd name="T18" fmla="*/ 24 w 65"/>
                  <a:gd name="T19" fmla="*/ 106 h 120"/>
                  <a:gd name="T20" fmla="*/ 22 w 65"/>
                  <a:gd name="T21" fmla="*/ 103 h 120"/>
                  <a:gd name="T22" fmla="*/ 24 w 65"/>
                  <a:gd name="T23" fmla="*/ 99 h 120"/>
                  <a:gd name="T24" fmla="*/ 19 w 65"/>
                  <a:gd name="T25" fmla="*/ 94 h 120"/>
                  <a:gd name="T26" fmla="*/ 19 w 65"/>
                  <a:gd name="T27" fmla="*/ 78 h 120"/>
                  <a:gd name="T28" fmla="*/ 13 w 65"/>
                  <a:gd name="T29" fmla="*/ 79 h 120"/>
                  <a:gd name="T30" fmla="*/ 18 w 65"/>
                  <a:gd name="T31" fmla="*/ 67 h 120"/>
                  <a:gd name="T32" fmla="*/ 10 w 65"/>
                  <a:gd name="T33" fmla="*/ 52 h 120"/>
                  <a:gd name="T34" fmla="*/ 18 w 65"/>
                  <a:gd name="T35" fmla="*/ 34 h 120"/>
                  <a:gd name="T36" fmla="*/ 37 w 65"/>
                  <a:gd name="T37" fmla="*/ 23 h 120"/>
                  <a:gd name="T38" fmla="*/ 49 w 65"/>
                  <a:gd name="T39" fmla="*/ 24 h 120"/>
                  <a:gd name="T40" fmla="*/ 49 w 65"/>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120"/>
                  <a:gd name="T65" fmla="*/ 65 w 65"/>
                  <a:gd name="T66" fmla="*/ 120 h 1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70" name="Freeform 2547">
                <a:extLst>
                  <a:ext uri="{FF2B5EF4-FFF2-40B4-BE49-F238E27FC236}">
                    <a16:creationId xmlns:a16="http://schemas.microsoft.com/office/drawing/2014/main" id="{D48EAD34-73BD-4AD6-B0B7-8F0761EA1A09}"/>
                  </a:ext>
                </a:extLst>
              </p:cNvPr>
              <p:cNvSpPr>
                <a:spLocks noChangeAspect="1"/>
              </p:cNvSpPr>
              <p:nvPr/>
            </p:nvSpPr>
            <p:spPr bwMode="auto">
              <a:xfrm>
                <a:off x="-144" y="5643"/>
                <a:ext cx="2501" cy="2523"/>
              </a:xfrm>
              <a:custGeom>
                <a:avLst/>
                <a:gdLst>
                  <a:gd name="T0" fmla="*/ 1303 w 2501"/>
                  <a:gd name="T1" fmla="*/ 28 h 2523"/>
                  <a:gd name="T2" fmla="*/ 1044 w 2501"/>
                  <a:gd name="T3" fmla="*/ 308 h 2523"/>
                  <a:gd name="T4" fmla="*/ 920 w 2501"/>
                  <a:gd name="T5" fmla="*/ 436 h 2523"/>
                  <a:gd name="T6" fmla="*/ 728 w 2501"/>
                  <a:gd name="T7" fmla="*/ 380 h 2523"/>
                  <a:gd name="T8" fmla="*/ 588 w 2501"/>
                  <a:gd name="T9" fmla="*/ 344 h 2523"/>
                  <a:gd name="T10" fmla="*/ 560 w 2501"/>
                  <a:gd name="T11" fmla="*/ 584 h 2523"/>
                  <a:gd name="T12" fmla="*/ 164 w 2501"/>
                  <a:gd name="T13" fmla="*/ 508 h 2523"/>
                  <a:gd name="T14" fmla="*/ 60 w 2501"/>
                  <a:gd name="T15" fmla="*/ 584 h 2523"/>
                  <a:gd name="T16" fmla="*/ 12 w 2501"/>
                  <a:gd name="T17" fmla="*/ 680 h 2523"/>
                  <a:gd name="T18" fmla="*/ 100 w 2501"/>
                  <a:gd name="T19" fmla="*/ 720 h 2523"/>
                  <a:gd name="T20" fmla="*/ 284 w 2501"/>
                  <a:gd name="T21" fmla="*/ 872 h 2523"/>
                  <a:gd name="T22" fmla="*/ 404 w 2501"/>
                  <a:gd name="T23" fmla="*/ 948 h 2523"/>
                  <a:gd name="T24" fmla="*/ 412 w 2501"/>
                  <a:gd name="T25" fmla="*/ 1032 h 2523"/>
                  <a:gd name="T26" fmla="*/ 500 w 2501"/>
                  <a:gd name="T27" fmla="*/ 1204 h 2523"/>
                  <a:gd name="T28" fmla="*/ 608 w 2501"/>
                  <a:gd name="T29" fmla="*/ 1315 h 2523"/>
                  <a:gd name="T30" fmla="*/ 644 w 2501"/>
                  <a:gd name="T31" fmla="*/ 1559 h 2523"/>
                  <a:gd name="T32" fmla="*/ 620 w 2501"/>
                  <a:gd name="T33" fmla="*/ 1607 h 2523"/>
                  <a:gd name="T34" fmla="*/ 504 w 2501"/>
                  <a:gd name="T35" fmla="*/ 1651 h 2523"/>
                  <a:gd name="T36" fmla="*/ 444 w 2501"/>
                  <a:gd name="T37" fmla="*/ 1919 h 2523"/>
                  <a:gd name="T38" fmla="*/ 381 w 2501"/>
                  <a:gd name="T39" fmla="*/ 2100 h 2523"/>
                  <a:gd name="T40" fmla="*/ 528 w 2501"/>
                  <a:gd name="T41" fmla="*/ 2251 h 2523"/>
                  <a:gd name="T42" fmla="*/ 788 w 2501"/>
                  <a:gd name="T43" fmla="*/ 2383 h 2523"/>
                  <a:gd name="T44" fmla="*/ 988 w 2501"/>
                  <a:gd name="T45" fmla="*/ 2407 h 2523"/>
                  <a:gd name="T46" fmla="*/ 1196 w 2501"/>
                  <a:gd name="T47" fmla="*/ 2502 h 2523"/>
                  <a:gd name="T48" fmla="*/ 1347 w 2501"/>
                  <a:gd name="T49" fmla="*/ 2335 h 2523"/>
                  <a:gd name="T50" fmla="*/ 1779 w 2501"/>
                  <a:gd name="T51" fmla="*/ 2283 h 2523"/>
                  <a:gd name="T52" fmla="*/ 2155 w 2501"/>
                  <a:gd name="T53" fmla="*/ 2299 h 2523"/>
                  <a:gd name="T54" fmla="*/ 2311 w 2501"/>
                  <a:gd name="T55" fmla="*/ 2183 h 2523"/>
                  <a:gd name="T56" fmla="*/ 2243 w 2501"/>
                  <a:gd name="T57" fmla="*/ 2071 h 2523"/>
                  <a:gd name="T58" fmla="*/ 2167 w 2501"/>
                  <a:gd name="T59" fmla="*/ 1855 h 2523"/>
                  <a:gd name="T60" fmla="*/ 2243 w 2501"/>
                  <a:gd name="T61" fmla="*/ 1733 h 2523"/>
                  <a:gd name="T62" fmla="*/ 2211 w 2501"/>
                  <a:gd name="T63" fmla="*/ 1581 h 2523"/>
                  <a:gd name="T64" fmla="*/ 2215 w 2501"/>
                  <a:gd name="T65" fmla="*/ 1543 h 2523"/>
                  <a:gd name="T66" fmla="*/ 2075 w 2501"/>
                  <a:gd name="T67" fmla="*/ 1439 h 2523"/>
                  <a:gd name="T68" fmla="*/ 2071 w 2501"/>
                  <a:gd name="T69" fmla="*/ 1339 h 2523"/>
                  <a:gd name="T70" fmla="*/ 2219 w 2501"/>
                  <a:gd name="T71" fmla="*/ 1156 h 2523"/>
                  <a:gd name="T72" fmla="*/ 2363 w 2501"/>
                  <a:gd name="T73" fmla="*/ 1082 h 2523"/>
                  <a:gd name="T74" fmla="*/ 2418 w 2501"/>
                  <a:gd name="T75" fmla="*/ 758 h 2523"/>
                  <a:gd name="T76" fmla="*/ 2307 w 2501"/>
                  <a:gd name="T77" fmla="*/ 608 h 2523"/>
                  <a:gd name="T78" fmla="*/ 2123 w 2501"/>
                  <a:gd name="T79" fmla="*/ 512 h 2523"/>
                  <a:gd name="T80" fmla="*/ 1947 w 2501"/>
                  <a:gd name="T81" fmla="*/ 452 h 2523"/>
                  <a:gd name="T82" fmla="*/ 1862 w 2501"/>
                  <a:gd name="T83" fmla="*/ 299 h 2523"/>
                  <a:gd name="T84" fmla="*/ 1665 w 2501"/>
                  <a:gd name="T85" fmla="*/ 234 h 2523"/>
                  <a:gd name="T86" fmla="*/ 1519 w 2501"/>
                  <a:gd name="T87" fmla="*/ 100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46" name="Freeform 2548">
              <a:extLst>
                <a:ext uri="{FF2B5EF4-FFF2-40B4-BE49-F238E27FC236}">
                  <a16:creationId xmlns:a16="http://schemas.microsoft.com/office/drawing/2014/main" id="{6168CB48-0BAB-45E1-A8B1-980BE1589DED}"/>
                </a:ext>
              </a:extLst>
            </p:cNvPr>
            <p:cNvSpPr>
              <a:spLocks noChangeAspect="1"/>
            </p:cNvSpPr>
            <p:nvPr>
              <p:custDataLst>
                <p:tags r:id="rId39"/>
              </p:custDataLst>
            </p:nvPr>
          </p:nvSpPr>
          <p:spPr bwMode="auto">
            <a:xfrm>
              <a:off x="4240822" y="3844140"/>
              <a:ext cx="246286" cy="217648"/>
            </a:xfrm>
            <a:custGeom>
              <a:avLst/>
              <a:gdLst>
                <a:gd name="T0" fmla="*/ 181 w 691"/>
                <a:gd name="T1" fmla="*/ 0 h 607"/>
                <a:gd name="T2" fmla="*/ 187 w 691"/>
                <a:gd name="T3" fmla="*/ 20 h 607"/>
                <a:gd name="T4" fmla="*/ 214 w 691"/>
                <a:gd name="T5" fmla="*/ 33 h 607"/>
                <a:gd name="T6" fmla="*/ 237 w 691"/>
                <a:gd name="T7" fmla="*/ 53 h 607"/>
                <a:gd name="T8" fmla="*/ 312 w 691"/>
                <a:gd name="T9" fmla="*/ 31 h 607"/>
                <a:gd name="T10" fmla="*/ 358 w 691"/>
                <a:gd name="T11" fmla="*/ 11 h 607"/>
                <a:gd name="T12" fmla="*/ 375 w 691"/>
                <a:gd name="T13" fmla="*/ 14 h 607"/>
                <a:gd name="T14" fmla="*/ 474 w 691"/>
                <a:gd name="T15" fmla="*/ 39 h 607"/>
                <a:gd name="T16" fmla="*/ 521 w 691"/>
                <a:gd name="T17" fmla="*/ 84 h 607"/>
                <a:gd name="T18" fmla="*/ 597 w 691"/>
                <a:gd name="T19" fmla="*/ 119 h 607"/>
                <a:gd name="T20" fmla="*/ 558 w 691"/>
                <a:gd name="T21" fmla="*/ 209 h 607"/>
                <a:gd name="T22" fmla="*/ 627 w 691"/>
                <a:gd name="T23" fmla="*/ 224 h 607"/>
                <a:gd name="T24" fmla="*/ 649 w 691"/>
                <a:gd name="T25" fmla="*/ 287 h 607"/>
                <a:gd name="T26" fmla="*/ 688 w 691"/>
                <a:gd name="T27" fmla="*/ 353 h 607"/>
                <a:gd name="T28" fmla="*/ 661 w 691"/>
                <a:gd name="T29" fmla="*/ 374 h 607"/>
                <a:gd name="T30" fmla="*/ 642 w 691"/>
                <a:gd name="T31" fmla="*/ 431 h 607"/>
                <a:gd name="T32" fmla="*/ 591 w 691"/>
                <a:gd name="T33" fmla="*/ 441 h 607"/>
                <a:gd name="T34" fmla="*/ 572 w 691"/>
                <a:gd name="T35" fmla="*/ 491 h 607"/>
                <a:gd name="T36" fmla="*/ 561 w 691"/>
                <a:gd name="T37" fmla="*/ 602 h 607"/>
                <a:gd name="T38" fmla="*/ 540 w 691"/>
                <a:gd name="T39" fmla="*/ 607 h 607"/>
                <a:gd name="T40" fmla="*/ 476 w 691"/>
                <a:gd name="T41" fmla="*/ 551 h 607"/>
                <a:gd name="T42" fmla="*/ 404 w 691"/>
                <a:gd name="T43" fmla="*/ 507 h 607"/>
                <a:gd name="T44" fmla="*/ 384 w 691"/>
                <a:gd name="T45" fmla="*/ 443 h 607"/>
                <a:gd name="T46" fmla="*/ 396 w 691"/>
                <a:gd name="T47" fmla="*/ 411 h 607"/>
                <a:gd name="T48" fmla="*/ 360 w 691"/>
                <a:gd name="T49" fmla="*/ 431 h 607"/>
                <a:gd name="T50" fmla="*/ 324 w 691"/>
                <a:gd name="T51" fmla="*/ 463 h 607"/>
                <a:gd name="T52" fmla="*/ 288 w 691"/>
                <a:gd name="T53" fmla="*/ 455 h 607"/>
                <a:gd name="T54" fmla="*/ 272 w 691"/>
                <a:gd name="T55" fmla="*/ 407 h 607"/>
                <a:gd name="T56" fmla="*/ 192 w 691"/>
                <a:gd name="T57" fmla="*/ 335 h 607"/>
                <a:gd name="T58" fmla="*/ 120 w 691"/>
                <a:gd name="T59" fmla="*/ 271 h 607"/>
                <a:gd name="T60" fmla="*/ 72 w 691"/>
                <a:gd name="T61" fmla="*/ 195 h 607"/>
                <a:gd name="T62" fmla="*/ 24 w 691"/>
                <a:gd name="T63" fmla="*/ 191 h 607"/>
                <a:gd name="T64" fmla="*/ 12 w 691"/>
                <a:gd name="T65" fmla="*/ 155 h 607"/>
                <a:gd name="T66" fmla="*/ 32 w 691"/>
                <a:gd name="T67" fmla="*/ 83 h 607"/>
                <a:gd name="T68" fmla="*/ 88 w 691"/>
                <a:gd name="T69" fmla="*/ 47 h 607"/>
                <a:gd name="T70" fmla="*/ 152 w 691"/>
                <a:gd name="T71" fmla="*/ 15 h 607"/>
                <a:gd name="T72" fmla="*/ 181 w 691"/>
                <a:gd name="T73" fmla="*/ 0 h 6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1"/>
                <a:gd name="T112" fmla="*/ 0 h 607"/>
                <a:gd name="T113" fmla="*/ 691 w 691"/>
                <a:gd name="T114" fmla="*/ 607 h 6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7" name="Freeform 2549">
              <a:extLst>
                <a:ext uri="{FF2B5EF4-FFF2-40B4-BE49-F238E27FC236}">
                  <a16:creationId xmlns:a16="http://schemas.microsoft.com/office/drawing/2014/main" id="{06E15989-2DC5-4313-8395-45AFE17D4127}"/>
                </a:ext>
              </a:extLst>
            </p:cNvPr>
            <p:cNvSpPr>
              <a:spLocks noChangeAspect="1"/>
            </p:cNvSpPr>
            <p:nvPr>
              <p:custDataLst>
                <p:tags r:id="rId40"/>
              </p:custDataLst>
            </p:nvPr>
          </p:nvSpPr>
          <p:spPr bwMode="auto">
            <a:xfrm>
              <a:off x="4436991" y="3998785"/>
              <a:ext cx="54412" cy="71595"/>
            </a:xfrm>
            <a:custGeom>
              <a:avLst/>
              <a:gdLst>
                <a:gd name="T0" fmla="*/ 95 w 153"/>
                <a:gd name="T1" fmla="*/ 0 h 200"/>
                <a:gd name="T2" fmla="*/ 23 w 153"/>
                <a:gd name="T3" fmla="*/ 56 h 200"/>
                <a:gd name="T4" fmla="*/ 11 w 153"/>
                <a:gd name="T5" fmla="*/ 168 h 200"/>
                <a:gd name="T6" fmla="*/ 51 w 153"/>
                <a:gd name="T7" fmla="*/ 184 h 200"/>
                <a:gd name="T8" fmla="*/ 130 w 153"/>
                <a:gd name="T9" fmla="*/ 178 h 200"/>
                <a:gd name="T10" fmla="*/ 147 w 153"/>
                <a:gd name="T11" fmla="*/ 120 h 200"/>
                <a:gd name="T12" fmla="*/ 127 w 153"/>
                <a:gd name="T13" fmla="*/ 63 h 200"/>
                <a:gd name="T14" fmla="*/ 95 w 153"/>
                <a:gd name="T15" fmla="*/ 28 h 200"/>
                <a:gd name="T16" fmla="*/ 95 w 153"/>
                <a:gd name="T17" fmla="*/ 0 h 2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200"/>
                <a:gd name="T29" fmla="*/ 153 w 153"/>
                <a:gd name="T30" fmla="*/ 200 h 2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8" name="Group 2550">
              <a:extLst>
                <a:ext uri="{FF2B5EF4-FFF2-40B4-BE49-F238E27FC236}">
                  <a16:creationId xmlns:a16="http://schemas.microsoft.com/office/drawing/2014/main" id="{34E6239D-6990-492C-8575-91FC2D8E603C}"/>
                </a:ext>
              </a:extLst>
            </p:cNvPr>
            <p:cNvGrpSpPr>
              <a:grpSpLocks/>
            </p:cNvGrpSpPr>
            <p:nvPr>
              <p:custDataLst>
                <p:tags r:id="rId41"/>
              </p:custDataLst>
            </p:nvPr>
          </p:nvGrpSpPr>
          <p:grpSpPr bwMode="auto">
            <a:xfrm>
              <a:off x="4303825" y="3642243"/>
              <a:ext cx="252014" cy="284948"/>
              <a:chOff x="1507" y="4979"/>
              <a:chExt cx="706" cy="796"/>
            </a:xfrm>
          </p:grpSpPr>
          <p:sp>
            <p:nvSpPr>
              <p:cNvPr id="262" name="Freeform 2551">
                <a:extLst>
                  <a:ext uri="{FF2B5EF4-FFF2-40B4-BE49-F238E27FC236}">
                    <a16:creationId xmlns:a16="http://schemas.microsoft.com/office/drawing/2014/main" id="{318305F2-13D3-4515-B1C2-79F3E52EE04D}"/>
                  </a:ext>
                </a:extLst>
              </p:cNvPr>
              <p:cNvSpPr>
                <a:spLocks noChangeAspect="1"/>
              </p:cNvSpPr>
              <p:nvPr/>
            </p:nvSpPr>
            <p:spPr bwMode="auto">
              <a:xfrm>
                <a:off x="1759" y="5075"/>
                <a:ext cx="56" cy="44"/>
              </a:xfrm>
              <a:custGeom>
                <a:avLst/>
                <a:gdLst>
                  <a:gd name="T0" fmla="*/ 5 w 14"/>
                  <a:gd name="T1" fmla="*/ 0 h 11"/>
                  <a:gd name="T2" fmla="*/ 9 w 14"/>
                  <a:gd name="T3" fmla="*/ 7 h 11"/>
                  <a:gd name="T4" fmla="*/ 3 w 14"/>
                  <a:gd name="T5" fmla="*/ 11 h 11"/>
                  <a:gd name="T6" fmla="*/ 5 w 14"/>
                  <a:gd name="T7" fmla="*/ 0 h 11"/>
                  <a:gd name="T8" fmla="*/ 0 60000 65536"/>
                  <a:gd name="T9" fmla="*/ 0 60000 65536"/>
                  <a:gd name="T10" fmla="*/ 0 60000 65536"/>
                  <a:gd name="T11" fmla="*/ 0 60000 65536"/>
                  <a:gd name="T12" fmla="*/ 0 w 14"/>
                  <a:gd name="T13" fmla="*/ 0 h 11"/>
                  <a:gd name="T14" fmla="*/ 14 w 14"/>
                  <a:gd name="T15" fmla="*/ 11 h 11"/>
                </a:gdLst>
                <a:ahLst/>
                <a:cxnLst>
                  <a:cxn ang="T8">
                    <a:pos x="T0" y="T1"/>
                  </a:cxn>
                  <a:cxn ang="T9">
                    <a:pos x="T2" y="T3"/>
                  </a:cxn>
                  <a:cxn ang="T10">
                    <a:pos x="T4" y="T5"/>
                  </a:cxn>
                  <a:cxn ang="T11">
                    <a:pos x="T6" y="T7"/>
                  </a:cxn>
                </a:cxnLst>
                <a:rect l="T12" t="T13" r="T14" b="T15"/>
                <a:pathLst>
                  <a:path w="14" h="11">
                    <a:moveTo>
                      <a:pt x="5" y="0"/>
                    </a:moveTo>
                    <a:cubicBezTo>
                      <a:pt x="9" y="1"/>
                      <a:pt x="14" y="0"/>
                      <a:pt x="9" y="7"/>
                    </a:cubicBezTo>
                    <a:cubicBezTo>
                      <a:pt x="8" y="9"/>
                      <a:pt x="3" y="11"/>
                      <a:pt x="3" y="11"/>
                    </a:cubicBezTo>
                    <a:cubicBezTo>
                      <a:pt x="0" y="7"/>
                      <a:pt x="1" y="4"/>
                      <a:pt x="5" y="0"/>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3" name="Freeform 2552">
                <a:extLst>
                  <a:ext uri="{FF2B5EF4-FFF2-40B4-BE49-F238E27FC236}">
                    <a16:creationId xmlns:a16="http://schemas.microsoft.com/office/drawing/2014/main" id="{DB997269-F9C5-4601-8508-E7CA2BBE9611}"/>
                  </a:ext>
                </a:extLst>
              </p:cNvPr>
              <p:cNvSpPr>
                <a:spLocks noChangeAspect="1"/>
              </p:cNvSpPr>
              <p:nvPr/>
            </p:nvSpPr>
            <p:spPr bwMode="auto">
              <a:xfrm>
                <a:off x="1803" y="5019"/>
                <a:ext cx="32" cy="68"/>
              </a:xfrm>
              <a:custGeom>
                <a:avLst/>
                <a:gdLst>
                  <a:gd name="T0" fmla="*/ 0 w 8"/>
                  <a:gd name="T1" fmla="*/ 8 h 17"/>
                  <a:gd name="T2" fmla="*/ 8 w 8"/>
                  <a:gd name="T3" fmla="*/ 0 h 17"/>
                  <a:gd name="T4" fmla="*/ 0 w 8"/>
                  <a:gd name="T5" fmla="*/ 8 h 17"/>
                  <a:gd name="T6" fmla="*/ 0 60000 65536"/>
                  <a:gd name="T7" fmla="*/ 0 60000 65536"/>
                  <a:gd name="T8" fmla="*/ 0 60000 65536"/>
                  <a:gd name="T9" fmla="*/ 0 w 8"/>
                  <a:gd name="T10" fmla="*/ 0 h 17"/>
                  <a:gd name="T11" fmla="*/ 8 w 8"/>
                  <a:gd name="T12" fmla="*/ 17 h 17"/>
                </a:gdLst>
                <a:ahLst/>
                <a:cxnLst>
                  <a:cxn ang="T6">
                    <a:pos x="T0" y="T1"/>
                  </a:cxn>
                  <a:cxn ang="T7">
                    <a:pos x="T2" y="T3"/>
                  </a:cxn>
                  <a:cxn ang="T8">
                    <a:pos x="T4" y="T5"/>
                  </a:cxn>
                </a:cxnLst>
                <a:rect l="T9" t="T10" r="T11" b="T12"/>
                <a:pathLst>
                  <a:path w="8" h="17">
                    <a:moveTo>
                      <a:pt x="0" y="8"/>
                    </a:moveTo>
                    <a:cubicBezTo>
                      <a:pt x="5" y="6"/>
                      <a:pt x="4" y="4"/>
                      <a:pt x="8" y="0"/>
                    </a:cubicBezTo>
                    <a:cubicBezTo>
                      <a:pt x="8" y="2"/>
                      <a:pt x="0" y="17"/>
                      <a:pt x="0" y="8"/>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4" name="Freeform 2553">
                <a:extLst>
                  <a:ext uri="{FF2B5EF4-FFF2-40B4-BE49-F238E27FC236}">
                    <a16:creationId xmlns:a16="http://schemas.microsoft.com/office/drawing/2014/main" id="{3BC87EF9-F039-4A5C-8188-B1BBCAE74661}"/>
                  </a:ext>
                </a:extLst>
              </p:cNvPr>
              <p:cNvSpPr>
                <a:spLocks noChangeAspect="1"/>
              </p:cNvSpPr>
              <p:nvPr/>
            </p:nvSpPr>
            <p:spPr bwMode="auto">
              <a:xfrm>
                <a:off x="1859" y="4991"/>
                <a:ext cx="48" cy="40"/>
              </a:xfrm>
              <a:custGeom>
                <a:avLst/>
                <a:gdLst>
                  <a:gd name="T0" fmla="*/ 0 w 12"/>
                  <a:gd name="T1" fmla="*/ 3 h 10"/>
                  <a:gd name="T2" fmla="*/ 12 w 12"/>
                  <a:gd name="T3" fmla="*/ 2 h 10"/>
                  <a:gd name="T4" fmla="*/ 0 w 12"/>
                  <a:gd name="T5" fmla="*/ 3 h 10"/>
                  <a:gd name="T6" fmla="*/ 0 60000 65536"/>
                  <a:gd name="T7" fmla="*/ 0 60000 65536"/>
                  <a:gd name="T8" fmla="*/ 0 60000 65536"/>
                  <a:gd name="T9" fmla="*/ 0 w 12"/>
                  <a:gd name="T10" fmla="*/ 0 h 10"/>
                  <a:gd name="T11" fmla="*/ 12 w 12"/>
                  <a:gd name="T12" fmla="*/ 10 h 10"/>
                </a:gdLst>
                <a:ahLst/>
                <a:cxnLst>
                  <a:cxn ang="T6">
                    <a:pos x="T0" y="T1"/>
                  </a:cxn>
                  <a:cxn ang="T7">
                    <a:pos x="T2" y="T3"/>
                  </a:cxn>
                  <a:cxn ang="T8">
                    <a:pos x="T4" y="T5"/>
                  </a:cxn>
                </a:cxnLst>
                <a:rect l="T9" t="T10" r="T11" b="T12"/>
                <a:pathLst>
                  <a:path w="12" h="10">
                    <a:moveTo>
                      <a:pt x="0" y="3"/>
                    </a:moveTo>
                    <a:cubicBezTo>
                      <a:pt x="8" y="0"/>
                      <a:pt x="4" y="1"/>
                      <a:pt x="12" y="2"/>
                    </a:cubicBezTo>
                    <a:cubicBezTo>
                      <a:pt x="10" y="9"/>
                      <a:pt x="0" y="10"/>
                      <a:pt x="0" y="3"/>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5" name="Freeform 2554">
                <a:extLst>
                  <a:ext uri="{FF2B5EF4-FFF2-40B4-BE49-F238E27FC236}">
                    <a16:creationId xmlns:a16="http://schemas.microsoft.com/office/drawing/2014/main" id="{B1D74B24-FDC0-44C1-A332-90D250475675}"/>
                  </a:ext>
                </a:extLst>
              </p:cNvPr>
              <p:cNvSpPr>
                <a:spLocks noChangeAspect="1"/>
              </p:cNvSpPr>
              <p:nvPr/>
            </p:nvSpPr>
            <p:spPr bwMode="auto">
              <a:xfrm>
                <a:off x="1919" y="4979"/>
                <a:ext cx="96" cy="28"/>
              </a:xfrm>
              <a:custGeom>
                <a:avLst/>
                <a:gdLst>
                  <a:gd name="T0" fmla="*/ 1 w 24"/>
                  <a:gd name="T1" fmla="*/ 4 h 7"/>
                  <a:gd name="T2" fmla="*/ 12 w 24"/>
                  <a:gd name="T3" fmla="*/ 7 h 7"/>
                  <a:gd name="T4" fmla="*/ 1 w 24"/>
                  <a:gd name="T5" fmla="*/ 4 h 7"/>
                  <a:gd name="T6" fmla="*/ 0 60000 65536"/>
                  <a:gd name="T7" fmla="*/ 0 60000 65536"/>
                  <a:gd name="T8" fmla="*/ 0 60000 65536"/>
                  <a:gd name="T9" fmla="*/ 0 w 24"/>
                  <a:gd name="T10" fmla="*/ 0 h 7"/>
                  <a:gd name="T11" fmla="*/ 24 w 24"/>
                  <a:gd name="T12" fmla="*/ 7 h 7"/>
                </a:gdLst>
                <a:ahLst/>
                <a:cxnLst>
                  <a:cxn ang="T6">
                    <a:pos x="T0" y="T1"/>
                  </a:cxn>
                  <a:cxn ang="T7">
                    <a:pos x="T2" y="T3"/>
                  </a:cxn>
                  <a:cxn ang="T8">
                    <a:pos x="T4" y="T5"/>
                  </a:cxn>
                </a:cxnLst>
                <a:rect l="T9" t="T10" r="T11" b="T12"/>
                <a:pathLst>
                  <a:path w="24" h="7">
                    <a:moveTo>
                      <a:pt x="1" y="4"/>
                    </a:moveTo>
                    <a:cubicBezTo>
                      <a:pt x="22" y="3"/>
                      <a:pt x="24" y="3"/>
                      <a:pt x="12" y="7"/>
                    </a:cubicBezTo>
                    <a:cubicBezTo>
                      <a:pt x="6" y="6"/>
                      <a:pt x="0" y="0"/>
                      <a:pt x="1" y="4"/>
                    </a:cubicBezTo>
                    <a:close/>
                  </a:path>
                </a:pathLst>
              </a:custGeom>
              <a:solidFill>
                <a:schemeClr val="accent2"/>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6" name="Freeform 2555">
                <a:extLst>
                  <a:ext uri="{FF2B5EF4-FFF2-40B4-BE49-F238E27FC236}">
                    <a16:creationId xmlns:a16="http://schemas.microsoft.com/office/drawing/2014/main" id="{BF912D3A-9580-4DAB-87FC-74B39CAB38DE}"/>
                  </a:ext>
                </a:extLst>
              </p:cNvPr>
              <p:cNvSpPr>
                <a:spLocks noChangeAspect="1"/>
              </p:cNvSpPr>
              <p:nvPr/>
            </p:nvSpPr>
            <p:spPr bwMode="auto">
              <a:xfrm>
                <a:off x="1507" y="5019"/>
                <a:ext cx="706" cy="756"/>
              </a:xfrm>
              <a:custGeom>
                <a:avLst/>
                <a:gdLst>
                  <a:gd name="T0" fmla="*/ 694 w 706"/>
                  <a:gd name="T1" fmla="*/ 39 h 756"/>
                  <a:gd name="T2" fmla="*/ 624 w 706"/>
                  <a:gd name="T3" fmla="*/ 0 h 756"/>
                  <a:gd name="T4" fmla="*/ 508 w 706"/>
                  <a:gd name="T5" fmla="*/ 12 h 756"/>
                  <a:gd name="T6" fmla="*/ 432 w 706"/>
                  <a:gd name="T7" fmla="*/ 28 h 756"/>
                  <a:gd name="T8" fmla="*/ 376 w 706"/>
                  <a:gd name="T9" fmla="*/ 60 h 756"/>
                  <a:gd name="T10" fmla="*/ 328 w 706"/>
                  <a:gd name="T11" fmla="*/ 92 h 756"/>
                  <a:gd name="T12" fmla="*/ 304 w 706"/>
                  <a:gd name="T13" fmla="*/ 100 h 756"/>
                  <a:gd name="T14" fmla="*/ 244 w 706"/>
                  <a:gd name="T15" fmla="*/ 156 h 756"/>
                  <a:gd name="T16" fmla="*/ 364 w 706"/>
                  <a:gd name="T17" fmla="*/ 240 h 756"/>
                  <a:gd name="T18" fmla="*/ 324 w 706"/>
                  <a:gd name="T19" fmla="*/ 272 h 756"/>
                  <a:gd name="T20" fmla="*/ 220 w 706"/>
                  <a:gd name="T21" fmla="*/ 268 h 756"/>
                  <a:gd name="T22" fmla="*/ 168 w 706"/>
                  <a:gd name="T23" fmla="*/ 316 h 756"/>
                  <a:gd name="T24" fmla="*/ 112 w 706"/>
                  <a:gd name="T25" fmla="*/ 392 h 756"/>
                  <a:gd name="T26" fmla="*/ 76 w 706"/>
                  <a:gd name="T27" fmla="*/ 420 h 756"/>
                  <a:gd name="T28" fmla="*/ 12 w 706"/>
                  <a:gd name="T29" fmla="*/ 504 h 756"/>
                  <a:gd name="T30" fmla="*/ 36 w 706"/>
                  <a:gd name="T31" fmla="*/ 560 h 756"/>
                  <a:gd name="T32" fmla="*/ 76 w 706"/>
                  <a:gd name="T33" fmla="*/ 580 h 756"/>
                  <a:gd name="T34" fmla="*/ 196 w 706"/>
                  <a:gd name="T35" fmla="*/ 536 h 756"/>
                  <a:gd name="T36" fmla="*/ 300 w 706"/>
                  <a:gd name="T37" fmla="*/ 564 h 756"/>
                  <a:gd name="T38" fmla="*/ 364 w 706"/>
                  <a:gd name="T39" fmla="*/ 612 h 756"/>
                  <a:gd name="T40" fmla="*/ 400 w 706"/>
                  <a:gd name="T41" fmla="*/ 628 h 756"/>
                  <a:gd name="T42" fmla="*/ 424 w 706"/>
                  <a:gd name="T43" fmla="*/ 644 h 756"/>
                  <a:gd name="T44" fmla="*/ 392 w 706"/>
                  <a:gd name="T45" fmla="*/ 704 h 756"/>
                  <a:gd name="T46" fmla="*/ 408 w 706"/>
                  <a:gd name="T47" fmla="*/ 756 h 756"/>
                  <a:gd name="T48" fmla="*/ 464 w 706"/>
                  <a:gd name="T49" fmla="*/ 732 h 756"/>
                  <a:gd name="T50" fmla="*/ 460 w 706"/>
                  <a:gd name="T51" fmla="*/ 720 h 756"/>
                  <a:gd name="T52" fmla="*/ 440 w 706"/>
                  <a:gd name="T53" fmla="*/ 692 h 756"/>
                  <a:gd name="T54" fmla="*/ 466 w 706"/>
                  <a:gd name="T55" fmla="*/ 669 h 756"/>
                  <a:gd name="T56" fmla="*/ 484 w 706"/>
                  <a:gd name="T57" fmla="*/ 624 h 756"/>
                  <a:gd name="T58" fmla="*/ 496 w 706"/>
                  <a:gd name="T59" fmla="*/ 588 h 756"/>
                  <a:gd name="T60" fmla="*/ 484 w 706"/>
                  <a:gd name="T61" fmla="*/ 524 h 756"/>
                  <a:gd name="T62" fmla="*/ 482 w 706"/>
                  <a:gd name="T63" fmla="*/ 471 h 756"/>
                  <a:gd name="T64" fmla="*/ 464 w 706"/>
                  <a:gd name="T65" fmla="*/ 474 h 756"/>
                  <a:gd name="T66" fmla="*/ 529 w 706"/>
                  <a:gd name="T67" fmla="*/ 452 h 756"/>
                  <a:gd name="T68" fmla="*/ 610 w 706"/>
                  <a:gd name="T69" fmla="*/ 431 h 756"/>
                  <a:gd name="T70" fmla="*/ 616 w 706"/>
                  <a:gd name="T71" fmla="*/ 371 h 756"/>
                  <a:gd name="T72" fmla="*/ 652 w 706"/>
                  <a:gd name="T73" fmla="*/ 356 h 756"/>
                  <a:gd name="T74" fmla="*/ 625 w 706"/>
                  <a:gd name="T75" fmla="*/ 273 h 756"/>
                  <a:gd name="T76" fmla="*/ 593 w 706"/>
                  <a:gd name="T77" fmla="*/ 231 h 756"/>
                  <a:gd name="T78" fmla="*/ 628 w 706"/>
                  <a:gd name="T79" fmla="*/ 215 h 756"/>
                  <a:gd name="T80" fmla="*/ 646 w 706"/>
                  <a:gd name="T81" fmla="*/ 242 h 756"/>
                  <a:gd name="T82" fmla="*/ 665 w 706"/>
                  <a:gd name="T83" fmla="*/ 197 h 756"/>
                  <a:gd name="T84" fmla="*/ 694 w 706"/>
                  <a:gd name="T85" fmla="*/ 39 h 7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06"/>
                  <a:gd name="T130" fmla="*/ 0 h 756"/>
                  <a:gd name="T131" fmla="*/ 706 w 706"/>
                  <a:gd name="T132" fmla="*/ 756 h 7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grpSp>
          <p:nvGrpSpPr>
            <p:cNvPr id="249" name="Group 2556">
              <a:extLst>
                <a:ext uri="{FF2B5EF4-FFF2-40B4-BE49-F238E27FC236}">
                  <a16:creationId xmlns:a16="http://schemas.microsoft.com/office/drawing/2014/main" id="{733C22F7-7858-4B14-B95A-104A49C46C02}"/>
                </a:ext>
              </a:extLst>
            </p:cNvPr>
            <p:cNvGrpSpPr>
              <a:grpSpLocks/>
            </p:cNvGrpSpPr>
            <p:nvPr>
              <p:custDataLst>
                <p:tags r:id="rId42"/>
              </p:custDataLst>
            </p:nvPr>
          </p:nvGrpSpPr>
          <p:grpSpPr bwMode="auto">
            <a:xfrm>
              <a:off x="3639425" y="2843245"/>
              <a:ext cx="569895" cy="1065331"/>
              <a:chOff x="-347" y="2747"/>
              <a:chExt cx="1590" cy="2976"/>
            </a:xfrm>
          </p:grpSpPr>
          <p:sp>
            <p:nvSpPr>
              <p:cNvPr id="251" name="Freeform 2557">
                <a:extLst>
                  <a:ext uri="{FF2B5EF4-FFF2-40B4-BE49-F238E27FC236}">
                    <a16:creationId xmlns:a16="http://schemas.microsoft.com/office/drawing/2014/main" id="{C66FBFC8-C5D4-4128-94DF-7CF8BB99FEBD}"/>
                  </a:ext>
                </a:extLst>
              </p:cNvPr>
              <p:cNvSpPr>
                <a:spLocks noChangeAspect="1"/>
              </p:cNvSpPr>
              <p:nvPr/>
            </p:nvSpPr>
            <p:spPr bwMode="auto">
              <a:xfrm>
                <a:off x="1007" y="2747"/>
                <a:ext cx="144" cy="288"/>
              </a:xfrm>
              <a:custGeom>
                <a:avLst/>
                <a:gdLst>
                  <a:gd name="T0" fmla="*/ 32 w 36"/>
                  <a:gd name="T1" fmla="*/ 4 h 72"/>
                  <a:gd name="T2" fmla="*/ 20 w 36"/>
                  <a:gd name="T3" fmla="*/ 11 h 72"/>
                  <a:gd name="T4" fmla="*/ 7 w 36"/>
                  <a:gd name="T5" fmla="*/ 22 h 72"/>
                  <a:gd name="T6" fmla="*/ 3 w 36"/>
                  <a:gd name="T7" fmla="*/ 28 h 72"/>
                  <a:gd name="T8" fmla="*/ 0 w 36"/>
                  <a:gd name="T9" fmla="*/ 43 h 72"/>
                  <a:gd name="T10" fmla="*/ 7 w 36"/>
                  <a:gd name="T11" fmla="*/ 72 h 72"/>
                  <a:gd name="T12" fmla="*/ 17 w 36"/>
                  <a:gd name="T13" fmla="*/ 63 h 72"/>
                  <a:gd name="T14" fmla="*/ 21 w 36"/>
                  <a:gd name="T15" fmla="*/ 54 h 72"/>
                  <a:gd name="T16" fmla="*/ 30 w 36"/>
                  <a:gd name="T17" fmla="*/ 23 h 72"/>
                  <a:gd name="T18" fmla="*/ 36 w 36"/>
                  <a:gd name="T19" fmla="*/ 9 h 72"/>
                  <a:gd name="T20" fmla="*/ 26 w 36"/>
                  <a:gd name="T21" fmla="*/ 11 h 72"/>
                  <a:gd name="T22" fmla="*/ 32 w 36"/>
                  <a:gd name="T23" fmla="*/ 4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72"/>
                  <a:gd name="T38" fmla="*/ 36 w 36"/>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2" name="Freeform 2558">
                <a:extLst>
                  <a:ext uri="{FF2B5EF4-FFF2-40B4-BE49-F238E27FC236}">
                    <a16:creationId xmlns:a16="http://schemas.microsoft.com/office/drawing/2014/main" id="{865F032F-0C21-4E7F-A44C-C89F1C71A317}"/>
                  </a:ext>
                </a:extLst>
              </p:cNvPr>
              <p:cNvSpPr>
                <a:spLocks noChangeAspect="1"/>
              </p:cNvSpPr>
              <p:nvPr/>
            </p:nvSpPr>
            <p:spPr bwMode="auto">
              <a:xfrm>
                <a:off x="715" y="3135"/>
                <a:ext cx="120" cy="132"/>
              </a:xfrm>
              <a:custGeom>
                <a:avLst/>
                <a:gdLst>
                  <a:gd name="T0" fmla="*/ 16 w 30"/>
                  <a:gd name="T1" fmla="*/ 0 h 33"/>
                  <a:gd name="T2" fmla="*/ 3 w 30"/>
                  <a:gd name="T3" fmla="*/ 9 h 33"/>
                  <a:gd name="T4" fmla="*/ 0 w 30"/>
                  <a:gd name="T5" fmla="*/ 21 h 33"/>
                  <a:gd name="T6" fmla="*/ 10 w 30"/>
                  <a:gd name="T7" fmla="*/ 33 h 33"/>
                  <a:gd name="T8" fmla="*/ 25 w 30"/>
                  <a:gd name="T9" fmla="*/ 26 h 33"/>
                  <a:gd name="T10" fmla="*/ 30 w 30"/>
                  <a:gd name="T11" fmla="*/ 12 h 33"/>
                  <a:gd name="T12" fmla="*/ 16 w 30"/>
                  <a:gd name="T13" fmla="*/ 0 h 33"/>
                  <a:gd name="T14" fmla="*/ 0 60000 65536"/>
                  <a:gd name="T15" fmla="*/ 0 60000 65536"/>
                  <a:gd name="T16" fmla="*/ 0 60000 65536"/>
                  <a:gd name="T17" fmla="*/ 0 60000 65536"/>
                  <a:gd name="T18" fmla="*/ 0 60000 65536"/>
                  <a:gd name="T19" fmla="*/ 0 60000 65536"/>
                  <a:gd name="T20" fmla="*/ 0 60000 65536"/>
                  <a:gd name="T21" fmla="*/ 0 w 30"/>
                  <a:gd name="T22" fmla="*/ 0 h 33"/>
                  <a:gd name="T23" fmla="*/ 30 w 3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3" name="Freeform 2559">
                <a:extLst>
                  <a:ext uri="{FF2B5EF4-FFF2-40B4-BE49-F238E27FC236}">
                    <a16:creationId xmlns:a16="http://schemas.microsoft.com/office/drawing/2014/main" id="{2A508B04-B0AD-412F-9484-6C30A00BA2A7}"/>
                  </a:ext>
                </a:extLst>
              </p:cNvPr>
              <p:cNvSpPr>
                <a:spLocks noChangeAspect="1"/>
              </p:cNvSpPr>
              <p:nvPr/>
            </p:nvSpPr>
            <p:spPr bwMode="auto">
              <a:xfrm>
                <a:off x="-88" y="3271"/>
                <a:ext cx="340" cy="432"/>
              </a:xfrm>
              <a:custGeom>
                <a:avLst/>
                <a:gdLst>
                  <a:gd name="T0" fmla="*/ 81 w 85"/>
                  <a:gd name="T1" fmla="*/ 0 h 108"/>
                  <a:gd name="T2" fmla="*/ 45 w 85"/>
                  <a:gd name="T3" fmla="*/ 7 h 108"/>
                  <a:gd name="T4" fmla="*/ 36 w 85"/>
                  <a:gd name="T5" fmla="*/ 42 h 108"/>
                  <a:gd name="T6" fmla="*/ 21 w 85"/>
                  <a:gd name="T7" fmla="*/ 55 h 108"/>
                  <a:gd name="T8" fmla="*/ 6 w 85"/>
                  <a:gd name="T9" fmla="*/ 90 h 108"/>
                  <a:gd name="T10" fmla="*/ 0 w 85"/>
                  <a:gd name="T11" fmla="*/ 103 h 108"/>
                  <a:gd name="T12" fmla="*/ 7 w 85"/>
                  <a:gd name="T13" fmla="*/ 108 h 108"/>
                  <a:gd name="T14" fmla="*/ 23 w 85"/>
                  <a:gd name="T15" fmla="*/ 82 h 108"/>
                  <a:gd name="T16" fmla="*/ 34 w 85"/>
                  <a:gd name="T17" fmla="*/ 64 h 108"/>
                  <a:gd name="T18" fmla="*/ 40 w 85"/>
                  <a:gd name="T19" fmla="*/ 55 h 108"/>
                  <a:gd name="T20" fmla="*/ 58 w 85"/>
                  <a:gd name="T21" fmla="*/ 48 h 108"/>
                  <a:gd name="T22" fmla="*/ 69 w 85"/>
                  <a:gd name="T23" fmla="*/ 40 h 108"/>
                  <a:gd name="T24" fmla="*/ 81 w 85"/>
                  <a:gd name="T25" fmla="*/ 22 h 108"/>
                  <a:gd name="T26" fmla="*/ 84 w 85"/>
                  <a:gd name="T27" fmla="*/ 10 h 108"/>
                  <a:gd name="T28" fmla="*/ 81 w 85"/>
                  <a:gd name="T29" fmla="*/ 0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5"/>
                  <a:gd name="T46" fmla="*/ 0 h 108"/>
                  <a:gd name="T47" fmla="*/ 85 w 85"/>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4" name="Freeform 2560">
                <a:extLst>
                  <a:ext uri="{FF2B5EF4-FFF2-40B4-BE49-F238E27FC236}">
                    <a16:creationId xmlns:a16="http://schemas.microsoft.com/office/drawing/2014/main" id="{17B660B6-F0EC-49EB-9006-19A6993D8ECA}"/>
                  </a:ext>
                </a:extLst>
              </p:cNvPr>
              <p:cNvSpPr>
                <a:spLocks noChangeAspect="1"/>
              </p:cNvSpPr>
              <p:nvPr/>
            </p:nvSpPr>
            <p:spPr bwMode="auto">
              <a:xfrm>
                <a:off x="76" y="3503"/>
                <a:ext cx="176" cy="200"/>
              </a:xfrm>
              <a:custGeom>
                <a:avLst/>
                <a:gdLst>
                  <a:gd name="T0" fmla="*/ 23 w 44"/>
                  <a:gd name="T1" fmla="*/ 0 h 50"/>
                  <a:gd name="T2" fmla="*/ 41 w 44"/>
                  <a:gd name="T3" fmla="*/ 31 h 50"/>
                  <a:gd name="T4" fmla="*/ 31 w 44"/>
                  <a:gd name="T5" fmla="*/ 46 h 50"/>
                  <a:gd name="T6" fmla="*/ 25 w 44"/>
                  <a:gd name="T7" fmla="*/ 49 h 50"/>
                  <a:gd name="T8" fmla="*/ 16 w 44"/>
                  <a:gd name="T9" fmla="*/ 30 h 50"/>
                  <a:gd name="T10" fmla="*/ 4 w 44"/>
                  <a:gd name="T11" fmla="*/ 18 h 50"/>
                  <a:gd name="T12" fmla="*/ 12 w 44"/>
                  <a:gd name="T13" fmla="*/ 7 h 50"/>
                  <a:gd name="T14" fmla="*/ 17 w 44"/>
                  <a:gd name="T15" fmla="*/ 8 h 50"/>
                  <a:gd name="T16" fmla="*/ 19 w 44"/>
                  <a:gd name="T17" fmla="*/ 12 h 50"/>
                  <a:gd name="T18" fmla="*/ 23 w 44"/>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50"/>
                  <a:gd name="T32" fmla="*/ 44 w 44"/>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5" name="Freeform 2561">
                <a:extLst>
                  <a:ext uri="{FF2B5EF4-FFF2-40B4-BE49-F238E27FC236}">
                    <a16:creationId xmlns:a16="http://schemas.microsoft.com/office/drawing/2014/main" id="{3050516B-CD7E-4199-BBB0-FEFC1D1A8DFA}"/>
                  </a:ext>
                </a:extLst>
              </p:cNvPr>
              <p:cNvSpPr>
                <a:spLocks noChangeAspect="1"/>
              </p:cNvSpPr>
              <p:nvPr/>
            </p:nvSpPr>
            <p:spPr bwMode="auto">
              <a:xfrm>
                <a:off x="12" y="3987"/>
                <a:ext cx="108" cy="128"/>
              </a:xfrm>
              <a:custGeom>
                <a:avLst/>
                <a:gdLst>
                  <a:gd name="T0" fmla="*/ 8 w 27"/>
                  <a:gd name="T1" fmla="*/ 7 h 32"/>
                  <a:gd name="T2" fmla="*/ 8 w 27"/>
                  <a:gd name="T3" fmla="*/ 23 h 32"/>
                  <a:gd name="T4" fmla="*/ 10 w 27"/>
                  <a:gd name="T5" fmla="*/ 26 h 32"/>
                  <a:gd name="T6" fmla="*/ 9 w 27"/>
                  <a:gd name="T7" fmla="*/ 30 h 32"/>
                  <a:gd name="T8" fmla="*/ 6 w 27"/>
                  <a:gd name="T9" fmla="*/ 32 h 32"/>
                  <a:gd name="T10" fmla="*/ 17 w 27"/>
                  <a:gd name="T11" fmla="*/ 31 h 32"/>
                  <a:gd name="T12" fmla="*/ 27 w 27"/>
                  <a:gd name="T13" fmla="*/ 12 h 32"/>
                  <a:gd name="T14" fmla="*/ 8 w 27"/>
                  <a:gd name="T15" fmla="*/ 7 h 3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32"/>
                  <a:gd name="T26" fmla="*/ 27 w 2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6" name="Freeform 2562">
                <a:extLst>
                  <a:ext uri="{FF2B5EF4-FFF2-40B4-BE49-F238E27FC236}">
                    <a16:creationId xmlns:a16="http://schemas.microsoft.com/office/drawing/2014/main" id="{F151DDA2-3C63-42B8-816E-364151F37154}"/>
                  </a:ext>
                </a:extLst>
              </p:cNvPr>
              <p:cNvSpPr>
                <a:spLocks noChangeAspect="1"/>
              </p:cNvSpPr>
              <p:nvPr/>
            </p:nvSpPr>
            <p:spPr bwMode="auto">
              <a:xfrm>
                <a:off x="172" y="4495"/>
                <a:ext cx="128" cy="100"/>
              </a:xfrm>
              <a:custGeom>
                <a:avLst/>
                <a:gdLst>
                  <a:gd name="T0" fmla="*/ 19 w 32"/>
                  <a:gd name="T1" fmla="*/ 0 h 25"/>
                  <a:gd name="T2" fmla="*/ 13 w 32"/>
                  <a:gd name="T3" fmla="*/ 10 h 25"/>
                  <a:gd name="T4" fmla="*/ 7 w 32"/>
                  <a:gd name="T5" fmla="*/ 14 h 25"/>
                  <a:gd name="T6" fmla="*/ 0 w 32"/>
                  <a:gd name="T7" fmla="*/ 23 h 25"/>
                  <a:gd name="T8" fmla="*/ 19 w 32"/>
                  <a:gd name="T9" fmla="*/ 24 h 25"/>
                  <a:gd name="T10" fmla="*/ 28 w 32"/>
                  <a:gd name="T11" fmla="*/ 18 h 25"/>
                  <a:gd name="T12" fmla="*/ 23 w 32"/>
                  <a:gd name="T13" fmla="*/ 1 h 25"/>
                  <a:gd name="T14" fmla="*/ 19 w 32"/>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5"/>
                  <a:gd name="T26" fmla="*/ 32 w 3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7" name="Freeform 2563">
                <a:extLst>
                  <a:ext uri="{FF2B5EF4-FFF2-40B4-BE49-F238E27FC236}">
                    <a16:creationId xmlns:a16="http://schemas.microsoft.com/office/drawing/2014/main" id="{07903C98-9BAE-40ED-9A48-0825D11994C5}"/>
                  </a:ext>
                </a:extLst>
              </p:cNvPr>
              <p:cNvSpPr>
                <a:spLocks noChangeAspect="1"/>
              </p:cNvSpPr>
              <p:nvPr/>
            </p:nvSpPr>
            <p:spPr bwMode="auto">
              <a:xfrm>
                <a:off x="152" y="4783"/>
                <a:ext cx="112" cy="100"/>
              </a:xfrm>
              <a:custGeom>
                <a:avLst/>
                <a:gdLst>
                  <a:gd name="T0" fmla="*/ 11 w 28"/>
                  <a:gd name="T1" fmla="*/ 0 h 25"/>
                  <a:gd name="T2" fmla="*/ 28 w 28"/>
                  <a:gd name="T3" fmla="*/ 10 h 25"/>
                  <a:gd name="T4" fmla="*/ 16 w 28"/>
                  <a:gd name="T5" fmla="*/ 17 h 25"/>
                  <a:gd name="T6" fmla="*/ 3 w 28"/>
                  <a:gd name="T7" fmla="*/ 12 h 25"/>
                  <a:gd name="T8" fmla="*/ 9 w 28"/>
                  <a:gd name="T9" fmla="*/ 4 h 25"/>
                  <a:gd name="T10" fmla="*/ 11 w 28"/>
                  <a:gd name="T11" fmla="*/ 0 h 25"/>
                  <a:gd name="T12" fmla="*/ 0 60000 65536"/>
                  <a:gd name="T13" fmla="*/ 0 60000 65536"/>
                  <a:gd name="T14" fmla="*/ 0 60000 65536"/>
                  <a:gd name="T15" fmla="*/ 0 60000 65536"/>
                  <a:gd name="T16" fmla="*/ 0 60000 65536"/>
                  <a:gd name="T17" fmla="*/ 0 60000 65536"/>
                  <a:gd name="T18" fmla="*/ 0 w 28"/>
                  <a:gd name="T19" fmla="*/ 0 h 25"/>
                  <a:gd name="T20" fmla="*/ 28 w 2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8" name="Freeform 2564">
                <a:extLst>
                  <a:ext uri="{FF2B5EF4-FFF2-40B4-BE49-F238E27FC236}">
                    <a16:creationId xmlns:a16="http://schemas.microsoft.com/office/drawing/2014/main" id="{1184354E-36EA-428D-96A6-B9124C0A4A55}"/>
                  </a:ext>
                </a:extLst>
              </p:cNvPr>
              <p:cNvSpPr>
                <a:spLocks noChangeAspect="1"/>
              </p:cNvSpPr>
              <p:nvPr/>
            </p:nvSpPr>
            <p:spPr bwMode="auto">
              <a:xfrm>
                <a:off x="-236" y="3311"/>
                <a:ext cx="1479" cy="2412"/>
              </a:xfrm>
              <a:custGeom>
                <a:avLst/>
                <a:gdLst>
                  <a:gd name="T0" fmla="*/ 240 w 370"/>
                  <a:gd name="T1" fmla="*/ 6 h 603"/>
                  <a:gd name="T2" fmla="*/ 185 w 370"/>
                  <a:gd name="T3" fmla="*/ 69 h 603"/>
                  <a:gd name="T4" fmla="*/ 181 w 370"/>
                  <a:gd name="T5" fmla="*/ 78 h 603"/>
                  <a:gd name="T6" fmla="*/ 270 w 370"/>
                  <a:gd name="T7" fmla="*/ 90 h 603"/>
                  <a:gd name="T8" fmla="*/ 235 w 370"/>
                  <a:gd name="T9" fmla="*/ 152 h 603"/>
                  <a:gd name="T10" fmla="*/ 202 w 370"/>
                  <a:gd name="T11" fmla="*/ 162 h 603"/>
                  <a:gd name="T12" fmla="*/ 217 w 370"/>
                  <a:gd name="T13" fmla="*/ 178 h 603"/>
                  <a:gd name="T14" fmla="*/ 193 w 370"/>
                  <a:gd name="T15" fmla="*/ 196 h 603"/>
                  <a:gd name="T16" fmla="*/ 242 w 370"/>
                  <a:gd name="T17" fmla="*/ 212 h 603"/>
                  <a:gd name="T18" fmla="*/ 260 w 370"/>
                  <a:gd name="T19" fmla="*/ 268 h 603"/>
                  <a:gd name="T20" fmla="*/ 270 w 370"/>
                  <a:gd name="T21" fmla="*/ 306 h 603"/>
                  <a:gd name="T22" fmla="*/ 287 w 370"/>
                  <a:gd name="T23" fmla="*/ 319 h 603"/>
                  <a:gd name="T24" fmla="*/ 305 w 370"/>
                  <a:gd name="T25" fmla="*/ 385 h 603"/>
                  <a:gd name="T26" fmla="*/ 269 w 370"/>
                  <a:gd name="T27" fmla="*/ 376 h 603"/>
                  <a:gd name="T28" fmla="*/ 310 w 370"/>
                  <a:gd name="T29" fmla="*/ 402 h 603"/>
                  <a:gd name="T30" fmla="*/ 302 w 370"/>
                  <a:gd name="T31" fmla="*/ 445 h 603"/>
                  <a:gd name="T32" fmla="*/ 342 w 370"/>
                  <a:gd name="T33" fmla="*/ 436 h 603"/>
                  <a:gd name="T34" fmla="*/ 365 w 370"/>
                  <a:gd name="T35" fmla="*/ 459 h 603"/>
                  <a:gd name="T36" fmla="*/ 351 w 370"/>
                  <a:gd name="T37" fmla="*/ 510 h 603"/>
                  <a:gd name="T38" fmla="*/ 324 w 370"/>
                  <a:gd name="T39" fmla="*/ 522 h 603"/>
                  <a:gd name="T40" fmla="*/ 304 w 370"/>
                  <a:gd name="T41" fmla="*/ 544 h 603"/>
                  <a:gd name="T42" fmla="*/ 331 w 370"/>
                  <a:gd name="T43" fmla="*/ 552 h 603"/>
                  <a:gd name="T44" fmla="*/ 317 w 370"/>
                  <a:gd name="T45" fmla="*/ 584 h 603"/>
                  <a:gd name="T46" fmla="*/ 284 w 370"/>
                  <a:gd name="T47" fmla="*/ 595 h 603"/>
                  <a:gd name="T48" fmla="*/ 251 w 370"/>
                  <a:gd name="T49" fmla="*/ 585 h 603"/>
                  <a:gd name="T50" fmla="*/ 221 w 370"/>
                  <a:gd name="T51" fmla="*/ 578 h 603"/>
                  <a:gd name="T52" fmla="*/ 198 w 370"/>
                  <a:gd name="T53" fmla="*/ 580 h 603"/>
                  <a:gd name="T54" fmla="*/ 174 w 370"/>
                  <a:gd name="T55" fmla="*/ 584 h 603"/>
                  <a:gd name="T56" fmla="*/ 120 w 370"/>
                  <a:gd name="T57" fmla="*/ 574 h 603"/>
                  <a:gd name="T58" fmla="*/ 97 w 370"/>
                  <a:gd name="T59" fmla="*/ 596 h 603"/>
                  <a:gd name="T60" fmla="*/ 49 w 370"/>
                  <a:gd name="T61" fmla="*/ 590 h 603"/>
                  <a:gd name="T62" fmla="*/ 8 w 370"/>
                  <a:gd name="T63" fmla="*/ 594 h 603"/>
                  <a:gd name="T64" fmla="*/ 40 w 370"/>
                  <a:gd name="T65" fmla="*/ 583 h 603"/>
                  <a:gd name="T66" fmla="*/ 82 w 370"/>
                  <a:gd name="T67" fmla="*/ 543 h 603"/>
                  <a:gd name="T68" fmla="*/ 120 w 370"/>
                  <a:gd name="T69" fmla="*/ 535 h 603"/>
                  <a:gd name="T70" fmla="*/ 172 w 370"/>
                  <a:gd name="T71" fmla="*/ 508 h 603"/>
                  <a:gd name="T72" fmla="*/ 164 w 370"/>
                  <a:gd name="T73" fmla="*/ 507 h 603"/>
                  <a:gd name="T74" fmla="*/ 127 w 370"/>
                  <a:gd name="T75" fmla="*/ 519 h 603"/>
                  <a:gd name="T76" fmla="*/ 90 w 370"/>
                  <a:gd name="T77" fmla="*/ 487 h 603"/>
                  <a:gd name="T78" fmla="*/ 88 w 370"/>
                  <a:gd name="T79" fmla="*/ 460 h 603"/>
                  <a:gd name="T80" fmla="*/ 118 w 370"/>
                  <a:gd name="T81" fmla="*/ 432 h 603"/>
                  <a:gd name="T82" fmla="*/ 92 w 370"/>
                  <a:gd name="T83" fmla="*/ 410 h 603"/>
                  <a:gd name="T84" fmla="*/ 131 w 370"/>
                  <a:gd name="T85" fmla="*/ 385 h 603"/>
                  <a:gd name="T86" fmla="*/ 174 w 370"/>
                  <a:gd name="T87" fmla="*/ 369 h 603"/>
                  <a:gd name="T88" fmla="*/ 197 w 370"/>
                  <a:gd name="T89" fmla="*/ 325 h 603"/>
                  <a:gd name="T90" fmla="*/ 179 w 370"/>
                  <a:gd name="T91" fmla="*/ 276 h 603"/>
                  <a:gd name="T92" fmla="*/ 115 w 370"/>
                  <a:gd name="T93" fmla="*/ 270 h 603"/>
                  <a:gd name="T94" fmla="*/ 130 w 370"/>
                  <a:gd name="T95" fmla="*/ 230 h 603"/>
                  <a:gd name="T96" fmla="*/ 124 w 370"/>
                  <a:gd name="T97" fmla="*/ 177 h 603"/>
                  <a:gd name="T98" fmla="*/ 118 w 370"/>
                  <a:gd name="T99" fmla="*/ 145 h 603"/>
                  <a:gd name="T100" fmla="*/ 78 w 370"/>
                  <a:gd name="T101" fmla="*/ 146 h 603"/>
                  <a:gd name="T102" fmla="*/ 100 w 370"/>
                  <a:gd name="T103" fmla="*/ 115 h 603"/>
                  <a:gd name="T104" fmla="*/ 122 w 370"/>
                  <a:gd name="T105" fmla="*/ 67 h 603"/>
                  <a:gd name="T106" fmla="*/ 160 w 370"/>
                  <a:gd name="T107" fmla="*/ 12 h 603"/>
                  <a:gd name="T108" fmla="*/ 174 w 370"/>
                  <a:gd name="T109" fmla="*/ 3 h 6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0"/>
                  <a:gd name="T166" fmla="*/ 0 h 603"/>
                  <a:gd name="T167" fmla="*/ 370 w 370"/>
                  <a:gd name="T168" fmla="*/ 603 h 6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9" name="Freeform 2565">
                <a:extLst>
                  <a:ext uri="{FF2B5EF4-FFF2-40B4-BE49-F238E27FC236}">
                    <a16:creationId xmlns:a16="http://schemas.microsoft.com/office/drawing/2014/main" id="{267B2327-AEC8-4C55-B2D8-B1E6C9798864}"/>
                  </a:ext>
                </a:extLst>
              </p:cNvPr>
              <p:cNvSpPr>
                <a:spLocks noChangeAspect="1"/>
              </p:cNvSpPr>
              <p:nvPr/>
            </p:nvSpPr>
            <p:spPr bwMode="auto">
              <a:xfrm>
                <a:off x="164" y="4091"/>
                <a:ext cx="84" cy="108"/>
              </a:xfrm>
              <a:custGeom>
                <a:avLst/>
                <a:gdLst>
                  <a:gd name="T0" fmla="*/ 6 w 21"/>
                  <a:gd name="T1" fmla="*/ 7 h 27"/>
                  <a:gd name="T2" fmla="*/ 9 w 21"/>
                  <a:gd name="T3" fmla="*/ 27 h 27"/>
                  <a:gd name="T4" fmla="*/ 14 w 21"/>
                  <a:gd name="T5" fmla="*/ 0 h 27"/>
                  <a:gd name="T6" fmla="*/ 9 w 21"/>
                  <a:gd name="T7" fmla="*/ 1 h 27"/>
                  <a:gd name="T8" fmla="*/ 6 w 21"/>
                  <a:gd name="T9" fmla="*/ 7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0" name="Freeform 2566">
                <a:extLst>
                  <a:ext uri="{FF2B5EF4-FFF2-40B4-BE49-F238E27FC236}">
                    <a16:creationId xmlns:a16="http://schemas.microsoft.com/office/drawing/2014/main" id="{DB587956-8827-4003-8869-F73108AF25D0}"/>
                  </a:ext>
                </a:extLst>
              </p:cNvPr>
              <p:cNvSpPr>
                <a:spLocks noChangeAspect="1"/>
              </p:cNvSpPr>
              <p:nvPr/>
            </p:nvSpPr>
            <p:spPr bwMode="auto">
              <a:xfrm>
                <a:off x="587" y="5655"/>
                <a:ext cx="96" cy="52"/>
              </a:xfrm>
              <a:custGeom>
                <a:avLst/>
                <a:gdLst>
                  <a:gd name="T0" fmla="*/ 0 w 24"/>
                  <a:gd name="T1" fmla="*/ 0 h 13"/>
                  <a:gd name="T2" fmla="*/ 12 w 24"/>
                  <a:gd name="T3" fmla="*/ 8 h 13"/>
                  <a:gd name="T4" fmla="*/ 3 w 24"/>
                  <a:gd name="T5" fmla="*/ 11 h 13"/>
                  <a:gd name="T6" fmla="*/ 0 w 24"/>
                  <a:gd name="T7" fmla="*/ 0 h 13"/>
                  <a:gd name="T8" fmla="*/ 0 60000 65536"/>
                  <a:gd name="T9" fmla="*/ 0 60000 65536"/>
                  <a:gd name="T10" fmla="*/ 0 60000 65536"/>
                  <a:gd name="T11" fmla="*/ 0 60000 65536"/>
                  <a:gd name="T12" fmla="*/ 0 w 24"/>
                  <a:gd name="T13" fmla="*/ 0 h 13"/>
                  <a:gd name="T14" fmla="*/ 24 w 24"/>
                  <a:gd name="T15" fmla="*/ 13 h 13"/>
                </a:gdLst>
                <a:ahLst/>
                <a:cxnLst>
                  <a:cxn ang="T8">
                    <a:pos x="T0" y="T1"/>
                  </a:cxn>
                  <a:cxn ang="T9">
                    <a:pos x="T2" y="T3"/>
                  </a:cxn>
                  <a:cxn ang="T10">
                    <a:pos x="T4" y="T5"/>
                  </a:cxn>
                  <a:cxn ang="T11">
                    <a:pos x="T6" y="T7"/>
                  </a:cxn>
                </a:cxnLst>
                <a:rect l="T12" t="T13" r="T14" b="T15"/>
                <a:pathLst>
                  <a:path w="24" h="13">
                    <a:moveTo>
                      <a:pt x="0" y="0"/>
                    </a:moveTo>
                    <a:cubicBezTo>
                      <a:pt x="7" y="4"/>
                      <a:pt x="24" y="0"/>
                      <a:pt x="12" y="8"/>
                    </a:cubicBezTo>
                    <a:cubicBezTo>
                      <a:pt x="9" y="12"/>
                      <a:pt x="8" y="13"/>
                      <a:pt x="3" y="11"/>
                    </a:cubicBezTo>
                    <a:cubicBezTo>
                      <a:pt x="2" y="3"/>
                      <a:pt x="3" y="6"/>
                      <a:pt x="0" y="0"/>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1" name="Freeform 2567">
                <a:extLst>
                  <a:ext uri="{FF2B5EF4-FFF2-40B4-BE49-F238E27FC236}">
                    <a16:creationId xmlns:a16="http://schemas.microsoft.com/office/drawing/2014/main" id="{474BCD06-403E-4593-931B-928A203DC713}"/>
                  </a:ext>
                </a:extLst>
              </p:cNvPr>
              <p:cNvSpPr>
                <a:spLocks noChangeAspect="1"/>
              </p:cNvSpPr>
              <p:nvPr/>
            </p:nvSpPr>
            <p:spPr bwMode="auto">
              <a:xfrm>
                <a:off x="-347" y="4175"/>
                <a:ext cx="451" cy="376"/>
              </a:xfrm>
              <a:custGeom>
                <a:avLst/>
                <a:gdLst>
                  <a:gd name="T0" fmla="*/ 303 w 451"/>
                  <a:gd name="T1" fmla="*/ 376 h 376"/>
                  <a:gd name="T2" fmla="*/ 399 w 451"/>
                  <a:gd name="T3" fmla="*/ 352 h 376"/>
                  <a:gd name="T4" fmla="*/ 439 w 451"/>
                  <a:gd name="T5" fmla="*/ 340 h 376"/>
                  <a:gd name="T6" fmla="*/ 451 w 451"/>
                  <a:gd name="T7" fmla="*/ 280 h 376"/>
                  <a:gd name="T8" fmla="*/ 395 w 451"/>
                  <a:gd name="T9" fmla="*/ 216 h 376"/>
                  <a:gd name="T10" fmla="*/ 407 w 451"/>
                  <a:gd name="T11" fmla="*/ 196 h 376"/>
                  <a:gd name="T12" fmla="*/ 407 w 451"/>
                  <a:gd name="T13" fmla="*/ 96 h 376"/>
                  <a:gd name="T14" fmla="*/ 259 w 451"/>
                  <a:gd name="T15" fmla="*/ 24 h 376"/>
                  <a:gd name="T16" fmla="*/ 199 w 451"/>
                  <a:gd name="T17" fmla="*/ 48 h 376"/>
                  <a:gd name="T18" fmla="*/ 174 w 451"/>
                  <a:gd name="T19" fmla="*/ 54 h 376"/>
                  <a:gd name="T20" fmla="*/ 152 w 451"/>
                  <a:gd name="T21" fmla="*/ 90 h 376"/>
                  <a:gd name="T22" fmla="*/ 83 w 451"/>
                  <a:gd name="T23" fmla="*/ 124 h 376"/>
                  <a:gd name="T24" fmla="*/ 60 w 451"/>
                  <a:gd name="T25" fmla="*/ 165 h 376"/>
                  <a:gd name="T26" fmla="*/ 12 w 451"/>
                  <a:gd name="T27" fmla="*/ 178 h 376"/>
                  <a:gd name="T28" fmla="*/ 24 w 451"/>
                  <a:gd name="T29" fmla="*/ 219 h 376"/>
                  <a:gd name="T30" fmla="*/ 83 w 451"/>
                  <a:gd name="T31" fmla="*/ 268 h 376"/>
                  <a:gd name="T32" fmla="*/ 105 w 451"/>
                  <a:gd name="T33" fmla="*/ 298 h 376"/>
                  <a:gd name="T34" fmla="*/ 144 w 451"/>
                  <a:gd name="T35" fmla="*/ 298 h 376"/>
                  <a:gd name="T36" fmla="*/ 179 w 451"/>
                  <a:gd name="T37" fmla="*/ 248 h 376"/>
                  <a:gd name="T38" fmla="*/ 228 w 451"/>
                  <a:gd name="T39" fmla="*/ 322 h 376"/>
                  <a:gd name="T40" fmla="*/ 258 w 451"/>
                  <a:gd name="T41" fmla="*/ 351 h 376"/>
                  <a:gd name="T42" fmla="*/ 303 w 451"/>
                  <a:gd name="T43" fmla="*/ 376 h 3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1"/>
                  <a:gd name="T67" fmla="*/ 0 h 376"/>
                  <a:gd name="T68" fmla="*/ 451 w 451"/>
                  <a:gd name="T69" fmla="*/ 376 h 3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250" name="Freeform 2568">
              <a:extLst>
                <a:ext uri="{FF2B5EF4-FFF2-40B4-BE49-F238E27FC236}">
                  <a16:creationId xmlns:a16="http://schemas.microsoft.com/office/drawing/2014/main" id="{CB9C4FB4-CBD4-4E4C-AEBF-861C8578DF15}"/>
                </a:ext>
              </a:extLst>
            </p:cNvPr>
            <p:cNvSpPr>
              <a:spLocks noChangeAspect="1"/>
            </p:cNvSpPr>
            <p:nvPr>
              <p:custDataLst>
                <p:tags r:id="rId43"/>
              </p:custDataLst>
            </p:nvPr>
          </p:nvSpPr>
          <p:spPr bwMode="auto">
            <a:xfrm>
              <a:off x="3128237" y="4661754"/>
              <a:ext cx="326473" cy="538393"/>
            </a:xfrm>
            <a:custGeom>
              <a:avLst/>
              <a:gdLst>
                <a:gd name="T0" fmla="*/ 384 w 913"/>
                <a:gd name="T1" fmla="*/ 13 h 1504"/>
                <a:gd name="T2" fmla="*/ 296 w 913"/>
                <a:gd name="T3" fmla="*/ 416 h 1504"/>
                <a:gd name="T4" fmla="*/ 224 w 913"/>
                <a:gd name="T5" fmla="*/ 588 h 1504"/>
                <a:gd name="T6" fmla="*/ 180 w 913"/>
                <a:gd name="T7" fmla="*/ 632 h 1504"/>
                <a:gd name="T8" fmla="*/ 156 w 913"/>
                <a:gd name="T9" fmla="*/ 672 h 1504"/>
                <a:gd name="T10" fmla="*/ 116 w 913"/>
                <a:gd name="T11" fmla="*/ 696 h 1504"/>
                <a:gd name="T12" fmla="*/ 72 w 913"/>
                <a:gd name="T13" fmla="*/ 756 h 1504"/>
                <a:gd name="T14" fmla="*/ 20 w 913"/>
                <a:gd name="T15" fmla="*/ 836 h 1504"/>
                <a:gd name="T16" fmla="*/ 4 w 913"/>
                <a:gd name="T17" fmla="*/ 872 h 1504"/>
                <a:gd name="T18" fmla="*/ 8 w 913"/>
                <a:gd name="T19" fmla="*/ 884 h 1504"/>
                <a:gd name="T20" fmla="*/ 24 w 913"/>
                <a:gd name="T21" fmla="*/ 888 h 1504"/>
                <a:gd name="T22" fmla="*/ 36 w 913"/>
                <a:gd name="T23" fmla="*/ 924 h 1504"/>
                <a:gd name="T24" fmla="*/ 128 w 913"/>
                <a:gd name="T25" fmla="*/ 980 h 1504"/>
                <a:gd name="T26" fmla="*/ 128 w 913"/>
                <a:gd name="T27" fmla="*/ 1036 h 1504"/>
                <a:gd name="T28" fmla="*/ 120 w 913"/>
                <a:gd name="T29" fmla="*/ 1052 h 1504"/>
                <a:gd name="T30" fmla="*/ 108 w 913"/>
                <a:gd name="T31" fmla="*/ 1060 h 1504"/>
                <a:gd name="T32" fmla="*/ 60 w 913"/>
                <a:gd name="T33" fmla="*/ 1176 h 1504"/>
                <a:gd name="T34" fmla="*/ 8 w 913"/>
                <a:gd name="T35" fmla="*/ 1376 h 1504"/>
                <a:gd name="T36" fmla="*/ 32 w 913"/>
                <a:gd name="T37" fmla="*/ 1412 h 1504"/>
                <a:gd name="T38" fmla="*/ 116 w 913"/>
                <a:gd name="T39" fmla="*/ 1416 h 1504"/>
                <a:gd name="T40" fmla="*/ 216 w 913"/>
                <a:gd name="T41" fmla="*/ 1476 h 1504"/>
                <a:gd name="T42" fmla="*/ 358 w 913"/>
                <a:gd name="T43" fmla="*/ 1476 h 1504"/>
                <a:gd name="T44" fmla="*/ 345 w 913"/>
                <a:gd name="T45" fmla="*/ 1387 h 1504"/>
                <a:gd name="T46" fmla="*/ 394 w 913"/>
                <a:gd name="T47" fmla="*/ 1282 h 1504"/>
                <a:gd name="T48" fmla="*/ 439 w 913"/>
                <a:gd name="T49" fmla="*/ 1255 h 1504"/>
                <a:gd name="T50" fmla="*/ 507 w 913"/>
                <a:gd name="T51" fmla="*/ 1230 h 1504"/>
                <a:gd name="T52" fmla="*/ 508 w 913"/>
                <a:gd name="T53" fmla="*/ 1192 h 1504"/>
                <a:gd name="T54" fmla="*/ 474 w 913"/>
                <a:gd name="T55" fmla="*/ 1129 h 1504"/>
                <a:gd name="T56" fmla="*/ 496 w 913"/>
                <a:gd name="T57" fmla="*/ 1062 h 1504"/>
                <a:gd name="T58" fmla="*/ 560 w 913"/>
                <a:gd name="T59" fmla="*/ 980 h 1504"/>
                <a:gd name="T60" fmla="*/ 559 w 913"/>
                <a:gd name="T61" fmla="*/ 933 h 1504"/>
                <a:gd name="T62" fmla="*/ 532 w 913"/>
                <a:gd name="T63" fmla="*/ 824 h 1504"/>
                <a:gd name="T64" fmla="*/ 516 w 913"/>
                <a:gd name="T65" fmla="*/ 768 h 1504"/>
                <a:gd name="T66" fmla="*/ 560 w 913"/>
                <a:gd name="T67" fmla="*/ 748 h 1504"/>
                <a:gd name="T68" fmla="*/ 633 w 913"/>
                <a:gd name="T69" fmla="*/ 735 h 1504"/>
                <a:gd name="T70" fmla="*/ 657 w 913"/>
                <a:gd name="T71" fmla="*/ 693 h 1504"/>
                <a:gd name="T72" fmla="*/ 656 w 913"/>
                <a:gd name="T73" fmla="*/ 624 h 1504"/>
                <a:gd name="T74" fmla="*/ 697 w 913"/>
                <a:gd name="T75" fmla="*/ 592 h 1504"/>
                <a:gd name="T76" fmla="*/ 705 w 913"/>
                <a:gd name="T77" fmla="*/ 544 h 1504"/>
                <a:gd name="T78" fmla="*/ 712 w 913"/>
                <a:gd name="T79" fmla="*/ 528 h 1504"/>
                <a:gd name="T80" fmla="*/ 780 w 913"/>
                <a:gd name="T81" fmla="*/ 343 h 1504"/>
                <a:gd name="T82" fmla="*/ 844 w 913"/>
                <a:gd name="T83" fmla="*/ 327 h 1504"/>
                <a:gd name="T84" fmla="*/ 880 w 913"/>
                <a:gd name="T85" fmla="*/ 298 h 1504"/>
                <a:gd name="T86" fmla="*/ 910 w 913"/>
                <a:gd name="T87" fmla="*/ 228 h 1504"/>
                <a:gd name="T88" fmla="*/ 873 w 913"/>
                <a:gd name="T89" fmla="*/ 193 h 1504"/>
                <a:gd name="T90" fmla="*/ 840 w 913"/>
                <a:gd name="T91" fmla="*/ 120 h 1504"/>
                <a:gd name="T92" fmla="*/ 740 w 913"/>
                <a:gd name="T93" fmla="*/ 104 h 1504"/>
                <a:gd name="T94" fmla="*/ 658 w 913"/>
                <a:gd name="T95" fmla="*/ 111 h 1504"/>
                <a:gd name="T96" fmla="*/ 616 w 913"/>
                <a:gd name="T97" fmla="*/ 103 h 1504"/>
                <a:gd name="T98" fmla="*/ 552 w 913"/>
                <a:gd name="T99" fmla="*/ 92 h 1504"/>
                <a:gd name="T100" fmla="*/ 516 w 913"/>
                <a:gd name="T101" fmla="*/ 78 h 1504"/>
                <a:gd name="T102" fmla="*/ 540 w 913"/>
                <a:gd name="T103" fmla="*/ 34 h 1504"/>
                <a:gd name="T104" fmla="*/ 476 w 913"/>
                <a:gd name="T105" fmla="*/ 4 h 1504"/>
                <a:gd name="T106" fmla="*/ 429 w 913"/>
                <a:gd name="T107" fmla="*/ 21 h 1504"/>
                <a:gd name="T108" fmla="*/ 384 w 913"/>
                <a:gd name="T109" fmla="*/ 1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solidFill>
              <a:schemeClr val="accent1"/>
            </a:solidFill>
            <a:ln w="3175">
              <a:solidFill>
                <a:schemeClr val="accent1"/>
              </a:solidFill>
              <a:round/>
              <a:headEnd/>
              <a:tailEnd/>
            </a:ln>
          </p:spPr>
          <p:txBody>
            <a:bodyPr wrap="none" lIns="0" tIns="0" rIns="0" bIns="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4" name="Freeform 584">
              <a:extLst>
                <a:ext uri="{FF2B5EF4-FFF2-40B4-BE49-F238E27FC236}">
                  <a16:creationId xmlns:a16="http://schemas.microsoft.com/office/drawing/2014/main" id="{59970E07-6126-4CA7-99C8-8527746F6E20}"/>
                </a:ext>
              </a:extLst>
            </p:cNvPr>
            <p:cNvSpPr>
              <a:spLocks noChangeAspect="1" noEditPoints="1"/>
            </p:cNvSpPr>
            <p:nvPr/>
          </p:nvSpPr>
          <p:spPr bwMode="auto">
            <a:xfrm>
              <a:off x="3870126" y="3449752"/>
              <a:ext cx="206391" cy="324155"/>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5" name="Freeform 584">
              <a:extLst>
                <a:ext uri="{FF2B5EF4-FFF2-40B4-BE49-F238E27FC236}">
                  <a16:creationId xmlns:a16="http://schemas.microsoft.com/office/drawing/2014/main" id="{7EA097C5-BED2-45BC-B5D6-1CC50E05C9C6}"/>
                </a:ext>
              </a:extLst>
            </p:cNvPr>
            <p:cNvSpPr>
              <a:spLocks noChangeAspect="1" noEditPoints="1"/>
            </p:cNvSpPr>
            <p:nvPr/>
          </p:nvSpPr>
          <p:spPr bwMode="auto">
            <a:xfrm>
              <a:off x="4771857" y="3507100"/>
              <a:ext cx="206391" cy="324155"/>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6" name="Rectangle 35">
              <a:extLst>
                <a:ext uri="{FF2B5EF4-FFF2-40B4-BE49-F238E27FC236}">
                  <a16:creationId xmlns:a16="http://schemas.microsoft.com/office/drawing/2014/main" id="{8A613A09-4033-440D-9620-2250895AD710}"/>
                </a:ext>
              </a:extLst>
            </p:cNvPr>
            <p:cNvSpPr/>
            <p:nvPr/>
          </p:nvSpPr>
          <p:spPr>
            <a:xfrm>
              <a:off x="6298218" y="5200147"/>
              <a:ext cx="238313" cy="122148"/>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grpSp>
      <p:grpSp>
        <p:nvGrpSpPr>
          <p:cNvPr id="47" name="Group 46">
            <a:extLst>
              <a:ext uri="{FF2B5EF4-FFF2-40B4-BE49-F238E27FC236}">
                <a16:creationId xmlns:a16="http://schemas.microsoft.com/office/drawing/2014/main" id="{F9B09D3E-717B-4B44-B3F4-2E9D14ACCDC1}"/>
              </a:ext>
            </a:extLst>
          </p:cNvPr>
          <p:cNvGrpSpPr/>
          <p:nvPr/>
        </p:nvGrpSpPr>
        <p:grpSpPr>
          <a:xfrm>
            <a:off x="6369883" y="5457799"/>
            <a:ext cx="1760941" cy="824924"/>
            <a:chOff x="6184689" y="5526856"/>
            <a:chExt cx="1760941" cy="824924"/>
          </a:xfrm>
        </p:grpSpPr>
        <p:sp>
          <p:nvSpPr>
            <p:cNvPr id="382" name="Freeform 513">
              <a:extLst>
                <a:ext uri="{FF2B5EF4-FFF2-40B4-BE49-F238E27FC236}">
                  <a16:creationId xmlns:a16="http://schemas.microsoft.com/office/drawing/2014/main" id="{F7C41667-05D5-4390-8499-B7B3C26846D1}"/>
                </a:ext>
              </a:extLst>
            </p:cNvPr>
            <p:cNvSpPr>
              <a:spLocks noEditPoints="1"/>
            </p:cNvSpPr>
            <p:nvPr/>
          </p:nvSpPr>
          <p:spPr bwMode="auto">
            <a:xfrm>
              <a:off x="6194212" y="5531618"/>
              <a:ext cx="1684889" cy="820162"/>
            </a:xfrm>
            <a:custGeom>
              <a:avLst/>
              <a:gdLst/>
              <a:ahLst/>
              <a:cxnLst>
                <a:cxn ang="0">
                  <a:pos x="3924" y="924"/>
                </a:cxn>
                <a:cxn ang="0">
                  <a:pos x="3432" y="66"/>
                </a:cxn>
                <a:cxn ang="0">
                  <a:pos x="3558" y="324"/>
                </a:cxn>
                <a:cxn ang="0">
                  <a:pos x="3414" y="12"/>
                </a:cxn>
                <a:cxn ang="0">
                  <a:pos x="4038" y="1026"/>
                </a:cxn>
                <a:cxn ang="0">
                  <a:pos x="3204" y="576"/>
                </a:cxn>
                <a:cxn ang="0">
                  <a:pos x="3396" y="204"/>
                </a:cxn>
                <a:cxn ang="0">
                  <a:pos x="3486" y="186"/>
                </a:cxn>
                <a:cxn ang="0">
                  <a:pos x="3654" y="516"/>
                </a:cxn>
                <a:cxn ang="0">
                  <a:pos x="3864" y="774"/>
                </a:cxn>
                <a:cxn ang="0">
                  <a:pos x="3930" y="960"/>
                </a:cxn>
                <a:cxn ang="0">
                  <a:pos x="4002" y="1026"/>
                </a:cxn>
                <a:cxn ang="0">
                  <a:pos x="4152" y="1194"/>
                </a:cxn>
                <a:cxn ang="0">
                  <a:pos x="4170" y="1452"/>
                </a:cxn>
                <a:cxn ang="0">
                  <a:pos x="4038" y="1722"/>
                </a:cxn>
                <a:cxn ang="0">
                  <a:pos x="3966" y="1788"/>
                </a:cxn>
                <a:cxn ang="0">
                  <a:pos x="3894" y="1926"/>
                </a:cxn>
                <a:cxn ang="0">
                  <a:pos x="3768" y="2100"/>
                </a:cxn>
                <a:cxn ang="0">
                  <a:pos x="3504" y="2154"/>
                </a:cxn>
                <a:cxn ang="0">
                  <a:pos x="3240" y="2142"/>
                </a:cxn>
                <a:cxn ang="0">
                  <a:pos x="3006" y="1944"/>
                </a:cxn>
                <a:cxn ang="0">
                  <a:pos x="3000" y="1758"/>
                </a:cxn>
                <a:cxn ang="0">
                  <a:pos x="2808" y="1860"/>
                </a:cxn>
                <a:cxn ang="0">
                  <a:pos x="2676" y="1680"/>
                </a:cxn>
                <a:cxn ang="0">
                  <a:pos x="2142" y="1692"/>
                </a:cxn>
                <a:cxn ang="0">
                  <a:pos x="1662" y="1830"/>
                </a:cxn>
                <a:cxn ang="0">
                  <a:pos x="1332" y="1782"/>
                </a:cxn>
                <a:cxn ang="0">
                  <a:pos x="1248" y="1278"/>
                </a:cxn>
                <a:cxn ang="0">
                  <a:pos x="1236" y="1188"/>
                </a:cxn>
                <a:cxn ang="0">
                  <a:pos x="1266" y="930"/>
                </a:cxn>
                <a:cxn ang="0">
                  <a:pos x="1572" y="810"/>
                </a:cxn>
                <a:cxn ang="0">
                  <a:pos x="1902" y="546"/>
                </a:cxn>
                <a:cxn ang="0">
                  <a:pos x="2004" y="510"/>
                </a:cxn>
                <a:cxn ang="0">
                  <a:pos x="2076" y="468"/>
                </a:cxn>
                <a:cxn ang="0">
                  <a:pos x="2106" y="402"/>
                </a:cxn>
                <a:cxn ang="0">
                  <a:pos x="2178" y="354"/>
                </a:cxn>
                <a:cxn ang="0">
                  <a:pos x="2268" y="300"/>
                </a:cxn>
                <a:cxn ang="0">
                  <a:pos x="2424" y="390"/>
                </a:cxn>
                <a:cxn ang="0">
                  <a:pos x="2508" y="228"/>
                </a:cxn>
                <a:cxn ang="0">
                  <a:pos x="2694" y="168"/>
                </a:cxn>
                <a:cxn ang="0">
                  <a:pos x="2748" y="132"/>
                </a:cxn>
                <a:cxn ang="0">
                  <a:pos x="2946" y="180"/>
                </a:cxn>
                <a:cxn ang="0">
                  <a:pos x="2940" y="252"/>
                </a:cxn>
                <a:cxn ang="0">
                  <a:pos x="2988" y="444"/>
                </a:cxn>
                <a:cxn ang="0">
                  <a:pos x="3462" y="2334"/>
                </a:cxn>
                <a:cxn ang="0">
                  <a:pos x="3378" y="2262"/>
                </a:cxn>
                <a:cxn ang="0">
                  <a:pos x="3564" y="2370"/>
                </a:cxn>
                <a:cxn ang="0">
                  <a:pos x="3648" y="2454"/>
                </a:cxn>
                <a:cxn ang="0">
                  <a:pos x="3576" y="2514"/>
                </a:cxn>
                <a:cxn ang="0">
                  <a:pos x="3450" y="2442"/>
                </a:cxn>
                <a:cxn ang="0">
                  <a:pos x="3498" y="2160"/>
                </a:cxn>
                <a:cxn ang="0">
                  <a:pos x="2112" y="420"/>
                </a:cxn>
                <a:cxn ang="0">
                  <a:pos x="2371" y="378"/>
                </a:cxn>
                <a:cxn ang="0">
                  <a:pos x="1992" y="468"/>
                </a:cxn>
                <a:cxn ang="0">
                  <a:pos x="2130" y="360"/>
                </a:cxn>
                <a:cxn ang="0">
                  <a:pos x="1368" y="1668"/>
                </a:cxn>
                <a:cxn ang="0">
                  <a:pos x="2076" y="414"/>
                </a:cxn>
                <a:cxn ang="0">
                  <a:pos x="2904" y="1950"/>
                </a:cxn>
                <a:cxn ang="0">
                  <a:pos x="2640" y="120"/>
                </a:cxn>
                <a:cxn ang="0">
                  <a:pos x="2712" y="96"/>
                </a:cxn>
                <a:cxn ang="0">
                  <a:pos x="2460" y="360"/>
                </a:cxn>
                <a:cxn ang="0">
                  <a:pos x="2922" y="162"/>
                </a:cxn>
                <a:cxn ang="0">
                  <a:pos x="2994" y="318"/>
                </a:cxn>
              </a:cxnLst>
              <a:rect l="0" t="0" r="r" b="b"/>
              <a:pathLst>
                <a:path w="5238" h="2550">
                  <a:moveTo>
                    <a:pt x="3420" y="60"/>
                  </a:moveTo>
                  <a:lnTo>
                    <a:pt x="3420" y="66"/>
                  </a:lnTo>
                  <a:lnTo>
                    <a:pt x="3421" y="66"/>
                  </a:lnTo>
                  <a:lnTo>
                    <a:pt x="3420" y="60"/>
                  </a:lnTo>
                  <a:close/>
                  <a:moveTo>
                    <a:pt x="3648" y="372"/>
                  </a:moveTo>
                  <a:lnTo>
                    <a:pt x="3654" y="372"/>
                  </a:lnTo>
                  <a:lnTo>
                    <a:pt x="3648" y="372"/>
                  </a:lnTo>
                  <a:close/>
                  <a:moveTo>
                    <a:pt x="3954" y="960"/>
                  </a:moveTo>
                  <a:lnTo>
                    <a:pt x="3960" y="960"/>
                  </a:lnTo>
                  <a:lnTo>
                    <a:pt x="3954" y="960"/>
                  </a:lnTo>
                  <a:close/>
                  <a:moveTo>
                    <a:pt x="3930" y="948"/>
                  </a:moveTo>
                  <a:lnTo>
                    <a:pt x="3930" y="954"/>
                  </a:lnTo>
                  <a:lnTo>
                    <a:pt x="3931" y="954"/>
                  </a:lnTo>
                  <a:lnTo>
                    <a:pt x="3930" y="948"/>
                  </a:lnTo>
                  <a:close/>
                  <a:moveTo>
                    <a:pt x="3792" y="732"/>
                  </a:moveTo>
                  <a:lnTo>
                    <a:pt x="3792" y="738"/>
                  </a:lnTo>
                  <a:lnTo>
                    <a:pt x="3793" y="738"/>
                  </a:lnTo>
                  <a:lnTo>
                    <a:pt x="3792" y="732"/>
                  </a:lnTo>
                  <a:close/>
                  <a:moveTo>
                    <a:pt x="3936" y="942"/>
                  </a:moveTo>
                  <a:lnTo>
                    <a:pt x="3942" y="942"/>
                  </a:lnTo>
                  <a:lnTo>
                    <a:pt x="3936" y="942"/>
                  </a:lnTo>
                  <a:close/>
                  <a:moveTo>
                    <a:pt x="3720" y="684"/>
                  </a:moveTo>
                  <a:lnTo>
                    <a:pt x="3726" y="684"/>
                  </a:lnTo>
                  <a:lnTo>
                    <a:pt x="3720" y="684"/>
                  </a:lnTo>
                  <a:close/>
                  <a:moveTo>
                    <a:pt x="3828" y="756"/>
                  </a:moveTo>
                  <a:lnTo>
                    <a:pt x="3834" y="756"/>
                  </a:lnTo>
                  <a:lnTo>
                    <a:pt x="3828" y="756"/>
                  </a:lnTo>
                  <a:close/>
                  <a:moveTo>
                    <a:pt x="3510" y="6"/>
                  </a:moveTo>
                  <a:lnTo>
                    <a:pt x="3516" y="6"/>
                  </a:lnTo>
                  <a:lnTo>
                    <a:pt x="3510" y="6"/>
                  </a:lnTo>
                  <a:close/>
                  <a:moveTo>
                    <a:pt x="4164" y="1320"/>
                  </a:moveTo>
                  <a:lnTo>
                    <a:pt x="4164" y="1326"/>
                  </a:lnTo>
                  <a:lnTo>
                    <a:pt x="4165" y="1326"/>
                  </a:lnTo>
                  <a:lnTo>
                    <a:pt x="4164" y="1320"/>
                  </a:lnTo>
                  <a:close/>
                  <a:moveTo>
                    <a:pt x="4026" y="1002"/>
                  </a:moveTo>
                  <a:lnTo>
                    <a:pt x="4026" y="1008"/>
                  </a:lnTo>
                  <a:lnTo>
                    <a:pt x="4027" y="1008"/>
                  </a:lnTo>
                  <a:lnTo>
                    <a:pt x="4026" y="1002"/>
                  </a:lnTo>
                  <a:close/>
                  <a:moveTo>
                    <a:pt x="4152" y="1188"/>
                  </a:moveTo>
                  <a:lnTo>
                    <a:pt x="4158" y="1188"/>
                  </a:lnTo>
                  <a:lnTo>
                    <a:pt x="4152" y="1188"/>
                  </a:lnTo>
                  <a:close/>
                  <a:moveTo>
                    <a:pt x="4158" y="1284"/>
                  </a:moveTo>
                  <a:lnTo>
                    <a:pt x="4158" y="1290"/>
                  </a:lnTo>
                  <a:lnTo>
                    <a:pt x="4159" y="1290"/>
                  </a:lnTo>
                  <a:lnTo>
                    <a:pt x="4158" y="1284"/>
                  </a:lnTo>
                  <a:close/>
                  <a:moveTo>
                    <a:pt x="3930" y="906"/>
                  </a:moveTo>
                  <a:lnTo>
                    <a:pt x="3936" y="906"/>
                  </a:lnTo>
                  <a:lnTo>
                    <a:pt x="3930" y="906"/>
                  </a:lnTo>
                  <a:close/>
                  <a:moveTo>
                    <a:pt x="3882" y="804"/>
                  </a:moveTo>
                  <a:lnTo>
                    <a:pt x="3882" y="810"/>
                  </a:lnTo>
                  <a:lnTo>
                    <a:pt x="3883" y="810"/>
                  </a:lnTo>
                  <a:lnTo>
                    <a:pt x="3882" y="804"/>
                  </a:lnTo>
                  <a:close/>
                  <a:moveTo>
                    <a:pt x="3858" y="762"/>
                  </a:moveTo>
                  <a:lnTo>
                    <a:pt x="3864" y="762"/>
                  </a:lnTo>
                  <a:lnTo>
                    <a:pt x="3858" y="762"/>
                  </a:lnTo>
                  <a:close/>
                  <a:moveTo>
                    <a:pt x="3948" y="834"/>
                  </a:moveTo>
                  <a:lnTo>
                    <a:pt x="3948" y="840"/>
                  </a:lnTo>
                  <a:lnTo>
                    <a:pt x="3949" y="840"/>
                  </a:lnTo>
                  <a:lnTo>
                    <a:pt x="3948" y="834"/>
                  </a:lnTo>
                  <a:close/>
                  <a:moveTo>
                    <a:pt x="3942" y="900"/>
                  </a:moveTo>
                  <a:lnTo>
                    <a:pt x="3948" y="900"/>
                  </a:lnTo>
                  <a:lnTo>
                    <a:pt x="3942" y="900"/>
                  </a:lnTo>
                  <a:close/>
                  <a:moveTo>
                    <a:pt x="3948" y="930"/>
                  </a:moveTo>
                  <a:lnTo>
                    <a:pt x="3948" y="936"/>
                  </a:lnTo>
                  <a:lnTo>
                    <a:pt x="3949" y="936"/>
                  </a:lnTo>
                  <a:lnTo>
                    <a:pt x="3948" y="930"/>
                  </a:lnTo>
                  <a:close/>
                  <a:moveTo>
                    <a:pt x="4170" y="1338"/>
                  </a:moveTo>
                  <a:lnTo>
                    <a:pt x="4170" y="1344"/>
                  </a:lnTo>
                  <a:lnTo>
                    <a:pt x="4171" y="1344"/>
                  </a:lnTo>
                  <a:lnTo>
                    <a:pt x="4170" y="1338"/>
                  </a:lnTo>
                  <a:close/>
                  <a:moveTo>
                    <a:pt x="4068" y="1068"/>
                  </a:moveTo>
                  <a:lnTo>
                    <a:pt x="4074" y="1068"/>
                  </a:lnTo>
                  <a:lnTo>
                    <a:pt x="4068" y="1068"/>
                  </a:lnTo>
                  <a:close/>
                  <a:moveTo>
                    <a:pt x="3300" y="540"/>
                  </a:moveTo>
                  <a:lnTo>
                    <a:pt x="3306" y="540"/>
                  </a:lnTo>
                  <a:lnTo>
                    <a:pt x="3300" y="540"/>
                  </a:lnTo>
                  <a:close/>
                  <a:moveTo>
                    <a:pt x="3984" y="912"/>
                  </a:moveTo>
                  <a:lnTo>
                    <a:pt x="3984" y="918"/>
                  </a:lnTo>
                  <a:lnTo>
                    <a:pt x="3985" y="918"/>
                  </a:lnTo>
                  <a:lnTo>
                    <a:pt x="3984" y="912"/>
                  </a:lnTo>
                  <a:close/>
                  <a:moveTo>
                    <a:pt x="4176" y="1338"/>
                  </a:moveTo>
                  <a:lnTo>
                    <a:pt x="4176" y="1344"/>
                  </a:lnTo>
                  <a:lnTo>
                    <a:pt x="4177" y="1344"/>
                  </a:lnTo>
                  <a:lnTo>
                    <a:pt x="4176" y="1338"/>
                  </a:lnTo>
                  <a:close/>
                  <a:moveTo>
                    <a:pt x="3894" y="810"/>
                  </a:moveTo>
                  <a:lnTo>
                    <a:pt x="3900" y="810"/>
                  </a:lnTo>
                  <a:lnTo>
                    <a:pt x="3894" y="810"/>
                  </a:lnTo>
                  <a:close/>
                  <a:moveTo>
                    <a:pt x="3900" y="780"/>
                  </a:moveTo>
                  <a:lnTo>
                    <a:pt x="3900" y="786"/>
                  </a:lnTo>
                  <a:lnTo>
                    <a:pt x="3901" y="786"/>
                  </a:lnTo>
                  <a:lnTo>
                    <a:pt x="3900" y="780"/>
                  </a:lnTo>
                  <a:close/>
                  <a:moveTo>
                    <a:pt x="4164" y="1200"/>
                  </a:moveTo>
                  <a:lnTo>
                    <a:pt x="4164" y="1206"/>
                  </a:lnTo>
                  <a:lnTo>
                    <a:pt x="4165" y="1206"/>
                  </a:lnTo>
                  <a:lnTo>
                    <a:pt x="4164" y="1200"/>
                  </a:lnTo>
                  <a:close/>
                  <a:moveTo>
                    <a:pt x="3444" y="54"/>
                  </a:moveTo>
                  <a:lnTo>
                    <a:pt x="3450" y="54"/>
                  </a:lnTo>
                  <a:lnTo>
                    <a:pt x="3444" y="54"/>
                  </a:lnTo>
                  <a:close/>
                  <a:moveTo>
                    <a:pt x="3942" y="912"/>
                  </a:moveTo>
                  <a:lnTo>
                    <a:pt x="3948" y="912"/>
                  </a:lnTo>
                  <a:lnTo>
                    <a:pt x="3942" y="912"/>
                  </a:lnTo>
                  <a:close/>
                  <a:moveTo>
                    <a:pt x="4152" y="1182"/>
                  </a:moveTo>
                  <a:lnTo>
                    <a:pt x="4158" y="1182"/>
                  </a:lnTo>
                  <a:lnTo>
                    <a:pt x="4158" y="1188"/>
                  </a:lnTo>
                  <a:lnTo>
                    <a:pt x="4152" y="1188"/>
                  </a:lnTo>
                  <a:lnTo>
                    <a:pt x="4152" y="1182"/>
                  </a:lnTo>
                  <a:close/>
                  <a:moveTo>
                    <a:pt x="4176" y="1344"/>
                  </a:moveTo>
                  <a:lnTo>
                    <a:pt x="4176" y="1350"/>
                  </a:lnTo>
                  <a:lnTo>
                    <a:pt x="4177" y="1350"/>
                  </a:lnTo>
                  <a:lnTo>
                    <a:pt x="4176" y="1344"/>
                  </a:lnTo>
                  <a:close/>
                  <a:moveTo>
                    <a:pt x="4176" y="1344"/>
                  </a:moveTo>
                  <a:lnTo>
                    <a:pt x="4170" y="1344"/>
                  </a:lnTo>
                  <a:lnTo>
                    <a:pt x="4171" y="1344"/>
                  </a:lnTo>
                  <a:lnTo>
                    <a:pt x="4176" y="1344"/>
                  </a:lnTo>
                  <a:close/>
                  <a:moveTo>
                    <a:pt x="4170" y="1344"/>
                  </a:moveTo>
                  <a:lnTo>
                    <a:pt x="4176" y="1344"/>
                  </a:lnTo>
                  <a:lnTo>
                    <a:pt x="4176" y="1350"/>
                  </a:lnTo>
                  <a:lnTo>
                    <a:pt x="4170" y="1350"/>
                  </a:lnTo>
                  <a:lnTo>
                    <a:pt x="4170" y="1344"/>
                  </a:lnTo>
                  <a:close/>
                  <a:moveTo>
                    <a:pt x="3840" y="762"/>
                  </a:moveTo>
                  <a:lnTo>
                    <a:pt x="3840" y="768"/>
                  </a:lnTo>
                  <a:lnTo>
                    <a:pt x="3841" y="768"/>
                  </a:lnTo>
                  <a:lnTo>
                    <a:pt x="3840" y="762"/>
                  </a:lnTo>
                  <a:close/>
                  <a:moveTo>
                    <a:pt x="3918" y="822"/>
                  </a:moveTo>
                  <a:lnTo>
                    <a:pt x="3924" y="822"/>
                  </a:lnTo>
                  <a:lnTo>
                    <a:pt x="3918" y="822"/>
                  </a:lnTo>
                  <a:close/>
                  <a:moveTo>
                    <a:pt x="3924" y="924"/>
                  </a:moveTo>
                  <a:lnTo>
                    <a:pt x="3930" y="924"/>
                  </a:lnTo>
                  <a:lnTo>
                    <a:pt x="3924" y="924"/>
                  </a:lnTo>
                  <a:close/>
                  <a:moveTo>
                    <a:pt x="4152" y="1182"/>
                  </a:moveTo>
                  <a:lnTo>
                    <a:pt x="4152" y="1188"/>
                  </a:lnTo>
                  <a:lnTo>
                    <a:pt x="4153" y="1188"/>
                  </a:lnTo>
                  <a:lnTo>
                    <a:pt x="4152" y="1182"/>
                  </a:lnTo>
                  <a:close/>
                  <a:moveTo>
                    <a:pt x="3648" y="480"/>
                  </a:moveTo>
                  <a:lnTo>
                    <a:pt x="3648" y="486"/>
                  </a:lnTo>
                  <a:lnTo>
                    <a:pt x="3649" y="486"/>
                  </a:lnTo>
                  <a:lnTo>
                    <a:pt x="3648" y="480"/>
                  </a:lnTo>
                  <a:close/>
                  <a:moveTo>
                    <a:pt x="4176" y="1344"/>
                  </a:moveTo>
                  <a:lnTo>
                    <a:pt x="4176" y="1350"/>
                  </a:lnTo>
                  <a:lnTo>
                    <a:pt x="4177" y="1350"/>
                  </a:lnTo>
                  <a:lnTo>
                    <a:pt x="4176" y="1344"/>
                  </a:lnTo>
                  <a:close/>
                  <a:moveTo>
                    <a:pt x="3480" y="174"/>
                  </a:moveTo>
                  <a:lnTo>
                    <a:pt x="3486" y="174"/>
                  </a:lnTo>
                  <a:lnTo>
                    <a:pt x="3480" y="174"/>
                  </a:lnTo>
                  <a:close/>
                  <a:moveTo>
                    <a:pt x="3714" y="672"/>
                  </a:moveTo>
                  <a:lnTo>
                    <a:pt x="3714" y="678"/>
                  </a:lnTo>
                  <a:lnTo>
                    <a:pt x="3715" y="678"/>
                  </a:lnTo>
                  <a:lnTo>
                    <a:pt x="3714" y="672"/>
                  </a:lnTo>
                  <a:close/>
                  <a:moveTo>
                    <a:pt x="4158" y="1320"/>
                  </a:moveTo>
                  <a:lnTo>
                    <a:pt x="4164" y="1320"/>
                  </a:lnTo>
                  <a:lnTo>
                    <a:pt x="4158" y="1320"/>
                  </a:lnTo>
                  <a:close/>
                  <a:moveTo>
                    <a:pt x="4158" y="1182"/>
                  </a:moveTo>
                  <a:lnTo>
                    <a:pt x="4158" y="1188"/>
                  </a:lnTo>
                  <a:lnTo>
                    <a:pt x="4159" y="1188"/>
                  </a:lnTo>
                  <a:lnTo>
                    <a:pt x="4158" y="1182"/>
                  </a:lnTo>
                  <a:close/>
                  <a:moveTo>
                    <a:pt x="3954" y="840"/>
                  </a:moveTo>
                  <a:lnTo>
                    <a:pt x="3960" y="840"/>
                  </a:lnTo>
                  <a:lnTo>
                    <a:pt x="3954" y="840"/>
                  </a:lnTo>
                  <a:close/>
                  <a:moveTo>
                    <a:pt x="3786" y="738"/>
                  </a:moveTo>
                  <a:lnTo>
                    <a:pt x="3792" y="738"/>
                  </a:lnTo>
                  <a:lnTo>
                    <a:pt x="3792" y="744"/>
                  </a:lnTo>
                  <a:lnTo>
                    <a:pt x="3786" y="744"/>
                  </a:lnTo>
                  <a:lnTo>
                    <a:pt x="3786" y="738"/>
                  </a:lnTo>
                  <a:close/>
                  <a:moveTo>
                    <a:pt x="3954" y="924"/>
                  </a:moveTo>
                  <a:lnTo>
                    <a:pt x="3954" y="930"/>
                  </a:lnTo>
                  <a:lnTo>
                    <a:pt x="3955" y="930"/>
                  </a:lnTo>
                  <a:lnTo>
                    <a:pt x="3954" y="924"/>
                  </a:lnTo>
                  <a:close/>
                  <a:moveTo>
                    <a:pt x="3966" y="912"/>
                  </a:moveTo>
                  <a:lnTo>
                    <a:pt x="3972" y="912"/>
                  </a:lnTo>
                  <a:lnTo>
                    <a:pt x="3966" y="912"/>
                  </a:lnTo>
                  <a:close/>
                  <a:moveTo>
                    <a:pt x="4170" y="1338"/>
                  </a:moveTo>
                  <a:lnTo>
                    <a:pt x="4170" y="1344"/>
                  </a:lnTo>
                  <a:lnTo>
                    <a:pt x="4171" y="1344"/>
                  </a:lnTo>
                  <a:lnTo>
                    <a:pt x="4170" y="1338"/>
                  </a:lnTo>
                  <a:close/>
                  <a:moveTo>
                    <a:pt x="4014" y="1026"/>
                  </a:moveTo>
                  <a:lnTo>
                    <a:pt x="4014" y="1032"/>
                  </a:lnTo>
                  <a:lnTo>
                    <a:pt x="4015" y="1032"/>
                  </a:lnTo>
                  <a:lnTo>
                    <a:pt x="4014" y="1026"/>
                  </a:lnTo>
                  <a:close/>
                  <a:moveTo>
                    <a:pt x="3978" y="930"/>
                  </a:moveTo>
                  <a:lnTo>
                    <a:pt x="3984" y="930"/>
                  </a:lnTo>
                  <a:lnTo>
                    <a:pt x="3978" y="930"/>
                  </a:lnTo>
                  <a:close/>
                  <a:moveTo>
                    <a:pt x="3906" y="810"/>
                  </a:moveTo>
                  <a:lnTo>
                    <a:pt x="3906" y="816"/>
                  </a:lnTo>
                  <a:lnTo>
                    <a:pt x="3907" y="816"/>
                  </a:lnTo>
                  <a:lnTo>
                    <a:pt x="3906" y="810"/>
                  </a:lnTo>
                  <a:close/>
                  <a:moveTo>
                    <a:pt x="3978" y="876"/>
                  </a:moveTo>
                  <a:lnTo>
                    <a:pt x="3984" y="876"/>
                  </a:lnTo>
                  <a:lnTo>
                    <a:pt x="3978" y="876"/>
                  </a:lnTo>
                  <a:close/>
                  <a:moveTo>
                    <a:pt x="3684" y="528"/>
                  </a:moveTo>
                  <a:lnTo>
                    <a:pt x="3684" y="534"/>
                  </a:lnTo>
                  <a:lnTo>
                    <a:pt x="3685" y="534"/>
                  </a:lnTo>
                  <a:lnTo>
                    <a:pt x="3684" y="528"/>
                  </a:lnTo>
                  <a:close/>
                  <a:moveTo>
                    <a:pt x="4008" y="912"/>
                  </a:moveTo>
                  <a:lnTo>
                    <a:pt x="4014" y="912"/>
                  </a:lnTo>
                  <a:lnTo>
                    <a:pt x="4008" y="912"/>
                  </a:lnTo>
                  <a:close/>
                  <a:moveTo>
                    <a:pt x="3924" y="912"/>
                  </a:moveTo>
                  <a:lnTo>
                    <a:pt x="3930" y="912"/>
                  </a:lnTo>
                  <a:lnTo>
                    <a:pt x="3924" y="912"/>
                  </a:lnTo>
                  <a:close/>
                  <a:moveTo>
                    <a:pt x="3414" y="48"/>
                  </a:moveTo>
                  <a:lnTo>
                    <a:pt x="3420" y="48"/>
                  </a:lnTo>
                  <a:lnTo>
                    <a:pt x="3420" y="54"/>
                  </a:lnTo>
                  <a:lnTo>
                    <a:pt x="3414" y="54"/>
                  </a:lnTo>
                  <a:lnTo>
                    <a:pt x="3414" y="48"/>
                  </a:lnTo>
                  <a:close/>
                  <a:moveTo>
                    <a:pt x="3882" y="780"/>
                  </a:moveTo>
                  <a:lnTo>
                    <a:pt x="3876" y="780"/>
                  </a:lnTo>
                  <a:lnTo>
                    <a:pt x="3877" y="780"/>
                  </a:lnTo>
                  <a:lnTo>
                    <a:pt x="3882" y="780"/>
                  </a:lnTo>
                  <a:close/>
                  <a:moveTo>
                    <a:pt x="3888" y="786"/>
                  </a:moveTo>
                  <a:lnTo>
                    <a:pt x="3888" y="792"/>
                  </a:lnTo>
                  <a:lnTo>
                    <a:pt x="3889" y="792"/>
                  </a:lnTo>
                  <a:lnTo>
                    <a:pt x="3888" y="786"/>
                  </a:lnTo>
                  <a:close/>
                  <a:moveTo>
                    <a:pt x="3408" y="36"/>
                  </a:moveTo>
                  <a:lnTo>
                    <a:pt x="3414" y="36"/>
                  </a:lnTo>
                  <a:lnTo>
                    <a:pt x="3408" y="36"/>
                  </a:lnTo>
                  <a:close/>
                  <a:moveTo>
                    <a:pt x="4170" y="1338"/>
                  </a:moveTo>
                  <a:lnTo>
                    <a:pt x="4170" y="1344"/>
                  </a:lnTo>
                  <a:lnTo>
                    <a:pt x="4171" y="1344"/>
                  </a:lnTo>
                  <a:lnTo>
                    <a:pt x="4170" y="1338"/>
                  </a:lnTo>
                  <a:close/>
                  <a:moveTo>
                    <a:pt x="3918" y="900"/>
                  </a:moveTo>
                  <a:lnTo>
                    <a:pt x="3924" y="900"/>
                  </a:lnTo>
                  <a:lnTo>
                    <a:pt x="3918" y="900"/>
                  </a:lnTo>
                  <a:close/>
                  <a:moveTo>
                    <a:pt x="3408" y="78"/>
                  </a:moveTo>
                  <a:lnTo>
                    <a:pt x="3408" y="84"/>
                  </a:lnTo>
                  <a:lnTo>
                    <a:pt x="3409" y="84"/>
                  </a:lnTo>
                  <a:lnTo>
                    <a:pt x="3408" y="78"/>
                  </a:lnTo>
                  <a:close/>
                  <a:moveTo>
                    <a:pt x="3948" y="930"/>
                  </a:moveTo>
                  <a:lnTo>
                    <a:pt x="3954" y="930"/>
                  </a:lnTo>
                  <a:lnTo>
                    <a:pt x="3954" y="936"/>
                  </a:lnTo>
                  <a:lnTo>
                    <a:pt x="3948" y="936"/>
                  </a:lnTo>
                  <a:lnTo>
                    <a:pt x="3948" y="930"/>
                  </a:lnTo>
                  <a:close/>
                  <a:moveTo>
                    <a:pt x="3882" y="768"/>
                  </a:moveTo>
                  <a:lnTo>
                    <a:pt x="3888" y="768"/>
                  </a:lnTo>
                  <a:lnTo>
                    <a:pt x="3882" y="768"/>
                  </a:lnTo>
                  <a:close/>
                  <a:moveTo>
                    <a:pt x="4164" y="1314"/>
                  </a:moveTo>
                  <a:lnTo>
                    <a:pt x="4170" y="1314"/>
                  </a:lnTo>
                  <a:lnTo>
                    <a:pt x="4170" y="1320"/>
                  </a:lnTo>
                  <a:lnTo>
                    <a:pt x="4164" y="1320"/>
                  </a:lnTo>
                  <a:lnTo>
                    <a:pt x="4164" y="1314"/>
                  </a:lnTo>
                  <a:close/>
                  <a:moveTo>
                    <a:pt x="3558" y="324"/>
                  </a:moveTo>
                  <a:lnTo>
                    <a:pt x="3564" y="324"/>
                  </a:lnTo>
                  <a:lnTo>
                    <a:pt x="3558" y="324"/>
                  </a:lnTo>
                  <a:close/>
                  <a:moveTo>
                    <a:pt x="3612" y="348"/>
                  </a:moveTo>
                  <a:lnTo>
                    <a:pt x="3618" y="348"/>
                  </a:lnTo>
                  <a:lnTo>
                    <a:pt x="3612" y="348"/>
                  </a:lnTo>
                  <a:close/>
                  <a:moveTo>
                    <a:pt x="3882" y="780"/>
                  </a:moveTo>
                  <a:lnTo>
                    <a:pt x="3882" y="786"/>
                  </a:lnTo>
                  <a:lnTo>
                    <a:pt x="3883" y="786"/>
                  </a:lnTo>
                  <a:lnTo>
                    <a:pt x="3882" y="780"/>
                  </a:lnTo>
                  <a:close/>
                  <a:moveTo>
                    <a:pt x="4038" y="1050"/>
                  </a:moveTo>
                  <a:lnTo>
                    <a:pt x="4038" y="1056"/>
                  </a:lnTo>
                  <a:lnTo>
                    <a:pt x="4039" y="1056"/>
                  </a:lnTo>
                  <a:lnTo>
                    <a:pt x="4038" y="1050"/>
                  </a:lnTo>
                  <a:close/>
                  <a:moveTo>
                    <a:pt x="3882" y="822"/>
                  </a:moveTo>
                  <a:lnTo>
                    <a:pt x="3882" y="828"/>
                  </a:lnTo>
                  <a:lnTo>
                    <a:pt x="3883" y="828"/>
                  </a:lnTo>
                  <a:lnTo>
                    <a:pt x="3882" y="822"/>
                  </a:lnTo>
                  <a:close/>
                  <a:moveTo>
                    <a:pt x="3426" y="66"/>
                  </a:moveTo>
                  <a:lnTo>
                    <a:pt x="3432" y="66"/>
                  </a:lnTo>
                  <a:lnTo>
                    <a:pt x="3426" y="66"/>
                  </a:lnTo>
                  <a:close/>
                  <a:moveTo>
                    <a:pt x="3894" y="774"/>
                  </a:moveTo>
                  <a:lnTo>
                    <a:pt x="3900" y="774"/>
                  </a:lnTo>
                  <a:lnTo>
                    <a:pt x="3894" y="774"/>
                  </a:lnTo>
                  <a:close/>
                  <a:moveTo>
                    <a:pt x="3420" y="60"/>
                  </a:moveTo>
                  <a:lnTo>
                    <a:pt x="3426" y="60"/>
                  </a:lnTo>
                  <a:lnTo>
                    <a:pt x="3420" y="60"/>
                  </a:lnTo>
                  <a:close/>
                  <a:moveTo>
                    <a:pt x="4002" y="1026"/>
                  </a:moveTo>
                  <a:lnTo>
                    <a:pt x="4008" y="1026"/>
                  </a:lnTo>
                  <a:lnTo>
                    <a:pt x="4002" y="1026"/>
                  </a:lnTo>
                  <a:close/>
                  <a:moveTo>
                    <a:pt x="3366" y="258"/>
                  </a:moveTo>
                  <a:lnTo>
                    <a:pt x="3372" y="258"/>
                  </a:lnTo>
                  <a:lnTo>
                    <a:pt x="3372" y="264"/>
                  </a:lnTo>
                  <a:lnTo>
                    <a:pt x="3366" y="264"/>
                  </a:lnTo>
                  <a:lnTo>
                    <a:pt x="3366" y="258"/>
                  </a:lnTo>
                  <a:close/>
                  <a:moveTo>
                    <a:pt x="4020" y="1038"/>
                  </a:moveTo>
                  <a:lnTo>
                    <a:pt x="4014" y="1038"/>
                  </a:lnTo>
                  <a:lnTo>
                    <a:pt x="4015" y="1038"/>
                  </a:lnTo>
                  <a:lnTo>
                    <a:pt x="4020" y="1038"/>
                  </a:lnTo>
                  <a:close/>
                  <a:moveTo>
                    <a:pt x="3372" y="258"/>
                  </a:moveTo>
                  <a:lnTo>
                    <a:pt x="3372" y="264"/>
                  </a:lnTo>
                  <a:lnTo>
                    <a:pt x="3373" y="264"/>
                  </a:lnTo>
                  <a:lnTo>
                    <a:pt x="3372" y="258"/>
                  </a:lnTo>
                  <a:close/>
                  <a:moveTo>
                    <a:pt x="3936" y="858"/>
                  </a:moveTo>
                  <a:lnTo>
                    <a:pt x="3942" y="858"/>
                  </a:lnTo>
                  <a:lnTo>
                    <a:pt x="3942" y="864"/>
                  </a:lnTo>
                  <a:lnTo>
                    <a:pt x="3936" y="864"/>
                  </a:lnTo>
                  <a:lnTo>
                    <a:pt x="3936" y="858"/>
                  </a:lnTo>
                  <a:close/>
                  <a:moveTo>
                    <a:pt x="3714" y="660"/>
                  </a:moveTo>
                  <a:lnTo>
                    <a:pt x="3720" y="660"/>
                  </a:lnTo>
                  <a:lnTo>
                    <a:pt x="3720" y="666"/>
                  </a:lnTo>
                  <a:lnTo>
                    <a:pt x="3714" y="666"/>
                  </a:lnTo>
                  <a:lnTo>
                    <a:pt x="3714" y="660"/>
                  </a:lnTo>
                  <a:close/>
                  <a:moveTo>
                    <a:pt x="4170" y="1356"/>
                  </a:moveTo>
                  <a:lnTo>
                    <a:pt x="4176" y="1356"/>
                  </a:lnTo>
                  <a:lnTo>
                    <a:pt x="4170" y="1356"/>
                  </a:lnTo>
                  <a:close/>
                  <a:moveTo>
                    <a:pt x="3432" y="60"/>
                  </a:moveTo>
                  <a:lnTo>
                    <a:pt x="3432" y="66"/>
                  </a:lnTo>
                  <a:lnTo>
                    <a:pt x="3433" y="66"/>
                  </a:lnTo>
                  <a:lnTo>
                    <a:pt x="3432" y="60"/>
                  </a:lnTo>
                  <a:close/>
                  <a:moveTo>
                    <a:pt x="3900" y="810"/>
                  </a:moveTo>
                  <a:lnTo>
                    <a:pt x="3906" y="810"/>
                  </a:lnTo>
                  <a:lnTo>
                    <a:pt x="3906" y="816"/>
                  </a:lnTo>
                  <a:lnTo>
                    <a:pt x="3900" y="816"/>
                  </a:lnTo>
                  <a:lnTo>
                    <a:pt x="3900" y="810"/>
                  </a:lnTo>
                  <a:close/>
                  <a:moveTo>
                    <a:pt x="3942" y="882"/>
                  </a:moveTo>
                  <a:lnTo>
                    <a:pt x="3948" y="882"/>
                  </a:lnTo>
                  <a:lnTo>
                    <a:pt x="3942" y="882"/>
                  </a:lnTo>
                  <a:close/>
                  <a:moveTo>
                    <a:pt x="3918" y="828"/>
                  </a:moveTo>
                  <a:lnTo>
                    <a:pt x="3924" y="828"/>
                  </a:lnTo>
                  <a:lnTo>
                    <a:pt x="3924" y="834"/>
                  </a:lnTo>
                  <a:lnTo>
                    <a:pt x="3918" y="834"/>
                  </a:lnTo>
                  <a:lnTo>
                    <a:pt x="3918" y="828"/>
                  </a:lnTo>
                  <a:close/>
                  <a:moveTo>
                    <a:pt x="3414" y="0"/>
                  </a:moveTo>
                  <a:lnTo>
                    <a:pt x="3420" y="0"/>
                  </a:lnTo>
                  <a:lnTo>
                    <a:pt x="3420" y="6"/>
                  </a:lnTo>
                  <a:lnTo>
                    <a:pt x="3414" y="6"/>
                  </a:lnTo>
                  <a:lnTo>
                    <a:pt x="3414" y="0"/>
                  </a:lnTo>
                  <a:close/>
                  <a:moveTo>
                    <a:pt x="3714" y="660"/>
                  </a:moveTo>
                  <a:lnTo>
                    <a:pt x="3714" y="666"/>
                  </a:lnTo>
                  <a:lnTo>
                    <a:pt x="3715" y="666"/>
                  </a:lnTo>
                  <a:lnTo>
                    <a:pt x="3714" y="660"/>
                  </a:lnTo>
                  <a:close/>
                  <a:moveTo>
                    <a:pt x="4170" y="1326"/>
                  </a:moveTo>
                  <a:lnTo>
                    <a:pt x="4176" y="1326"/>
                  </a:lnTo>
                  <a:lnTo>
                    <a:pt x="4176" y="1332"/>
                  </a:lnTo>
                  <a:lnTo>
                    <a:pt x="4170" y="1332"/>
                  </a:lnTo>
                  <a:lnTo>
                    <a:pt x="4170" y="1326"/>
                  </a:lnTo>
                  <a:close/>
                  <a:moveTo>
                    <a:pt x="3912" y="822"/>
                  </a:moveTo>
                  <a:lnTo>
                    <a:pt x="3906" y="822"/>
                  </a:lnTo>
                  <a:lnTo>
                    <a:pt x="3907" y="822"/>
                  </a:lnTo>
                  <a:lnTo>
                    <a:pt x="3912" y="822"/>
                  </a:lnTo>
                  <a:close/>
                  <a:moveTo>
                    <a:pt x="4170" y="1350"/>
                  </a:moveTo>
                  <a:lnTo>
                    <a:pt x="4176" y="1350"/>
                  </a:lnTo>
                  <a:lnTo>
                    <a:pt x="4170" y="1350"/>
                  </a:lnTo>
                  <a:close/>
                  <a:moveTo>
                    <a:pt x="3444" y="60"/>
                  </a:moveTo>
                  <a:lnTo>
                    <a:pt x="3450" y="60"/>
                  </a:lnTo>
                  <a:lnTo>
                    <a:pt x="3450" y="66"/>
                  </a:lnTo>
                  <a:lnTo>
                    <a:pt x="3444" y="66"/>
                  </a:lnTo>
                  <a:lnTo>
                    <a:pt x="3444" y="60"/>
                  </a:lnTo>
                  <a:close/>
                  <a:moveTo>
                    <a:pt x="3690" y="636"/>
                  </a:moveTo>
                  <a:lnTo>
                    <a:pt x="3690" y="642"/>
                  </a:lnTo>
                  <a:lnTo>
                    <a:pt x="3691" y="642"/>
                  </a:lnTo>
                  <a:lnTo>
                    <a:pt x="3690" y="636"/>
                  </a:lnTo>
                  <a:close/>
                  <a:moveTo>
                    <a:pt x="3648" y="360"/>
                  </a:moveTo>
                  <a:lnTo>
                    <a:pt x="3654" y="360"/>
                  </a:lnTo>
                  <a:lnTo>
                    <a:pt x="3648" y="360"/>
                  </a:lnTo>
                  <a:close/>
                  <a:moveTo>
                    <a:pt x="3894" y="792"/>
                  </a:moveTo>
                  <a:lnTo>
                    <a:pt x="3900" y="792"/>
                  </a:lnTo>
                  <a:lnTo>
                    <a:pt x="3900" y="798"/>
                  </a:lnTo>
                  <a:lnTo>
                    <a:pt x="3894" y="798"/>
                  </a:lnTo>
                  <a:lnTo>
                    <a:pt x="3894" y="792"/>
                  </a:lnTo>
                  <a:close/>
                  <a:moveTo>
                    <a:pt x="3222" y="510"/>
                  </a:moveTo>
                  <a:lnTo>
                    <a:pt x="3228" y="510"/>
                  </a:lnTo>
                  <a:lnTo>
                    <a:pt x="3222" y="510"/>
                  </a:lnTo>
                  <a:close/>
                  <a:moveTo>
                    <a:pt x="4170" y="1350"/>
                  </a:moveTo>
                  <a:lnTo>
                    <a:pt x="4176" y="1350"/>
                  </a:lnTo>
                  <a:lnTo>
                    <a:pt x="4176" y="1356"/>
                  </a:lnTo>
                  <a:lnTo>
                    <a:pt x="4170" y="1356"/>
                  </a:lnTo>
                  <a:lnTo>
                    <a:pt x="4170" y="1350"/>
                  </a:lnTo>
                  <a:close/>
                  <a:moveTo>
                    <a:pt x="4170" y="1338"/>
                  </a:moveTo>
                  <a:lnTo>
                    <a:pt x="4176" y="1338"/>
                  </a:lnTo>
                  <a:lnTo>
                    <a:pt x="4170" y="1338"/>
                  </a:lnTo>
                  <a:close/>
                  <a:moveTo>
                    <a:pt x="3462" y="6"/>
                  </a:moveTo>
                  <a:lnTo>
                    <a:pt x="3468" y="6"/>
                  </a:lnTo>
                  <a:lnTo>
                    <a:pt x="3468" y="12"/>
                  </a:lnTo>
                  <a:lnTo>
                    <a:pt x="3462" y="12"/>
                  </a:lnTo>
                  <a:lnTo>
                    <a:pt x="3462" y="6"/>
                  </a:lnTo>
                  <a:close/>
                  <a:moveTo>
                    <a:pt x="3192" y="510"/>
                  </a:moveTo>
                  <a:lnTo>
                    <a:pt x="3198" y="510"/>
                  </a:lnTo>
                  <a:lnTo>
                    <a:pt x="3198" y="516"/>
                  </a:lnTo>
                  <a:lnTo>
                    <a:pt x="3192" y="516"/>
                  </a:lnTo>
                  <a:lnTo>
                    <a:pt x="3192" y="510"/>
                  </a:lnTo>
                  <a:close/>
                  <a:moveTo>
                    <a:pt x="3924" y="828"/>
                  </a:moveTo>
                  <a:lnTo>
                    <a:pt x="3924" y="834"/>
                  </a:lnTo>
                  <a:lnTo>
                    <a:pt x="3925" y="834"/>
                  </a:lnTo>
                  <a:lnTo>
                    <a:pt x="3924" y="828"/>
                  </a:lnTo>
                  <a:close/>
                  <a:moveTo>
                    <a:pt x="3420" y="48"/>
                  </a:moveTo>
                  <a:lnTo>
                    <a:pt x="3426" y="48"/>
                  </a:lnTo>
                  <a:lnTo>
                    <a:pt x="3420" y="48"/>
                  </a:lnTo>
                  <a:close/>
                  <a:moveTo>
                    <a:pt x="3216" y="492"/>
                  </a:moveTo>
                  <a:lnTo>
                    <a:pt x="3216" y="498"/>
                  </a:lnTo>
                  <a:lnTo>
                    <a:pt x="3217" y="498"/>
                  </a:lnTo>
                  <a:lnTo>
                    <a:pt x="3216" y="492"/>
                  </a:lnTo>
                  <a:close/>
                  <a:moveTo>
                    <a:pt x="3888" y="786"/>
                  </a:moveTo>
                  <a:lnTo>
                    <a:pt x="3894" y="786"/>
                  </a:lnTo>
                  <a:lnTo>
                    <a:pt x="3894" y="792"/>
                  </a:lnTo>
                  <a:lnTo>
                    <a:pt x="3888" y="792"/>
                  </a:lnTo>
                  <a:lnTo>
                    <a:pt x="3888" y="786"/>
                  </a:lnTo>
                  <a:close/>
                  <a:moveTo>
                    <a:pt x="3558" y="324"/>
                  </a:moveTo>
                  <a:lnTo>
                    <a:pt x="3564" y="324"/>
                  </a:lnTo>
                  <a:lnTo>
                    <a:pt x="3558" y="324"/>
                  </a:lnTo>
                  <a:close/>
                  <a:moveTo>
                    <a:pt x="3900" y="780"/>
                  </a:moveTo>
                  <a:lnTo>
                    <a:pt x="3900" y="786"/>
                  </a:lnTo>
                  <a:lnTo>
                    <a:pt x="3901" y="786"/>
                  </a:lnTo>
                  <a:lnTo>
                    <a:pt x="3900" y="780"/>
                  </a:lnTo>
                  <a:close/>
                  <a:moveTo>
                    <a:pt x="3882" y="786"/>
                  </a:moveTo>
                  <a:lnTo>
                    <a:pt x="3882" y="792"/>
                  </a:lnTo>
                  <a:lnTo>
                    <a:pt x="3883" y="792"/>
                  </a:lnTo>
                  <a:lnTo>
                    <a:pt x="3882" y="786"/>
                  </a:lnTo>
                  <a:close/>
                  <a:moveTo>
                    <a:pt x="3786" y="738"/>
                  </a:moveTo>
                  <a:lnTo>
                    <a:pt x="3792" y="738"/>
                  </a:lnTo>
                  <a:lnTo>
                    <a:pt x="3786" y="738"/>
                  </a:lnTo>
                  <a:close/>
                  <a:moveTo>
                    <a:pt x="3714" y="654"/>
                  </a:moveTo>
                  <a:lnTo>
                    <a:pt x="3714" y="660"/>
                  </a:lnTo>
                  <a:lnTo>
                    <a:pt x="3715" y="660"/>
                  </a:lnTo>
                  <a:lnTo>
                    <a:pt x="3714" y="654"/>
                  </a:lnTo>
                  <a:close/>
                  <a:moveTo>
                    <a:pt x="4152" y="1176"/>
                  </a:moveTo>
                  <a:lnTo>
                    <a:pt x="4158" y="1176"/>
                  </a:lnTo>
                  <a:lnTo>
                    <a:pt x="4158" y="1182"/>
                  </a:lnTo>
                  <a:lnTo>
                    <a:pt x="4152" y="1182"/>
                  </a:lnTo>
                  <a:lnTo>
                    <a:pt x="4152" y="1176"/>
                  </a:lnTo>
                  <a:close/>
                  <a:moveTo>
                    <a:pt x="3450" y="78"/>
                  </a:moveTo>
                  <a:lnTo>
                    <a:pt x="3456" y="78"/>
                  </a:lnTo>
                  <a:lnTo>
                    <a:pt x="3450" y="78"/>
                  </a:lnTo>
                  <a:close/>
                  <a:moveTo>
                    <a:pt x="3414" y="48"/>
                  </a:moveTo>
                  <a:lnTo>
                    <a:pt x="3420" y="48"/>
                  </a:lnTo>
                  <a:lnTo>
                    <a:pt x="3414" y="48"/>
                  </a:lnTo>
                  <a:close/>
                  <a:moveTo>
                    <a:pt x="4158" y="1158"/>
                  </a:moveTo>
                  <a:lnTo>
                    <a:pt x="4164" y="1158"/>
                  </a:lnTo>
                  <a:lnTo>
                    <a:pt x="4164" y="1164"/>
                  </a:lnTo>
                  <a:lnTo>
                    <a:pt x="4158" y="1164"/>
                  </a:lnTo>
                  <a:lnTo>
                    <a:pt x="4158" y="1158"/>
                  </a:lnTo>
                  <a:close/>
                  <a:moveTo>
                    <a:pt x="3558" y="318"/>
                  </a:moveTo>
                  <a:lnTo>
                    <a:pt x="3564" y="318"/>
                  </a:lnTo>
                  <a:lnTo>
                    <a:pt x="3564" y="324"/>
                  </a:lnTo>
                  <a:lnTo>
                    <a:pt x="3558" y="324"/>
                  </a:lnTo>
                  <a:lnTo>
                    <a:pt x="3558" y="318"/>
                  </a:lnTo>
                  <a:close/>
                  <a:moveTo>
                    <a:pt x="4020" y="1002"/>
                  </a:moveTo>
                  <a:lnTo>
                    <a:pt x="4026" y="1002"/>
                  </a:lnTo>
                  <a:lnTo>
                    <a:pt x="4020" y="1002"/>
                  </a:lnTo>
                  <a:close/>
                  <a:moveTo>
                    <a:pt x="3174" y="534"/>
                  </a:moveTo>
                  <a:lnTo>
                    <a:pt x="3180" y="534"/>
                  </a:lnTo>
                  <a:lnTo>
                    <a:pt x="3180" y="540"/>
                  </a:lnTo>
                  <a:lnTo>
                    <a:pt x="3174" y="540"/>
                  </a:lnTo>
                  <a:lnTo>
                    <a:pt x="3174" y="534"/>
                  </a:lnTo>
                  <a:close/>
                  <a:moveTo>
                    <a:pt x="3852" y="762"/>
                  </a:moveTo>
                  <a:lnTo>
                    <a:pt x="3858" y="762"/>
                  </a:lnTo>
                  <a:lnTo>
                    <a:pt x="3858" y="768"/>
                  </a:lnTo>
                  <a:lnTo>
                    <a:pt x="3852" y="768"/>
                  </a:lnTo>
                  <a:lnTo>
                    <a:pt x="3852" y="762"/>
                  </a:lnTo>
                  <a:close/>
                  <a:moveTo>
                    <a:pt x="3978" y="882"/>
                  </a:moveTo>
                  <a:lnTo>
                    <a:pt x="3984" y="882"/>
                  </a:lnTo>
                  <a:lnTo>
                    <a:pt x="3984" y="888"/>
                  </a:lnTo>
                  <a:lnTo>
                    <a:pt x="3978" y="888"/>
                  </a:lnTo>
                  <a:lnTo>
                    <a:pt x="3978" y="882"/>
                  </a:lnTo>
                  <a:close/>
                  <a:moveTo>
                    <a:pt x="3984" y="894"/>
                  </a:moveTo>
                  <a:lnTo>
                    <a:pt x="3990" y="894"/>
                  </a:lnTo>
                  <a:lnTo>
                    <a:pt x="3984" y="894"/>
                  </a:lnTo>
                  <a:close/>
                  <a:moveTo>
                    <a:pt x="3204" y="540"/>
                  </a:moveTo>
                  <a:lnTo>
                    <a:pt x="3204" y="546"/>
                  </a:lnTo>
                  <a:lnTo>
                    <a:pt x="3205" y="546"/>
                  </a:lnTo>
                  <a:lnTo>
                    <a:pt x="3204" y="540"/>
                  </a:lnTo>
                  <a:close/>
                  <a:moveTo>
                    <a:pt x="3990" y="930"/>
                  </a:moveTo>
                  <a:lnTo>
                    <a:pt x="3990" y="936"/>
                  </a:lnTo>
                  <a:lnTo>
                    <a:pt x="3991" y="936"/>
                  </a:lnTo>
                  <a:lnTo>
                    <a:pt x="3990" y="930"/>
                  </a:lnTo>
                  <a:close/>
                  <a:moveTo>
                    <a:pt x="4176" y="1338"/>
                  </a:moveTo>
                  <a:lnTo>
                    <a:pt x="4176" y="1344"/>
                  </a:lnTo>
                  <a:lnTo>
                    <a:pt x="4170" y="1344"/>
                  </a:lnTo>
                  <a:lnTo>
                    <a:pt x="4176" y="1338"/>
                  </a:lnTo>
                  <a:close/>
                  <a:moveTo>
                    <a:pt x="3168" y="510"/>
                  </a:moveTo>
                  <a:lnTo>
                    <a:pt x="3174" y="510"/>
                  </a:lnTo>
                  <a:lnTo>
                    <a:pt x="3174" y="516"/>
                  </a:lnTo>
                  <a:lnTo>
                    <a:pt x="3168" y="516"/>
                  </a:lnTo>
                  <a:lnTo>
                    <a:pt x="3168" y="510"/>
                  </a:lnTo>
                  <a:close/>
                  <a:moveTo>
                    <a:pt x="4056" y="1062"/>
                  </a:moveTo>
                  <a:lnTo>
                    <a:pt x="4062" y="1062"/>
                  </a:lnTo>
                  <a:lnTo>
                    <a:pt x="4062" y="1068"/>
                  </a:lnTo>
                  <a:lnTo>
                    <a:pt x="4056" y="1068"/>
                  </a:lnTo>
                  <a:lnTo>
                    <a:pt x="4056" y="1062"/>
                  </a:lnTo>
                  <a:close/>
                  <a:moveTo>
                    <a:pt x="3894" y="798"/>
                  </a:moveTo>
                  <a:lnTo>
                    <a:pt x="3900" y="798"/>
                  </a:lnTo>
                  <a:lnTo>
                    <a:pt x="3900" y="804"/>
                  </a:lnTo>
                  <a:lnTo>
                    <a:pt x="3894" y="804"/>
                  </a:lnTo>
                  <a:lnTo>
                    <a:pt x="3894" y="798"/>
                  </a:lnTo>
                  <a:close/>
                  <a:moveTo>
                    <a:pt x="4014" y="1032"/>
                  </a:moveTo>
                  <a:lnTo>
                    <a:pt x="4020" y="1032"/>
                  </a:lnTo>
                  <a:lnTo>
                    <a:pt x="4020" y="1038"/>
                  </a:lnTo>
                  <a:lnTo>
                    <a:pt x="4014" y="1038"/>
                  </a:lnTo>
                  <a:lnTo>
                    <a:pt x="4014" y="1032"/>
                  </a:lnTo>
                  <a:close/>
                  <a:moveTo>
                    <a:pt x="3420" y="48"/>
                  </a:moveTo>
                  <a:lnTo>
                    <a:pt x="3426" y="48"/>
                  </a:lnTo>
                  <a:lnTo>
                    <a:pt x="3426" y="54"/>
                  </a:lnTo>
                  <a:lnTo>
                    <a:pt x="3420" y="54"/>
                  </a:lnTo>
                  <a:lnTo>
                    <a:pt x="3420" y="48"/>
                  </a:lnTo>
                  <a:close/>
                  <a:moveTo>
                    <a:pt x="3936" y="942"/>
                  </a:moveTo>
                  <a:lnTo>
                    <a:pt x="3942" y="942"/>
                  </a:lnTo>
                  <a:lnTo>
                    <a:pt x="3936" y="948"/>
                  </a:lnTo>
                  <a:lnTo>
                    <a:pt x="3936" y="942"/>
                  </a:lnTo>
                  <a:close/>
                  <a:moveTo>
                    <a:pt x="3954" y="924"/>
                  </a:moveTo>
                  <a:lnTo>
                    <a:pt x="3960" y="924"/>
                  </a:lnTo>
                  <a:lnTo>
                    <a:pt x="3954" y="924"/>
                  </a:lnTo>
                  <a:close/>
                  <a:moveTo>
                    <a:pt x="4050" y="1044"/>
                  </a:moveTo>
                  <a:lnTo>
                    <a:pt x="4050" y="1056"/>
                  </a:lnTo>
                  <a:lnTo>
                    <a:pt x="4044" y="1056"/>
                  </a:lnTo>
                  <a:lnTo>
                    <a:pt x="4050" y="1044"/>
                  </a:lnTo>
                  <a:close/>
                  <a:moveTo>
                    <a:pt x="3732" y="696"/>
                  </a:moveTo>
                  <a:lnTo>
                    <a:pt x="3738" y="696"/>
                  </a:lnTo>
                  <a:lnTo>
                    <a:pt x="3738" y="702"/>
                  </a:lnTo>
                  <a:lnTo>
                    <a:pt x="3732" y="702"/>
                  </a:lnTo>
                  <a:lnTo>
                    <a:pt x="3732" y="696"/>
                  </a:lnTo>
                  <a:close/>
                  <a:moveTo>
                    <a:pt x="4176" y="1356"/>
                  </a:moveTo>
                  <a:lnTo>
                    <a:pt x="4176" y="1350"/>
                  </a:lnTo>
                  <a:lnTo>
                    <a:pt x="4176" y="1356"/>
                  </a:lnTo>
                  <a:lnTo>
                    <a:pt x="4176" y="1362"/>
                  </a:lnTo>
                  <a:lnTo>
                    <a:pt x="4176" y="1356"/>
                  </a:lnTo>
                  <a:close/>
                  <a:moveTo>
                    <a:pt x="3888" y="768"/>
                  </a:moveTo>
                  <a:lnTo>
                    <a:pt x="3894" y="768"/>
                  </a:lnTo>
                  <a:lnTo>
                    <a:pt x="3894" y="774"/>
                  </a:lnTo>
                  <a:lnTo>
                    <a:pt x="3882" y="774"/>
                  </a:lnTo>
                  <a:lnTo>
                    <a:pt x="3888" y="768"/>
                  </a:lnTo>
                  <a:close/>
                  <a:moveTo>
                    <a:pt x="3720" y="660"/>
                  </a:moveTo>
                  <a:lnTo>
                    <a:pt x="3726" y="660"/>
                  </a:lnTo>
                  <a:lnTo>
                    <a:pt x="3726" y="672"/>
                  </a:lnTo>
                  <a:lnTo>
                    <a:pt x="3720" y="672"/>
                  </a:lnTo>
                  <a:lnTo>
                    <a:pt x="3720" y="660"/>
                  </a:lnTo>
                  <a:close/>
                  <a:moveTo>
                    <a:pt x="3408" y="12"/>
                  </a:moveTo>
                  <a:lnTo>
                    <a:pt x="3414" y="12"/>
                  </a:lnTo>
                  <a:lnTo>
                    <a:pt x="3414" y="18"/>
                  </a:lnTo>
                  <a:lnTo>
                    <a:pt x="3408" y="18"/>
                  </a:lnTo>
                  <a:lnTo>
                    <a:pt x="3408" y="12"/>
                  </a:lnTo>
                  <a:close/>
                  <a:moveTo>
                    <a:pt x="3948" y="930"/>
                  </a:moveTo>
                  <a:lnTo>
                    <a:pt x="3948" y="924"/>
                  </a:lnTo>
                  <a:lnTo>
                    <a:pt x="3948" y="918"/>
                  </a:lnTo>
                  <a:lnTo>
                    <a:pt x="3954" y="918"/>
                  </a:lnTo>
                  <a:lnTo>
                    <a:pt x="3954" y="924"/>
                  </a:lnTo>
                  <a:lnTo>
                    <a:pt x="3954" y="930"/>
                  </a:lnTo>
                  <a:lnTo>
                    <a:pt x="3948" y="930"/>
                  </a:lnTo>
                  <a:close/>
                  <a:moveTo>
                    <a:pt x="3990" y="930"/>
                  </a:moveTo>
                  <a:lnTo>
                    <a:pt x="4002" y="930"/>
                  </a:lnTo>
                  <a:lnTo>
                    <a:pt x="3996" y="942"/>
                  </a:lnTo>
                  <a:lnTo>
                    <a:pt x="3990" y="942"/>
                  </a:lnTo>
                  <a:lnTo>
                    <a:pt x="3990" y="930"/>
                  </a:lnTo>
                  <a:close/>
                  <a:moveTo>
                    <a:pt x="4002" y="1032"/>
                  </a:moveTo>
                  <a:lnTo>
                    <a:pt x="4002" y="1026"/>
                  </a:lnTo>
                  <a:lnTo>
                    <a:pt x="4008" y="1026"/>
                  </a:lnTo>
                  <a:lnTo>
                    <a:pt x="4014" y="1032"/>
                  </a:lnTo>
                  <a:lnTo>
                    <a:pt x="4008" y="1032"/>
                  </a:lnTo>
                  <a:lnTo>
                    <a:pt x="4008" y="1038"/>
                  </a:lnTo>
                  <a:lnTo>
                    <a:pt x="4008" y="1032"/>
                  </a:lnTo>
                  <a:lnTo>
                    <a:pt x="4002" y="1032"/>
                  </a:lnTo>
                  <a:close/>
                  <a:moveTo>
                    <a:pt x="3414" y="24"/>
                  </a:moveTo>
                  <a:lnTo>
                    <a:pt x="3414" y="18"/>
                  </a:lnTo>
                  <a:lnTo>
                    <a:pt x="3420" y="18"/>
                  </a:lnTo>
                  <a:lnTo>
                    <a:pt x="3426" y="18"/>
                  </a:lnTo>
                  <a:lnTo>
                    <a:pt x="3426" y="24"/>
                  </a:lnTo>
                  <a:lnTo>
                    <a:pt x="3420" y="24"/>
                  </a:lnTo>
                  <a:lnTo>
                    <a:pt x="3414" y="24"/>
                  </a:lnTo>
                  <a:close/>
                  <a:moveTo>
                    <a:pt x="3888" y="786"/>
                  </a:moveTo>
                  <a:lnTo>
                    <a:pt x="3888" y="780"/>
                  </a:lnTo>
                  <a:lnTo>
                    <a:pt x="3888" y="774"/>
                  </a:lnTo>
                  <a:lnTo>
                    <a:pt x="3894" y="774"/>
                  </a:lnTo>
                  <a:lnTo>
                    <a:pt x="3894" y="780"/>
                  </a:lnTo>
                  <a:lnTo>
                    <a:pt x="3894" y="786"/>
                  </a:lnTo>
                  <a:lnTo>
                    <a:pt x="3894" y="780"/>
                  </a:lnTo>
                  <a:lnTo>
                    <a:pt x="3894" y="786"/>
                  </a:lnTo>
                  <a:lnTo>
                    <a:pt x="3900" y="786"/>
                  </a:lnTo>
                  <a:lnTo>
                    <a:pt x="3894" y="786"/>
                  </a:lnTo>
                  <a:lnTo>
                    <a:pt x="3888" y="786"/>
                  </a:lnTo>
                  <a:lnTo>
                    <a:pt x="3894" y="780"/>
                  </a:lnTo>
                  <a:lnTo>
                    <a:pt x="3888" y="780"/>
                  </a:lnTo>
                  <a:lnTo>
                    <a:pt x="3888" y="786"/>
                  </a:lnTo>
                  <a:close/>
                  <a:moveTo>
                    <a:pt x="3192" y="546"/>
                  </a:moveTo>
                  <a:lnTo>
                    <a:pt x="3186" y="546"/>
                  </a:lnTo>
                  <a:lnTo>
                    <a:pt x="3186" y="540"/>
                  </a:lnTo>
                  <a:lnTo>
                    <a:pt x="3192" y="540"/>
                  </a:lnTo>
                  <a:lnTo>
                    <a:pt x="3198" y="540"/>
                  </a:lnTo>
                  <a:lnTo>
                    <a:pt x="3198" y="534"/>
                  </a:lnTo>
                  <a:lnTo>
                    <a:pt x="3198" y="540"/>
                  </a:lnTo>
                  <a:lnTo>
                    <a:pt x="3204" y="540"/>
                  </a:lnTo>
                  <a:lnTo>
                    <a:pt x="3198" y="540"/>
                  </a:lnTo>
                  <a:lnTo>
                    <a:pt x="3198" y="546"/>
                  </a:lnTo>
                  <a:lnTo>
                    <a:pt x="3192" y="546"/>
                  </a:lnTo>
                  <a:lnTo>
                    <a:pt x="3192" y="540"/>
                  </a:lnTo>
                  <a:lnTo>
                    <a:pt x="3192" y="546"/>
                  </a:lnTo>
                  <a:close/>
                  <a:moveTo>
                    <a:pt x="3408" y="60"/>
                  </a:moveTo>
                  <a:lnTo>
                    <a:pt x="3408" y="54"/>
                  </a:lnTo>
                  <a:lnTo>
                    <a:pt x="3414" y="54"/>
                  </a:lnTo>
                  <a:lnTo>
                    <a:pt x="3420" y="54"/>
                  </a:lnTo>
                  <a:lnTo>
                    <a:pt x="3420" y="60"/>
                  </a:lnTo>
                  <a:lnTo>
                    <a:pt x="3414" y="60"/>
                  </a:lnTo>
                  <a:lnTo>
                    <a:pt x="3414" y="66"/>
                  </a:lnTo>
                  <a:lnTo>
                    <a:pt x="3414" y="60"/>
                  </a:lnTo>
                  <a:lnTo>
                    <a:pt x="3408" y="60"/>
                  </a:lnTo>
                  <a:close/>
                  <a:moveTo>
                    <a:pt x="4158" y="1290"/>
                  </a:moveTo>
                  <a:lnTo>
                    <a:pt x="4158" y="1284"/>
                  </a:lnTo>
                  <a:lnTo>
                    <a:pt x="4158" y="1278"/>
                  </a:lnTo>
                  <a:lnTo>
                    <a:pt x="4164" y="1278"/>
                  </a:lnTo>
                  <a:lnTo>
                    <a:pt x="4164" y="1284"/>
                  </a:lnTo>
                  <a:lnTo>
                    <a:pt x="4164" y="1290"/>
                  </a:lnTo>
                  <a:lnTo>
                    <a:pt x="4164" y="1296"/>
                  </a:lnTo>
                  <a:lnTo>
                    <a:pt x="4164" y="1302"/>
                  </a:lnTo>
                  <a:lnTo>
                    <a:pt x="4164" y="1296"/>
                  </a:lnTo>
                  <a:lnTo>
                    <a:pt x="4158" y="1296"/>
                  </a:lnTo>
                  <a:lnTo>
                    <a:pt x="4158" y="1290"/>
                  </a:lnTo>
                  <a:close/>
                  <a:moveTo>
                    <a:pt x="4176" y="1296"/>
                  </a:moveTo>
                  <a:lnTo>
                    <a:pt x="4182" y="1296"/>
                  </a:lnTo>
                  <a:lnTo>
                    <a:pt x="4188" y="1296"/>
                  </a:lnTo>
                  <a:lnTo>
                    <a:pt x="4182" y="1296"/>
                  </a:lnTo>
                  <a:lnTo>
                    <a:pt x="4182" y="1302"/>
                  </a:lnTo>
                  <a:lnTo>
                    <a:pt x="4182" y="1308"/>
                  </a:lnTo>
                  <a:lnTo>
                    <a:pt x="4182" y="1314"/>
                  </a:lnTo>
                  <a:lnTo>
                    <a:pt x="4182" y="1320"/>
                  </a:lnTo>
                  <a:lnTo>
                    <a:pt x="4182" y="1314"/>
                  </a:lnTo>
                  <a:lnTo>
                    <a:pt x="4176" y="1314"/>
                  </a:lnTo>
                  <a:lnTo>
                    <a:pt x="4176" y="1308"/>
                  </a:lnTo>
                  <a:lnTo>
                    <a:pt x="4176" y="1302"/>
                  </a:lnTo>
                  <a:lnTo>
                    <a:pt x="4176" y="1296"/>
                  </a:lnTo>
                  <a:close/>
                  <a:moveTo>
                    <a:pt x="4176" y="1344"/>
                  </a:moveTo>
                  <a:lnTo>
                    <a:pt x="4176" y="1338"/>
                  </a:lnTo>
                  <a:lnTo>
                    <a:pt x="4176" y="1332"/>
                  </a:lnTo>
                  <a:lnTo>
                    <a:pt x="4176" y="1326"/>
                  </a:lnTo>
                  <a:lnTo>
                    <a:pt x="4182" y="1326"/>
                  </a:lnTo>
                  <a:lnTo>
                    <a:pt x="4182" y="1320"/>
                  </a:lnTo>
                  <a:lnTo>
                    <a:pt x="4188" y="1320"/>
                  </a:lnTo>
                  <a:lnTo>
                    <a:pt x="4188" y="1326"/>
                  </a:lnTo>
                  <a:lnTo>
                    <a:pt x="4182" y="1332"/>
                  </a:lnTo>
                  <a:lnTo>
                    <a:pt x="4182" y="1338"/>
                  </a:lnTo>
                  <a:lnTo>
                    <a:pt x="4182" y="1344"/>
                  </a:lnTo>
                  <a:lnTo>
                    <a:pt x="4176" y="1344"/>
                  </a:lnTo>
                  <a:close/>
                  <a:moveTo>
                    <a:pt x="3684" y="630"/>
                  </a:moveTo>
                  <a:lnTo>
                    <a:pt x="3690" y="630"/>
                  </a:lnTo>
                  <a:lnTo>
                    <a:pt x="3696" y="630"/>
                  </a:lnTo>
                  <a:lnTo>
                    <a:pt x="3696" y="636"/>
                  </a:lnTo>
                  <a:lnTo>
                    <a:pt x="3696" y="630"/>
                  </a:lnTo>
                  <a:lnTo>
                    <a:pt x="3696" y="624"/>
                  </a:lnTo>
                  <a:lnTo>
                    <a:pt x="3696" y="630"/>
                  </a:lnTo>
                  <a:lnTo>
                    <a:pt x="3702" y="630"/>
                  </a:lnTo>
                  <a:lnTo>
                    <a:pt x="3696" y="630"/>
                  </a:lnTo>
                  <a:lnTo>
                    <a:pt x="3696" y="636"/>
                  </a:lnTo>
                  <a:lnTo>
                    <a:pt x="3702" y="636"/>
                  </a:lnTo>
                  <a:lnTo>
                    <a:pt x="3702" y="642"/>
                  </a:lnTo>
                  <a:lnTo>
                    <a:pt x="3702" y="648"/>
                  </a:lnTo>
                  <a:lnTo>
                    <a:pt x="3696" y="648"/>
                  </a:lnTo>
                  <a:lnTo>
                    <a:pt x="3690" y="642"/>
                  </a:lnTo>
                  <a:lnTo>
                    <a:pt x="3696" y="642"/>
                  </a:lnTo>
                  <a:lnTo>
                    <a:pt x="3690" y="642"/>
                  </a:lnTo>
                  <a:lnTo>
                    <a:pt x="3696" y="642"/>
                  </a:lnTo>
                  <a:lnTo>
                    <a:pt x="3690" y="642"/>
                  </a:lnTo>
                  <a:lnTo>
                    <a:pt x="3690" y="636"/>
                  </a:lnTo>
                  <a:lnTo>
                    <a:pt x="3684" y="630"/>
                  </a:lnTo>
                  <a:close/>
                  <a:moveTo>
                    <a:pt x="4026" y="1026"/>
                  </a:moveTo>
                  <a:lnTo>
                    <a:pt x="4032" y="1026"/>
                  </a:lnTo>
                  <a:lnTo>
                    <a:pt x="4026" y="1026"/>
                  </a:lnTo>
                  <a:lnTo>
                    <a:pt x="4032" y="1020"/>
                  </a:lnTo>
                  <a:lnTo>
                    <a:pt x="4032" y="1026"/>
                  </a:lnTo>
                  <a:lnTo>
                    <a:pt x="4038" y="1026"/>
                  </a:lnTo>
                  <a:lnTo>
                    <a:pt x="4038" y="1032"/>
                  </a:lnTo>
                  <a:lnTo>
                    <a:pt x="4038" y="1026"/>
                  </a:lnTo>
                  <a:lnTo>
                    <a:pt x="4044" y="1026"/>
                  </a:lnTo>
                  <a:lnTo>
                    <a:pt x="4044" y="1032"/>
                  </a:lnTo>
                  <a:lnTo>
                    <a:pt x="4044" y="1038"/>
                  </a:lnTo>
                  <a:lnTo>
                    <a:pt x="4044" y="1044"/>
                  </a:lnTo>
                  <a:lnTo>
                    <a:pt x="4044" y="1050"/>
                  </a:lnTo>
                  <a:lnTo>
                    <a:pt x="4044" y="1044"/>
                  </a:lnTo>
                  <a:lnTo>
                    <a:pt x="4044" y="1050"/>
                  </a:lnTo>
                  <a:lnTo>
                    <a:pt x="4038" y="1050"/>
                  </a:lnTo>
                  <a:lnTo>
                    <a:pt x="4038" y="1044"/>
                  </a:lnTo>
                  <a:lnTo>
                    <a:pt x="4044" y="1044"/>
                  </a:lnTo>
                  <a:lnTo>
                    <a:pt x="4038" y="1044"/>
                  </a:lnTo>
                  <a:lnTo>
                    <a:pt x="4032" y="1044"/>
                  </a:lnTo>
                  <a:lnTo>
                    <a:pt x="4032" y="1038"/>
                  </a:lnTo>
                  <a:lnTo>
                    <a:pt x="4026" y="1038"/>
                  </a:lnTo>
                  <a:lnTo>
                    <a:pt x="4026" y="1032"/>
                  </a:lnTo>
                  <a:lnTo>
                    <a:pt x="4026" y="1026"/>
                  </a:lnTo>
                  <a:close/>
                  <a:moveTo>
                    <a:pt x="3174" y="510"/>
                  </a:moveTo>
                  <a:lnTo>
                    <a:pt x="3174" y="504"/>
                  </a:lnTo>
                  <a:lnTo>
                    <a:pt x="3174" y="498"/>
                  </a:lnTo>
                  <a:lnTo>
                    <a:pt x="3180" y="498"/>
                  </a:lnTo>
                  <a:lnTo>
                    <a:pt x="3186" y="492"/>
                  </a:lnTo>
                  <a:lnTo>
                    <a:pt x="3186" y="498"/>
                  </a:lnTo>
                  <a:lnTo>
                    <a:pt x="3186" y="492"/>
                  </a:lnTo>
                  <a:lnTo>
                    <a:pt x="3186" y="498"/>
                  </a:lnTo>
                  <a:lnTo>
                    <a:pt x="3192" y="498"/>
                  </a:lnTo>
                  <a:lnTo>
                    <a:pt x="3186" y="498"/>
                  </a:lnTo>
                  <a:lnTo>
                    <a:pt x="3186" y="492"/>
                  </a:lnTo>
                  <a:lnTo>
                    <a:pt x="3192" y="492"/>
                  </a:lnTo>
                  <a:lnTo>
                    <a:pt x="3198" y="492"/>
                  </a:lnTo>
                  <a:lnTo>
                    <a:pt x="3204" y="492"/>
                  </a:lnTo>
                  <a:lnTo>
                    <a:pt x="3198" y="492"/>
                  </a:lnTo>
                  <a:lnTo>
                    <a:pt x="3204" y="492"/>
                  </a:lnTo>
                  <a:lnTo>
                    <a:pt x="3210" y="492"/>
                  </a:lnTo>
                  <a:lnTo>
                    <a:pt x="3210" y="498"/>
                  </a:lnTo>
                  <a:lnTo>
                    <a:pt x="3216" y="498"/>
                  </a:lnTo>
                  <a:lnTo>
                    <a:pt x="3210" y="498"/>
                  </a:lnTo>
                  <a:lnTo>
                    <a:pt x="3216" y="498"/>
                  </a:lnTo>
                  <a:lnTo>
                    <a:pt x="3210" y="498"/>
                  </a:lnTo>
                  <a:lnTo>
                    <a:pt x="3204" y="498"/>
                  </a:lnTo>
                  <a:lnTo>
                    <a:pt x="3204" y="504"/>
                  </a:lnTo>
                  <a:lnTo>
                    <a:pt x="3204" y="498"/>
                  </a:lnTo>
                  <a:lnTo>
                    <a:pt x="3198" y="498"/>
                  </a:lnTo>
                  <a:lnTo>
                    <a:pt x="3198" y="504"/>
                  </a:lnTo>
                  <a:lnTo>
                    <a:pt x="3198" y="498"/>
                  </a:lnTo>
                  <a:lnTo>
                    <a:pt x="3198" y="504"/>
                  </a:lnTo>
                  <a:lnTo>
                    <a:pt x="3192" y="504"/>
                  </a:lnTo>
                  <a:lnTo>
                    <a:pt x="3198" y="504"/>
                  </a:lnTo>
                  <a:lnTo>
                    <a:pt x="3192" y="510"/>
                  </a:lnTo>
                  <a:lnTo>
                    <a:pt x="3186" y="510"/>
                  </a:lnTo>
                  <a:lnTo>
                    <a:pt x="3186" y="516"/>
                  </a:lnTo>
                  <a:lnTo>
                    <a:pt x="3180" y="516"/>
                  </a:lnTo>
                  <a:lnTo>
                    <a:pt x="3174" y="516"/>
                  </a:lnTo>
                  <a:lnTo>
                    <a:pt x="3174" y="510"/>
                  </a:lnTo>
                  <a:lnTo>
                    <a:pt x="3174" y="516"/>
                  </a:lnTo>
                  <a:lnTo>
                    <a:pt x="3174" y="510"/>
                  </a:lnTo>
                  <a:close/>
                  <a:moveTo>
                    <a:pt x="4158" y="1182"/>
                  </a:moveTo>
                  <a:lnTo>
                    <a:pt x="4158" y="1176"/>
                  </a:lnTo>
                  <a:lnTo>
                    <a:pt x="4164" y="1170"/>
                  </a:lnTo>
                  <a:lnTo>
                    <a:pt x="4164" y="1164"/>
                  </a:lnTo>
                  <a:lnTo>
                    <a:pt x="4164" y="1158"/>
                  </a:lnTo>
                  <a:lnTo>
                    <a:pt x="4164" y="1152"/>
                  </a:lnTo>
                  <a:lnTo>
                    <a:pt x="4170" y="1152"/>
                  </a:lnTo>
                  <a:lnTo>
                    <a:pt x="4176" y="1146"/>
                  </a:lnTo>
                  <a:lnTo>
                    <a:pt x="4182" y="1140"/>
                  </a:lnTo>
                  <a:lnTo>
                    <a:pt x="4182" y="1134"/>
                  </a:lnTo>
                  <a:lnTo>
                    <a:pt x="4182" y="1128"/>
                  </a:lnTo>
                  <a:lnTo>
                    <a:pt x="4176" y="1128"/>
                  </a:lnTo>
                  <a:lnTo>
                    <a:pt x="4176" y="1122"/>
                  </a:lnTo>
                  <a:lnTo>
                    <a:pt x="4182" y="1122"/>
                  </a:lnTo>
                  <a:lnTo>
                    <a:pt x="4182" y="1116"/>
                  </a:lnTo>
                  <a:lnTo>
                    <a:pt x="4188" y="1116"/>
                  </a:lnTo>
                  <a:lnTo>
                    <a:pt x="4188" y="1122"/>
                  </a:lnTo>
                  <a:lnTo>
                    <a:pt x="4188" y="1128"/>
                  </a:lnTo>
                  <a:lnTo>
                    <a:pt x="4188" y="1134"/>
                  </a:lnTo>
                  <a:lnTo>
                    <a:pt x="4188" y="1140"/>
                  </a:lnTo>
                  <a:lnTo>
                    <a:pt x="4194" y="1140"/>
                  </a:lnTo>
                  <a:lnTo>
                    <a:pt x="4188" y="1140"/>
                  </a:lnTo>
                  <a:lnTo>
                    <a:pt x="4188" y="1146"/>
                  </a:lnTo>
                  <a:lnTo>
                    <a:pt x="4182" y="1152"/>
                  </a:lnTo>
                  <a:lnTo>
                    <a:pt x="4182" y="1158"/>
                  </a:lnTo>
                  <a:lnTo>
                    <a:pt x="4182" y="1164"/>
                  </a:lnTo>
                  <a:lnTo>
                    <a:pt x="4176" y="1164"/>
                  </a:lnTo>
                  <a:lnTo>
                    <a:pt x="4176" y="1170"/>
                  </a:lnTo>
                  <a:lnTo>
                    <a:pt x="4170" y="1176"/>
                  </a:lnTo>
                  <a:lnTo>
                    <a:pt x="4170" y="1182"/>
                  </a:lnTo>
                  <a:lnTo>
                    <a:pt x="4170" y="1188"/>
                  </a:lnTo>
                  <a:lnTo>
                    <a:pt x="4164" y="1188"/>
                  </a:lnTo>
                  <a:lnTo>
                    <a:pt x="4164" y="1194"/>
                  </a:lnTo>
                  <a:lnTo>
                    <a:pt x="4164" y="1200"/>
                  </a:lnTo>
                  <a:lnTo>
                    <a:pt x="4158" y="1200"/>
                  </a:lnTo>
                  <a:lnTo>
                    <a:pt x="4158" y="1194"/>
                  </a:lnTo>
                  <a:lnTo>
                    <a:pt x="4158" y="1188"/>
                  </a:lnTo>
                  <a:lnTo>
                    <a:pt x="4158" y="1182"/>
                  </a:lnTo>
                  <a:close/>
                  <a:moveTo>
                    <a:pt x="3084" y="504"/>
                  </a:moveTo>
                  <a:lnTo>
                    <a:pt x="3090" y="504"/>
                  </a:lnTo>
                  <a:lnTo>
                    <a:pt x="3090" y="510"/>
                  </a:lnTo>
                  <a:lnTo>
                    <a:pt x="3096" y="510"/>
                  </a:lnTo>
                  <a:lnTo>
                    <a:pt x="3102" y="516"/>
                  </a:lnTo>
                  <a:lnTo>
                    <a:pt x="3108" y="516"/>
                  </a:lnTo>
                  <a:lnTo>
                    <a:pt x="3114" y="516"/>
                  </a:lnTo>
                  <a:lnTo>
                    <a:pt x="3120" y="516"/>
                  </a:lnTo>
                  <a:lnTo>
                    <a:pt x="3120" y="522"/>
                  </a:lnTo>
                  <a:lnTo>
                    <a:pt x="3126" y="522"/>
                  </a:lnTo>
                  <a:lnTo>
                    <a:pt x="3126" y="516"/>
                  </a:lnTo>
                  <a:lnTo>
                    <a:pt x="3126" y="522"/>
                  </a:lnTo>
                  <a:lnTo>
                    <a:pt x="3126" y="516"/>
                  </a:lnTo>
                  <a:lnTo>
                    <a:pt x="3132" y="516"/>
                  </a:lnTo>
                  <a:lnTo>
                    <a:pt x="3132" y="522"/>
                  </a:lnTo>
                  <a:lnTo>
                    <a:pt x="3138" y="522"/>
                  </a:lnTo>
                  <a:lnTo>
                    <a:pt x="3144" y="522"/>
                  </a:lnTo>
                  <a:lnTo>
                    <a:pt x="3144" y="528"/>
                  </a:lnTo>
                  <a:lnTo>
                    <a:pt x="3150" y="528"/>
                  </a:lnTo>
                  <a:lnTo>
                    <a:pt x="3156" y="528"/>
                  </a:lnTo>
                  <a:lnTo>
                    <a:pt x="3162" y="528"/>
                  </a:lnTo>
                  <a:lnTo>
                    <a:pt x="3162" y="534"/>
                  </a:lnTo>
                  <a:lnTo>
                    <a:pt x="3168" y="534"/>
                  </a:lnTo>
                  <a:lnTo>
                    <a:pt x="3168" y="540"/>
                  </a:lnTo>
                  <a:lnTo>
                    <a:pt x="3168" y="546"/>
                  </a:lnTo>
                  <a:lnTo>
                    <a:pt x="3168" y="552"/>
                  </a:lnTo>
                  <a:lnTo>
                    <a:pt x="3174" y="552"/>
                  </a:lnTo>
                  <a:lnTo>
                    <a:pt x="3174" y="558"/>
                  </a:lnTo>
                  <a:lnTo>
                    <a:pt x="3180" y="564"/>
                  </a:lnTo>
                  <a:lnTo>
                    <a:pt x="3186" y="564"/>
                  </a:lnTo>
                  <a:lnTo>
                    <a:pt x="3192" y="564"/>
                  </a:lnTo>
                  <a:lnTo>
                    <a:pt x="3198" y="570"/>
                  </a:lnTo>
                  <a:lnTo>
                    <a:pt x="3204" y="570"/>
                  </a:lnTo>
                  <a:lnTo>
                    <a:pt x="3204" y="576"/>
                  </a:lnTo>
                  <a:lnTo>
                    <a:pt x="3210" y="576"/>
                  </a:lnTo>
                  <a:lnTo>
                    <a:pt x="3216" y="576"/>
                  </a:lnTo>
                  <a:lnTo>
                    <a:pt x="3216" y="582"/>
                  </a:lnTo>
                  <a:lnTo>
                    <a:pt x="3216" y="576"/>
                  </a:lnTo>
                  <a:lnTo>
                    <a:pt x="3216" y="582"/>
                  </a:lnTo>
                  <a:lnTo>
                    <a:pt x="3216" y="576"/>
                  </a:lnTo>
                  <a:lnTo>
                    <a:pt x="3216" y="582"/>
                  </a:lnTo>
                  <a:lnTo>
                    <a:pt x="3222" y="582"/>
                  </a:lnTo>
                  <a:lnTo>
                    <a:pt x="3228" y="582"/>
                  </a:lnTo>
                  <a:lnTo>
                    <a:pt x="3228" y="588"/>
                  </a:lnTo>
                  <a:lnTo>
                    <a:pt x="3234" y="588"/>
                  </a:lnTo>
                  <a:lnTo>
                    <a:pt x="3240" y="588"/>
                  </a:lnTo>
                  <a:lnTo>
                    <a:pt x="3246" y="588"/>
                  </a:lnTo>
                  <a:lnTo>
                    <a:pt x="3252" y="588"/>
                  </a:lnTo>
                  <a:lnTo>
                    <a:pt x="3258" y="588"/>
                  </a:lnTo>
                  <a:lnTo>
                    <a:pt x="3264" y="588"/>
                  </a:lnTo>
                  <a:lnTo>
                    <a:pt x="3264" y="582"/>
                  </a:lnTo>
                  <a:lnTo>
                    <a:pt x="3270" y="582"/>
                  </a:lnTo>
                  <a:lnTo>
                    <a:pt x="3276" y="582"/>
                  </a:lnTo>
                  <a:lnTo>
                    <a:pt x="3282" y="576"/>
                  </a:lnTo>
                  <a:lnTo>
                    <a:pt x="3288" y="576"/>
                  </a:lnTo>
                  <a:lnTo>
                    <a:pt x="3288" y="570"/>
                  </a:lnTo>
                  <a:lnTo>
                    <a:pt x="3294" y="570"/>
                  </a:lnTo>
                  <a:lnTo>
                    <a:pt x="3300" y="564"/>
                  </a:lnTo>
                  <a:lnTo>
                    <a:pt x="3300" y="558"/>
                  </a:lnTo>
                  <a:lnTo>
                    <a:pt x="3300" y="552"/>
                  </a:lnTo>
                  <a:lnTo>
                    <a:pt x="3306" y="552"/>
                  </a:lnTo>
                  <a:lnTo>
                    <a:pt x="3306" y="546"/>
                  </a:lnTo>
                  <a:lnTo>
                    <a:pt x="3306" y="540"/>
                  </a:lnTo>
                  <a:lnTo>
                    <a:pt x="3306" y="534"/>
                  </a:lnTo>
                  <a:lnTo>
                    <a:pt x="3312" y="534"/>
                  </a:lnTo>
                  <a:lnTo>
                    <a:pt x="3312" y="528"/>
                  </a:lnTo>
                  <a:lnTo>
                    <a:pt x="3312" y="522"/>
                  </a:lnTo>
                  <a:lnTo>
                    <a:pt x="3318" y="522"/>
                  </a:lnTo>
                  <a:lnTo>
                    <a:pt x="3318" y="516"/>
                  </a:lnTo>
                  <a:lnTo>
                    <a:pt x="3324" y="516"/>
                  </a:lnTo>
                  <a:lnTo>
                    <a:pt x="3324" y="510"/>
                  </a:lnTo>
                  <a:lnTo>
                    <a:pt x="3324" y="504"/>
                  </a:lnTo>
                  <a:lnTo>
                    <a:pt x="3330" y="504"/>
                  </a:lnTo>
                  <a:lnTo>
                    <a:pt x="3330" y="498"/>
                  </a:lnTo>
                  <a:lnTo>
                    <a:pt x="3336" y="492"/>
                  </a:lnTo>
                  <a:lnTo>
                    <a:pt x="3330" y="492"/>
                  </a:lnTo>
                  <a:lnTo>
                    <a:pt x="3336" y="492"/>
                  </a:lnTo>
                  <a:lnTo>
                    <a:pt x="3336" y="486"/>
                  </a:lnTo>
                  <a:lnTo>
                    <a:pt x="3336" y="480"/>
                  </a:lnTo>
                  <a:lnTo>
                    <a:pt x="3336" y="474"/>
                  </a:lnTo>
                  <a:lnTo>
                    <a:pt x="3342" y="474"/>
                  </a:lnTo>
                  <a:lnTo>
                    <a:pt x="3342" y="468"/>
                  </a:lnTo>
                  <a:lnTo>
                    <a:pt x="3342" y="462"/>
                  </a:lnTo>
                  <a:lnTo>
                    <a:pt x="3342" y="456"/>
                  </a:lnTo>
                  <a:lnTo>
                    <a:pt x="3342" y="450"/>
                  </a:lnTo>
                  <a:lnTo>
                    <a:pt x="3342" y="444"/>
                  </a:lnTo>
                  <a:lnTo>
                    <a:pt x="3342" y="438"/>
                  </a:lnTo>
                  <a:lnTo>
                    <a:pt x="3348" y="432"/>
                  </a:lnTo>
                  <a:lnTo>
                    <a:pt x="3348" y="426"/>
                  </a:lnTo>
                  <a:lnTo>
                    <a:pt x="3348" y="420"/>
                  </a:lnTo>
                  <a:lnTo>
                    <a:pt x="3354" y="414"/>
                  </a:lnTo>
                  <a:lnTo>
                    <a:pt x="3354" y="408"/>
                  </a:lnTo>
                  <a:lnTo>
                    <a:pt x="3360" y="402"/>
                  </a:lnTo>
                  <a:lnTo>
                    <a:pt x="3366" y="402"/>
                  </a:lnTo>
                  <a:lnTo>
                    <a:pt x="3372" y="402"/>
                  </a:lnTo>
                  <a:lnTo>
                    <a:pt x="3366" y="402"/>
                  </a:lnTo>
                  <a:lnTo>
                    <a:pt x="3360" y="402"/>
                  </a:lnTo>
                  <a:lnTo>
                    <a:pt x="3360" y="396"/>
                  </a:lnTo>
                  <a:lnTo>
                    <a:pt x="3360" y="390"/>
                  </a:lnTo>
                  <a:lnTo>
                    <a:pt x="3366" y="390"/>
                  </a:lnTo>
                  <a:lnTo>
                    <a:pt x="3366" y="384"/>
                  </a:lnTo>
                  <a:lnTo>
                    <a:pt x="3360" y="378"/>
                  </a:lnTo>
                  <a:lnTo>
                    <a:pt x="3360" y="372"/>
                  </a:lnTo>
                  <a:lnTo>
                    <a:pt x="3360" y="366"/>
                  </a:lnTo>
                  <a:lnTo>
                    <a:pt x="3360" y="360"/>
                  </a:lnTo>
                  <a:lnTo>
                    <a:pt x="3360" y="354"/>
                  </a:lnTo>
                  <a:lnTo>
                    <a:pt x="3354" y="348"/>
                  </a:lnTo>
                  <a:lnTo>
                    <a:pt x="3354" y="342"/>
                  </a:lnTo>
                  <a:lnTo>
                    <a:pt x="3360" y="336"/>
                  </a:lnTo>
                  <a:lnTo>
                    <a:pt x="3360" y="330"/>
                  </a:lnTo>
                  <a:lnTo>
                    <a:pt x="3360" y="324"/>
                  </a:lnTo>
                  <a:lnTo>
                    <a:pt x="3360" y="318"/>
                  </a:lnTo>
                  <a:lnTo>
                    <a:pt x="3360" y="312"/>
                  </a:lnTo>
                  <a:lnTo>
                    <a:pt x="3354" y="306"/>
                  </a:lnTo>
                  <a:lnTo>
                    <a:pt x="3354" y="300"/>
                  </a:lnTo>
                  <a:lnTo>
                    <a:pt x="3354" y="294"/>
                  </a:lnTo>
                  <a:lnTo>
                    <a:pt x="3354" y="288"/>
                  </a:lnTo>
                  <a:lnTo>
                    <a:pt x="3354" y="282"/>
                  </a:lnTo>
                  <a:lnTo>
                    <a:pt x="3360" y="276"/>
                  </a:lnTo>
                  <a:lnTo>
                    <a:pt x="3360" y="270"/>
                  </a:lnTo>
                  <a:lnTo>
                    <a:pt x="3360" y="276"/>
                  </a:lnTo>
                  <a:lnTo>
                    <a:pt x="3360" y="270"/>
                  </a:lnTo>
                  <a:lnTo>
                    <a:pt x="3366" y="270"/>
                  </a:lnTo>
                  <a:lnTo>
                    <a:pt x="3366" y="264"/>
                  </a:lnTo>
                  <a:lnTo>
                    <a:pt x="3372" y="264"/>
                  </a:lnTo>
                  <a:lnTo>
                    <a:pt x="3372" y="270"/>
                  </a:lnTo>
                  <a:lnTo>
                    <a:pt x="3372" y="264"/>
                  </a:lnTo>
                  <a:lnTo>
                    <a:pt x="3378" y="264"/>
                  </a:lnTo>
                  <a:lnTo>
                    <a:pt x="3372" y="264"/>
                  </a:lnTo>
                  <a:lnTo>
                    <a:pt x="3372" y="258"/>
                  </a:lnTo>
                  <a:lnTo>
                    <a:pt x="3366" y="258"/>
                  </a:lnTo>
                  <a:lnTo>
                    <a:pt x="3372" y="258"/>
                  </a:lnTo>
                  <a:lnTo>
                    <a:pt x="3372" y="252"/>
                  </a:lnTo>
                  <a:lnTo>
                    <a:pt x="3372" y="246"/>
                  </a:lnTo>
                  <a:lnTo>
                    <a:pt x="3366" y="246"/>
                  </a:lnTo>
                  <a:lnTo>
                    <a:pt x="3366" y="240"/>
                  </a:lnTo>
                  <a:lnTo>
                    <a:pt x="3366" y="234"/>
                  </a:lnTo>
                  <a:lnTo>
                    <a:pt x="3366" y="228"/>
                  </a:lnTo>
                  <a:lnTo>
                    <a:pt x="3372" y="228"/>
                  </a:lnTo>
                  <a:lnTo>
                    <a:pt x="3372" y="222"/>
                  </a:lnTo>
                  <a:lnTo>
                    <a:pt x="3378" y="222"/>
                  </a:lnTo>
                  <a:lnTo>
                    <a:pt x="3378" y="216"/>
                  </a:lnTo>
                  <a:lnTo>
                    <a:pt x="3378" y="210"/>
                  </a:lnTo>
                  <a:lnTo>
                    <a:pt x="3384" y="210"/>
                  </a:lnTo>
                  <a:lnTo>
                    <a:pt x="3390" y="210"/>
                  </a:lnTo>
                  <a:lnTo>
                    <a:pt x="3390" y="216"/>
                  </a:lnTo>
                  <a:lnTo>
                    <a:pt x="3390" y="222"/>
                  </a:lnTo>
                  <a:lnTo>
                    <a:pt x="3390" y="228"/>
                  </a:lnTo>
                  <a:lnTo>
                    <a:pt x="3390" y="222"/>
                  </a:lnTo>
                  <a:lnTo>
                    <a:pt x="3390" y="228"/>
                  </a:lnTo>
                  <a:lnTo>
                    <a:pt x="3390" y="222"/>
                  </a:lnTo>
                  <a:lnTo>
                    <a:pt x="3390" y="216"/>
                  </a:lnTo>
                  <a:lnTo>
                    <a:pt x="3390" y="210"/>
                  </a:lnTo>
                  <a:lnTo>
                    <a:pt x="3396" y="210"/>
                  </a:lnTo>
                  <a:lnTo>
                    <a:pt x="3396" y="216"/>
                  </a:lnTo>
                  <a:lnTo>
                    <a:pt x="3396" y="210"/>
                  </a:lnTo>
                  <a:lnTo>
                    <a:pt x="3390" y="210"/>
                  </a:lnTo>
                  <a:lnTo>
                    <a:pt x="3390" y="216"/>
                  </a:lnTo>
                  <a:lnTo>
                    <a:pt x="3390" y="210"/>
                  </a:lnTo>
                  <a:lnTo>
                    <a:pt x="3384" y="210"/>
                  </a:lnTo>
                  <a:lnTo>
                    <a:pt x="3384" y="204"/>
                  </a:lnTo>
                  <a:lnTo>
                    <a:pt x="3390" y="204"/>
                  </a:lnTo>
                  <a:lnTo>
                    <a:pt x="3396" y="204"/>
                  </a:lnTo>
                  <a:lnTo>
                    <a:pt x="3396" y="198"/>
                  </a:lnTo>
                  <a:lnTo>
                    <a:pt x="3402" y="198"/>
                  </a:lnTo>
                  <a:lnTo>
                    <a:pt x="3396" y="198"/>
                  </a:lnTo>
                  <a:lnTo>
                    <a:pt x="3396" y="204"/>
                  </a:lnTo>
                  <a:lnTo>
                    <a:pt x="3390" y="204"/>
                  </a:lnTo>
                  <a:lnTo>
                    <a:pt x="3390" y="198"/>
                  </a:lnTo>
                  <a:lnTo>
                    <a:pt x="3390" y="204"/>
                  </a:lnTo>
                  <a:lnTo>
                    <a:pt x="3384" y="204"/>
                  </a:lnTo>
                  <a:lnTo>
                    <a:pt x="3378" y="204"/>
                  </a:lnTo>
                  <a:lnTo>
                    <a:pt x="3378" y="198"/>
                  </a:lnTo>
                  <a:lnTo>
                    <a:pt x="3372" y="198"/>
                  </a:lnTo>
                  <a:lnTo>
                    <a:pt x="3378" y="192"/>
                  </a:lnTo>
                  <a:lnTo>
                    <a:pt x="3372" y="192"/>
                  </a:lnTo>
                  <a:lnTo>
                    <a:pt x="3378" y="186"/>
                  </a:lnTo>
                  <a:lnTo>
                    <a:pt x="3372" y="186"/>
                  </a:lnTo>
                  <a:lnTo>
                    <a:pt x="3372" y="192"/>
                  </a:lnTo>
                  <a:lnTo>
                    <a:pt x="3372" y="198"/>
                  </a:lnTo>
                  <a:lnTo>
                    <a:pt x="3372" y="204"/>
                  </a:lnTo>
                  <a:lnTo>
                    <a:pt x="3366" y="204"/>
                  </a:lnTo>
                  <a:lnTo>
                    <a:pt x="3366" y="198"/>
                  </a:lnTo>
                  <a:lnTo>
                    <a:pt x="3372" y="192"/>
                  </a:lnTo>
                  <a:lnTo>
                    <a:pt x="3372" y="186"/>
                  </a:lnTo>
                  <a:lnTo>
                    <a:pt x="3372" y="180"/>
                  </a:lnTo>
                  <a:lnTo>
                    <a:pt x="3378" y="180"/>
                  </a:lnTo>
                  <a:lnTo>
                    <a:pt x="3378" y="174"/>
                  </a:lnTo>
                  <a:lnTo>
                    <a:pt x="3384" y="174"/>
                  </a:lnTo>
                  <a:lnTo>
                    <a:pt x="3384" y="180"/>
                  </a:lnTo>
                  <a:lnTo>
                    <a:pt x="3384" y="174"/>
                  </a:lnTo>
                  <a:lnTo>
                    <a:pt x="3378" y="174"/>
                  </a:lnTo>
                  <a:lnTo>
                    <a:pt x="3378" y="168"/>
                  </a:lnTo>
                  <a:lnTo>
                    <a:pt x="3384" y="162"/>
                  </a:lnTo>
                  <a:lnTo>
                    <a:pt x="3384" y="156"/>
                  </a:lnTo>
                  <a:lnTo>
                    <a:pt x="3390" y="156"/>
                  </a:lnTo>
                  <a:lnTo>
                    <a:pt x="3390" y="162"/>
                  </a:lnTo>
                  <a:lnTo>
                    <a:pt x="3390" y="168"/>
                  </a:lnTo>
                  <a:lnTo>
                    <a:pt x="3396" y="168"/>
                  </a:lnTo>
                  <a:lnTo>
                    <a:pt x="3390" y="168"/>
                  </a:lnTo>
                  <a:lnTo>
                    <a:pt x="3390" y="174"/>
                  </a:lnTo>
                  <a:lnTo>
                    <a:pt x="3390" y="180"/>
                  </a:lnTo>
                  <a:lnTo>
                    <a:pt x="3390" y="174"/>
                  </a:lnTo>
                  <a:lnTo>
                    <a:pt x="3390" y="168"/>
                  </a:lnTo>
                  <a:lnTo>
                    <a:pt x="3396" y="168"/>
                  </a:lnTo>
                  <a:lnTo>
                    <a:pt x="3390" y="168"/>
                  </a:lnTo>
                  <a:lnTo>
                    <a:pt x="3390" y="162"/>
                  </a:lnTo>
                  <a:lnTo>
                    <a:pt x="3396" y="162"/>
                  </a:lnTo>
                  <a:lnTo>
                    <a:pt x="3402" y="162"/>
                  </a:lnTo>
                  <a:lnTo>
                    <a:pt x="3402" y="156"/>
                  </a:lnTo>
                  <a:lnTo>
                    <a:pt x="3408" y="156"/>
                  </a:lnTo>
                  <a:lnTo>
                    <a:pt x="3408" y="162"/>
                  </a:lnTo>
                  <a:lnTo>
                    <a:pt x="3408" y="156"/>
                  </a:lnTo>
                  <a:lnTo>
                    <a:pt x="3402" y="156"/>
                  </a:lnTo>
                  <a:lnTo>
                    <a:pt x="3402" y="162"/>
                  </a:lnTo>
                  <a:lnTo>
                    <a:pt x="3396" y="162"/>
                  </a:lnTo>
                  <a:lnTo>
                    <a:pt x="3396" y="156"/>
                  </a:lnTo>
                  <a:lnTo>
                    <a:pt x="3396" y="150"/>
                  </a:lnTo>
                  <a:lnTo>
                    <a:pt x="3396" y="144"/>
                  </a:lnTo>
                  <a:lnTo>
                    <a:pt x="3396" y="138"/>
                  </a:lnTo>
                  <a:lnTo>
                    <a:pt x="3402" y="138"/>
                  </a:lnTo>
                  <a:lnTo>
                    <a:pt x="3408" y="138"/>
                  </a:lnTo>
                  <a:lnTo>
                    <a:pt x="3402" y="138"/>
                  </a:lnTo>
                  <a:lnTo>
                    <a:pt x="3396" y="138"/>
                  </a:lnTo>
                  <a:lnTo>
                    <a:pt x="3402" y="138"/>
                  </a:lnTo>
                  <a:lnTo>
                    <a:pt x="3402" y="132"/>
                  </a:lnTo>
                  <a:lnTo>
                    <a:pt x="3402" y="126"/>
                  </a:lnTo>
                  <a:lnTo>
                    <a:pt x="3402" y="132"/>
                  </a:lnTo>
                  <a:lnTo>
                    <a:pt x="3402" y="126"/>
                  </a:lnTo>
                  <a:lnTo>
                    <a:pt x="3402" y="120"/>
                  </a:lnTo>
                  <a:lnTo>
                    <a:pt x="3408" y="120"/>
                  </a:lnTo>
                  <a:lnTo>
                    <a:pt x="3402" y="120"/>
                  </a:lnTo>
                  <a:lnTo>
                    <a:pt x="3408" y="120"/>
                  </a:lnTo>
                  <a:lnTo>
                    <a:pt x="3408" y="114"/>
                  </a:lnTo>
                  <a:lnTo>
                    <a:pt x="3408" y="108"/>
                  </a:lnTo>
                  <a:lnTo>
                    <a:pt x="3408" y="102"/>
                  </a:lnTo>
                  <a:lnTo>
                    <a:pt x="3408" y="96"/>
                  </a:lnTo>
                  <a:lnTo>
                    <a:pt x="3414" y="90"/>
                  </a:lnTo>
                  <a:lnTo>
                    <a:pt x="3414" y="96"/>
                  </a:lnTo>
                  <a:lnTo>
                    <a:pt x="3414" y="90"/>
                  </a:lnTo>
                  <a:lnTo>
                    <a:pt x="3408" y="84"/>
                  </a:lnTo>
                  <a:lnTo>
                    <a:pt x="3414" y="84"/>
                  </a:lnTo>
                  <a:lnTo>
                    <a:pt x="3408" y="84"/>
                  </a:lnTo>
                  <a:lnTo>
                    <a:pt x="3408" y="78"/>
                  </a:lnTo>
                  <a:lnTo>
                    <a:pt x="3414" y="78"/>
                  </a:lnTo>
                  <a:lnTo>
                    <a:pt x="3420" y="78"/>
                  </a:lnTo>
                  <a:lnTo>
                    <a:pt x="3426" y="78"/>
                  </a:lnTo>
                  <a:lnTo>
                    <a:pt x="3426" y="72"/>
                  </a:lnTo>
                  <a:lnTo>
                    <a:pt x="3432" y="72"/>
                  </a:lnTo>
                  <a:lnTo>
                    <a:pt x="3432" y="66"/>
                  </a:lnTo>
                  <a:lnTo>
                    <a:pt x="3432" y="60"/>
                  </a:lnTo>
                  <a:lnTo>
                    <a:pt x="3438" y="60"/>
                  </a:lnTo>
                  <a:lnTo>
                    <a:pt x="3444" y="60"/>
                  </a:lnTo>
                  <a:lnTo>
                    <a:pt x="3444" y="66"/>
                  </a:lnTo>
                  <a:lnTo>
                    <a:pt x="3444" y="72"/>
                  </a:lnTo>
                  <a:lnTo>
                    <a:pt x="3438" y="72"/>
                  </a:lnTo>
                  <a:lnTo>
                    <a:pt x="3438" y="78"/>
                  </a:lnTo>
                  <a:lnTo>
                    <a:pt x="3444" y="78"/>
                  </a:lnTo>
                  <a:lnTo>
                    <a:pt x="3444" y="72"/>
                  </a:lnTo>
                  <a:lnTo>
                    <a:pt x="3444" y="78"/>
                  </a:lnTo>
                  <a:lnTo>
                    <a:pt x="3450" y="78"/>
                  </a:lnTo>
                  <a:lnTo>
                    <a:pt x="3450" y="84"/>
                  </a:lnTo>
                  <a:lnTo>
                    <a:pt x="3450" y="78"/>
                  </a:lnTo>
                  <a:lnTo>
                    <a:pt x="3456" y="78"/>
                  </a:lnTo>
                  <a:lnTo>
                    <a:pt x="3456" y="84"/>
                  </a:lnTo>
                  <a:lnTo>
                    <a:pt x="3462" y="90"/>
                  </a:lnTo>
                  <a:lnTo>
                    <a:pt x="3462" y="96"/>
                  </a:lnTo>
                  <a:lnTo>
                    <a:pt x="3456" y="96"/>
                  </a:lnTo>
                  <a:lnTo>
                    <a:pt x="3456" y="102"/>
                  </a:lnTo>
                  <a:lnTo>
                    <a:pt x="3462" y="102"/>
                  </a:lnTo>
                  <a:lnTo>
                    <a:pt x="3462" y="108"/>
                  </a:lnTo>
                  <a:lnTo>
                    <a:pt x="3462" y="114"/>
                  </a:lnTo>
                  <a:lnTo>
                    <a:pt x="3462" y="120"/>
                  </a:lnTo>
                  <a:lnTo>
                    <a:pt x="3462" y="126"/>
                  </a:lnTo>
                  <a:lnTo>
                    <a:pt x="3462" y="132"/>
                  </a:lnTo>
                  <a:lnTo>
                    <a:pt x="3462" y="138"/>
                  </a:lnTo>
                  <a:lnTo>
                    <a:pt x="3462" y="144"/>
                  </a:lnTo>
                  <a:lnTo>
                    <a:pt x="3462" y="150"/>
                  </a:lnTo>
                  <a:lnTo>
                    <a:pt x="3468" y="150"/>
                  </a:lnTo>
                  <a:lnTo>
                    <a:pt x="3474" y="150"/>
                  </a:lnTo>
                  <a:lnTo>
                    <a:pt x="3474" y="156"/>
                  </a:lnTo>
                  <a:lnTo>
                    <a:pt x="3480" y="150"/>
                  </a:lnTo>
                  <a:lnTo>
                    <a:pt x="3486" y="150"/>
                  </a:lnTo>
                  <a:lnTo>
                    <a:pt x="3486" y="156"/>
                  </a:lnTo>
                  <a:lnTo>
                    <a:pt x="3492" y="156"/>
                  </a:lnTo>
                  <a:lnTo>
                    <a:pt x="3486" y="156"/>
                  </a:lnTo>
                  <a:lnTo>
                    <a:pt x="3486" y="162"/>
                  </a:lnTo>
                  <a:lnTo>
                    <a:pt x="3480" y="168"/>
                  </a:lnTo>
                  <a:lnTo>
                    <a:pt x="3480" y="174"/>
                  </a:lnTo>
                  <a:lnTo>
                    <a:pt x="3480" y="180"/>
                  </a:lnTo>
                  <a:lnTo>
                    <a:pt x="3480" y="186"/>
                  </a:lnTo>
                  <a:lnTo>
                    <a:pt x="3486" y="186"/>
                  </a:lnTo>
                  <a:lnTo>
                    <a:pt x="3492" y="186"/>
                  </a:lnTo>
                  <a:lnTo>
                    <a:pt x="3492" y="192"/>
                  </a:lnTo>
                  <a:lnTo>
                    <a:pt x="3492" y="198"/>
                  </a:lnTo>
                  <a:lnTo>
                    <a:pt x="3498" y="198"/>
                  </a:lnTo>
                  <a:lnTo>
                    <a:pt x="3498" y="204"/>
                  </a:lnTo>
                  <a:lnTo>
                    <a:pt x="3504" y="204"/>
                  </a:lnTo>
                  <a:lnTo>
                    <a:pt x="3504" y="210"/>
                  </a:lnTo>
                  <a:lnTo>
                    <a:pt x="3498" y="210"/>
                  </a:lnTo>
                  <a:lnTo>
                    <a:pt x="3498" y="216"/>
                  </a:lnTo>
                  <a:lnTo>
                    <a:pt x="3498" y="222"/>
                  </a:lnTo>
                  <a:lnTo>
                    <a:pt x="3498" y="228"/>
                  </a:lnTo>
                  <a:lnTo>
                    <a:pt x="3498" y="222"/>
                  </a:lnTo>
                  <a:lnTo>
                    <a:pt x="3498" y="228"/>
                  </a:lnTo>
                  <a:lnTo>
                    <a:pt x="3498" y="222"/>
                  </a:lnTo>
                  <a:lnTo>
                    <a:pt x="3504" y="222"/>
                  </a:lnTo>
                  <a:lnTo>
                    <a:pt x="3510" y="222"/>
                  </a:lnTo>
                  <a:lnTo>
                    <a:pt x="3510" y="228"/>
                  </a:lnTo>
                  <a:lnTo>
                    <a:pt x="3510" y="234"/>
                  </a:lnTo>
                  <a:lnTo>
                    <a:pt x="3510" y="240"/>
                  </a:lnTo>
                  <a:lnTo>
                    <a:pt x="3510" y="246"/>
                  </a:lnTo>
                  <a:lnTo>
                    <a:pt x="3510" y="252"/>
                  </a:lnTo>
                  <a:lnTo>
                    <a:pt x="3510" y="258"/>
                  </a:lnTo>
                  <a:lnTo>
                    <a:pt x="3510" y="264"/>
                  </a:lnTo>
                  <a:lnTo>
                    <a:pt x="3516" y="264"/>
                  </a:lnTo>
                  <a:lnTo>
                    <a:pt x="3516" y="270"/>
                  </a:lnTo>
                  <a:lnTo>
                    <a:pt x="3510" y="270"/>
                  </a:lnTo>
                  <a:lnTo>
                    <a:pt x="3516" y="270"/>
                  </a:lnTo>
                  <a:lnTo>
                    <a:pt x="3516" y="276"/>
                  </a:lnTo>
                  <a:lnTo>
                    <a:pt x="3510" y="276"/>
                  </a:lnTo>
                  <a:lnTo>
                    <a:pt x="3510" y="282"/>
                  </a:lnTo>
                  <a:lnTo>
                    <a:pt x="3510" y="288"/>
                  </a:lnTo>
                  <a:lnTo>
                    <a:pt x="3510" y="294"/>
                  </a:lnTo>
                  <a:lnTo>
                    <a:pt x="3510" y="300"/>
                  </a:lnTo>
                  <a:lnTo>
                    <a:pt x="3516" y="300"/>
                  </a:lnTo>
                  <a:lnTo>
                    <a:pt x="3516" y="306"/>
                  </a:lnTo>
                  <a:lnTo>
                    <a:pt x="3516" y="312"/>
                  </a:lnTo>
                  <a:lnTo>
                    <a:pt x="3522" y="312"/>
                  </a:lnTo>
                  <a:lnTo>
                    <a:pt x="3522" y="318"/>
                  </a:lnTo>
                  <a:lnTo>
                    <a:pt x="3522" y="324"/>
                  </a:lnTo>
                  <a:lnTo>
                    <a:pt x="3522" y="330"/>
                  </a:lnTo>
                  <a:lnTo>
                    <a:pt x="3522" y="336"/>
                  </a:lnTo>
                  <a:lnTo>
                    <a:pt x="3528" y="336"/>
                  </a:lnTo>
                  <a:lnTo>
                    <a:pt x="3528" y="342"/>
                  </a:lnTo>
                  <a:lnTo>
                    <a:pt x="3534" y="342"/>
                  </a:lnTo>
                  <a:lnTo>
                    <a:pt x="3534" y="348"/>
                  </a:lnTo>
                  <a:lnTo>
                    <a:pt x="3540" y="348"/>
                  </a:lnTo>
                  <a:lnTo>
                    <a:pt x="3534" y="348"/>
                  </a:lnTo>
                  <a:lnTo>
                    <a:pt x="3540" y="348"/>
                  </a:lnTo>
                  <a:lnTo>
                    <a:pt x="3540" y="342"/>
                  </a:lnTo>
                  <a:lnTo>
                    <a:pt x="3546" y="342"/>
                  </a:lnTo>
                  <a:lnTo>
                    <a:pt x="3552" y="342"/>
                  </a:lnTo>
                  <a:lnTo>
                    <a:pt x="3552" y="336"/>
                  </a:lnTo>
                  <a:lnTo>
                    <a:pt x="3552" y="342"/>
                  </a:lnTo>
                  <a:lnTo>
                    <a:pt x="3552" y="336"/>
                  </a:lnTo>
                  <a:lnTo>
                    <a:pt x="3558" y="336"/>
                  </a:lnTo>
                  <a:lnTo>
                    <a:pt x="3558" y="330"/>
                  </a:lnTo>
                  <a:lnTo>
                    <a:pt x="3564" y="330"/>
                  </a:lnTo>
                  <a:lnTo>
                    <a:pt x="3570" y="330"/>
                  </a:lnTo>
                  <a:lnTo>
                    <a:pt x="3576" y="330"/>
                  </a:lnTo>
                  <a:lnTo>
                    <a:pt x="3576" y="324"/>
                  </a:lnTo>
                  <a:lnTo>
                    <a:pt x="3582" y="324"/>
                  </a:lnTo>
                  <a:lnTo>
                    <a:pt x="3588" y="324"/>
                  </a:lnTo>
                  <a:lnTo>
                    <a:pt x="3588" y="330"/>
                  </a:lnTo>
                  <a:lnTo>
                    <a:pt x="3588" y="336"/>
                  </a:lnTo>
                  <a:lnTo>
                    <a:pt x="3588" y="342"/>
                  </a:lnTo>
                  <a:lnTo>
                    <a:pt x="3588" y="348"/>
                  </a:lnTo>
                  <a:lnTo>
                    <a:pt x="3594" y="348"/>
                  </a:lnTo>
                  <a:lnTo>
                    <a:pt x="3600" y="348"/>
                  </a:lnTo>
                  <a:lnTo>
                    <a:pt x="3600" y="354"/>
                  </a:lnTo>
                  <a:lnTo>
                    <a:pt x="3606" y="354"/>
                  </a:lnTo>
                  <a:lnTo>
                    <a:pt x="3612" y="354"/>
                  </a:lnTo>
                  <a:lnTo>
                    <a:pt x="3612" y="360"/>
                  </a:lnTo>
                  <a:lnTo>
                    <a:pt x="3612" y="366"/>
                  </a:lnTo>
                  <a:lnTo>
                    <a:pt x="3618" y="366"/>
                  </a:lnTo>
                  <a:lnTo>
                    <a:pt x="3618" y="372"/>
                  </a:lnTo>
                  <a:lnTo>
                    <a:pt x="3618" y="366"/>
                  </a:lnTo>
                  <a:lnTo>
                    <a:pt x="3618" y="372"/>
                  </a:lnTo>
                  <a:lnTo>
                    <a:pt x="3618" y="366"/>
                  </a:lnTo>
                  <a:lnTo>
                    <a:pt x="3624" y="372"/>
                  </a:lnTo>
                  <a:lnTo>
                    <a:pt x="3630" y="372"/>
                  </a:lnTo>
                  <a:lnTo>
                    <a:pt x="3630" y="378"/>
                  </a:lnTo>
                  <a:lnTo>
                    <a:pt x="3636" y="378"/>
                  </a:lnTo>
                  <a:lnTo>
                    <a:pt x="3636" y="384"/>
                  </a:lnTo>
                  <a:lnTo>
                    <a:pt x="3636" y="378"/>
                  </a:lnTo>
                  <a:lnTo>
                    <a:pt x="3642" y="378"/>
                  </a:lnTo>
                  <a:lnTo>
                    <a:pt x="3642" y="384"/>
                  </a:lnTo>
                  <a:lnTo>
                    <a:pt x="3636" y="384"/>
                  </a:lnTo>
                  <a:lnTo>
                    <a:pt x="3636" y="390"/>
                  </a:lnTo>
                  <a:lnTo>
                    <a:pt x="3630" y="396"/>
                  </a:lnTo>
                  <a:lnTo>
                    <a:pt x="3630" y="402"/>
                  </a:lnTo>
                  <a:lnTo>
                    <a:pt x="3636" y="402"/>
                  </a:lnTo>
                  <a:lnTo>
                    <a:pt x="3642" y="402"/>
                  </a:lnTo>
                  <a:lnTo>
                    <a:pt x="3642" y="408"/>
                  </a:lnTo>
                  <a:lnTo>
                    <a:pt x="3636" y="408"/>
                  </a:lnTo>
                  <a:lnTo>
                    <a:pt x="3636" y="414"/>
                  </a:lnTo>
                  <a:lnTo>
                    <a:pt x="3630" y="414"/>
                  </a:lnTo>
                  <a:lnTo>
                    <a:pt x="3630" y="420"/>
                  </a:lnTo>
                  <a:lnTo>
                    <a:pt x="3636" y="420"/>
                  </a:lnTo>
                  <a:lnTo>
                    <a:pt x="3636" y="426"/>
                  </a:lnTo>
                  <a:lnTo>
                    <a:pt x="3630" y="426"/>
                  </a:lnTo>
                  <a:lnTo>
                    <a:pt x="3636" y="426"/>
                  </a:lnTo>
                  <a:lnTo>
                    <a:pt x="3636" y="432"/>
                  </a:lnTo>
                  <a:lnTo>
                    <a:pt x="3636" y="438"/>
                  </a:lnTo>
                  <a:lnTo>
                    <a:pt x="3642" y="438"/>
                  </a:lnTo>
                  <a:lnTo>
                    <a:pt x="3642" y="444"/>
                  </a:lnTo>
                  <a:lnTo>
                    <a:pt x="3636" y="444"/>
                  </a:lnTo>
                  <a:lnTo>
                    <a:pt x="3642" y="450"/>
                  </a:lnTo>
                  <a:lnTo>
                    <a:pt x="3636" y="450"/>
                  </a:lnTo>
                  <a:lnTo>
                    <a:pt x="3636" y="456"/>
                  </a:lnTo>
                  <a:lnTo>
                    <a:pt x="3642" y="456"/>
                  </a:lnTo>
                  <a:lnTo>
                    <a:pt x="3642" y="462"/>
                  </a:lnTo>
                  <a:lnTo>
                    <a:pt x="3648" y="462"/>
                  </a:lnTo>
                  <a:lnTo>
                    <a:pt x="3648" y="468"/>
                  </a:lnTo>
                  <a:lnTo>
                    <a:pt x="3642" y="468"/>
                  </a:lnTo>
                  <a:lnTo>
                    <a:pt x="3642" y="474"/>
                  </a:lnTo>
                  <a:lnTo>
                    <a:pt x="3648" y="474"/>
                  </a:lnTo>
                  <a:lnTo>
                    <a:pt x="3648" y="480"/>
                  </a:lnTo>
                  <a:lnTo>
                    <a:pt x="3642" y="480"/>
                  </a:lnTo>
                  <a:lnTo>
                    <a:pt x="3642" y="486"/>
                  </a:lnTo>
                  <a:lnTo>
                    <a:pt x="3642" y="480"/>
                  </a:lnTo>
                  <a:lnTo>
                    <a:pt x="3642" y="486"/>
                  </a:lnTo>
                  <a:lnTo>
                    <a:pt x="3642" y="492"/>
                  </a:lnTo>
                  <a:lnTo>
                    <a:pt x="3642" y="498"/>
                  </a:lnTo>
                  <a:lnTo>
                    <a:pt x="3648" y="498"/>
                  </a:lnTo>
                  <a:lnTo>
                    <a:pt x="3642" y="498"/>
                  </a:lnTo>
                  <a:lnTo>
                    <a:pt x="3648" y="504"/>
                  </a:lnTo>
                  <a:lnTo>
                    <a:pt x="3648" y="510"/>
                  </a:lnTo>
                  <a:lnTo>
                    <a:pt x="3654" y="510"/>
                  </a:lnTo>
                  <a:lnTo>
                    <a:pt x="3654" y="516"/>
                  </a:lnTo>
                  <a:lnTo>
                    <a:pt x="3660" y="516"/>
                  </a:lnTo>
                  <a:lnTo>
                    <a:pt x="3660" y="522"/>
                  </a:lnTo>
                  <a:lnTo>
                    <a:pt x="3666" y="522"/>
                  </a:lnTo>
                  <a:lnTo>
                    <a:pt x="3666" y="528"/>
                  </a:lnTo>
                  <a:lnTo>
                    <a:pt x="3666" y="534"/>
                  </a:lnTo>
                  <a:lnTo>
                    <a:pt x="3666" y="528"/>
                  </a:lnTo>
                  <a:lnTo>
                    <a:pt x="3672" y="528"/>
                  </a:lnTo>
                  <a:lnTo>
                    <a:pt x="3678" y="528"/>
                  </a:lnTo>
                  <a:lnTo>
                    <a:pt x="3678" y="534"/>
                  </a:lnTo>
                  <a:lnTo>
                    <a:pt x="3672" y="540"/>
                  </a:lnTo>
                  <a:lnTo>
                    <a:pt x="3678" y="540"/>
                  </a:lnTo>
                  <a:lnTo>
                    <a:pt x="3678" y="546"/>
                  </a:lnTo>
                  <a:lnTo>
                    <a:pt x="3678" y="552"/>
                  </a:lnTo>
                  <a:lnTo>
                    <a:pt x="3684" y="558"/>
                  </a:lnTo>
                  <a:lnTo>
                    <a:pt x="3684" y="564"/>
                  </a:lnTo>
                  <a:lnTo>
                    <a:pt x="3684" y="570"/>
                  </a:lnTo>
                  <a:lnTo>
                    <a:pt x="3684" y="576"/>
                  </a:lnTo>
                  <a:lnTo>
                    <a:pt x="3690" y="576"/>
                  </a:lnTo>
                  <a:lnTo>
                    <a:pt x="3690" y="582"/>
                  </a:lnTo>
                  <a:lnTo>
                    <a:pt x="3684" y="582"/>
                  </a:lnTo>
                  <a:lnTo>
                    <a:pt x="3690" y="582"/>
                  </a:lnTo>
                  <a:lnTo>
                    <a:pt x="3690" y="588"/>
                  </a:lnTo>
                  <a:lnTo>
                    <a:pt x="3690" y="594"/>
                  </a:lnTo>
                  <a:lnTo>
                    <a:pt x="3684" y="594"/>
                  </a:lnTo>
                  <a:lnTo>
                    <a:pt x="3690" y="600"/>
                  </a:lnTo>
                  <a:lnTo>
                    <a:pt x="3684" y="606"/>
                  </a:lnTo>
                  <a:lnTo>
                    <a:pt x="3690" y="606"/>
                  </a:lnTo>
                  <a:lnTo>
                    <a:pt x="3684" y="606"/>
                  </a:lnTo>
                  <a:lnTo>
                    <a:pt x="3684" y="612"/>
                  </a:lnTo>
                  <a:lnTo>
                    <a:pt x="3684" y="606"/>
                  </a:lnTo>
                  <a:lnTo>
                    <a:pt x="3684" y="612"/>
                  </a:lnTo>
                  <a:lnTo>
                    <a:pt x="3684" y="618"/>
                  </a:lnTo>
                  <a:lnTo>
                    <a:pt x="3678" y="618"/>
                  </a:lnTo>
                  <a:lnTo>
                    <a:pt x="3678" y="624"/>
                  </a:lnTo>
                  <a:lnTo>
                    <a:pt x="3678" y="630"/>
                  </a:lnTo>
                  <a:lnTo>
                    <a:pt x="3684" y="630"/>
                  </a:lnTo>
                  <a:lnTo>
                    <a:pt x="3684" y="636"/>
                  </a:lnTo>
                  <a:lnTo>
                    <a:pt x="3690" y="636"/>
                  </a:lnTo>
                  <a:lnTo>
                    <a:pt x="3690" y="642"/>
                  </a:lnTo>
                  <a:lnTo>
                    <a:pt x="3690" y="636"/>
                  </a:lnTo>
                  <a:lnTo>
                    <a:pt x="3690" y="642"/>
                  </a:lnTo>
                  <a:lnTo>
                    <a:pt x="3690" y="648"/>
                  </a:lnTo>
                  <a:lnTo>
                    <a:pt x="3690" y="642"/>
                  </a:lnTo>
                  <a:lnTo>
                    <a:pt x="3690" y="648"/>
                  </a:lnTo>
                  <a:lnTo>
                    <a:pt x="3690" y="642"/>
                  </a:lnTo>
                  <a:lnTo>
                    <a:pt x="3690" y="648"/>
                  </a:lnTo>
                  <a:lnTo>
                    <a:pt x="3696" y="648"/>
                  </a:lnTo>
                  <a:lnTo>
                    <a:pt x="3690" y="648"/>
                  </a:lnTo>
                  <a:lnTo>
                    <a:pt x="3696" y="648"/>
                  </a:lnTo>
                  <a:lnTo>
                    <a:pt x="3702" y="648"/>
                  </a:lnTo>
                  <a:lnTo>
                    <a:pt x="3702" y="654"/>
                  </a:lnTo>
                  <a:lnTo>
                    <a:pt x="3702" y="648"/>
                  </a:lnTo>
                  <a:lnTo>
                    <a:pt x="3702" y="654"/>
                  </a:lnTo>
                  <a:lnTo>
                    <a:pt x="3702" y="660"/>
                  </a:lnTo>
                  <a:lnTo>
                    <a:pt x="3696" y="666"/>
                  </a:lnTo>
                  <a:lnTo>
                    <a:pt x="3696" y="672"/>
                  </a:lnTo>
                  <a:lnTo>
                    <a:pt x="3696" y="678"/>
                  </a:lnTo>
                  <a:lnTo>
                    <a:pt x="3702" y="684"/>
                  </a:lnTo>
                  <a:lnTo>
                    <a:pt x="3702" y="690"/>
                  </a:lnTo>
                  <a:lnTo>
                    <a:pt x="3702" y="684"/>
                  </a:lnTo>
                  <a:lnTo>
                    <a:pt x="3708" y="690"/>
                  </a:lnTo>
                  <a:lnTo>
                    <a:pt x="3708" y="696"/>
                  </a:lnTo>
                  <a:lnTo>
                    <a:pt x="3714" y="696"/>
                  </a:lnTo>
                  <a:lnTo>
                    <a:pt x="3720" y="696"/>
                  </a:lnTo>
                  <a:lnTo>
                    <a:pt x="3720" y="702"/>
                  </a:lnTo>
                  <a:lnTo>
                    <a:pt x="3726" y="702"/>
                  </a:lnTo>
                  <a:lnTo>
                    <a:pt x="3732" y="702"/>
                  </a:lnTo>
                  <a:lnTo>
                    <a:pt x="3732" y="708"/>
                  </a:lnTo>
                  <a:lnTo>
                    <a:pt x="3738" y="708"/>
                  </a:lnTo>
                  <a:lnTo>
                    <a:pt x="3744" y="708"/>
                  </a:lnTo>
                  <a:lnTo>
                    <a:pt x="3750" y="708"/>
                  </a:lnTo>
                  <a:lnTo>
                    <a:pt x="3750" y="702"/>
                  </a:lnTo>
                  <a:lnTo>
                    <a:pt x="3750" y="708"/>
                  </a:lnTo>
                  <a:lnTo>
                    <a:pt x="3756" y="708"/>
                  </a:lnTo>
                  <a:lnTo>
                    <a:pt x="3750" y="708"/>
                  </a:lnTo>
                  <a:lnTo>
                    <a:pt x="3750" y="714"/>
                  </a:lnTo>
                  <a:lnTo>
                    <a:pt x="3756" y="714"/>
                  </a:lnTo>
                  <a:lnTo>
                    <a:pt x="3756" y="720"/>
                  </a:lnTo>
                  <a:lnTo>
                    <a:pt x="3762" y="720"/>
                  </a:lnTo>
                  <a:lnTo>
                    <a:pt x="3768" y="720"/>
                  </a:lnTo>
                  <a:lnTo>
                    <a:pt x="3774" y="720"/>
                  </a:lnTo>
                  <a:lnTo>
                    <a:pt x="3780" y="720"/>
                  </a:lnTo>
                  <a:lnTo>
                    <a:pt x="3780" y="714"/>
                  </a:lnTo>
                  <a:lnTo>
                    <a:pt x="3780" y="708"/>
                  </a:lnTo>
                  <a:lnTo>
                    <a:pt x="3780" y="714"/>
                  </a:lnTo>
                  <a:lnTo>
                    <a:pt x="3780" y="720"/>
                  </a:lnTo>
                  <a:lnTo>
                    <a:pt x="3786" y="720"/>
                  </a:lnTo>
                  <a:lnTo>
                    <a:pt x="3786" y="726"/>
                  </a:lnTo>
                  <a:lnTo>
                    <a:pt x="3792" y="732"/>
                  </a:lnTo>
                  <a:lnTo>
                    <a:pt x="3786" y="732"/>
                  </a:lnTo>
                  <a:lnTo>
                    <a:pt x="3792" y="732"/>
                  </a:lnTo>
                  <a:lnTo>
                    <a:pt x="3792" y="738"/>
                  </a:lnTo>
                  <a:lnTo>
                    <a:pt x="3786" y="738"/>
                  </a:lnTo>
                  <a:lnTo>
                    <a:pt x="3780" y="732"/>
                  </a:lnTo>
                  <a:lnTo>
                    <a:pt x="3780" y="738"/>
                  </a:lnTo>
                  <a:lnTo>
                    <a:pt x="3786" y="738"/>
                  </a:lnTo>
                  <a:lnTo>
                    <a:pt x="3786" y="744"/>
                  </a:lnTo>
                  <a:lnTo>
                    <a:pt x="3792" y="744"/>
                  </a:lnTo>
                  <a:lnTo>
                    <a:pt x="3798" y="750"/>
                  </a:lnTo>
                  <a:lnTo>
                    <a:pt x="3804" y="750"/>
                  </a:lnTo>
                  <a:lnTo>
                    <a:pt x="3804" y="744"/>
                  </a:lnTo>
                  <a:lnTo>
                    <a:pt x="3804" y="738"/>
                  </a:lnTo>
                  <a:lnTo>
                    <a:pt x="3810" y="738"/>
                  </a:lnTo>
                  <a:lnTo>
                    <a:pt x="3810" y="744"/>
                  </a:lnTo>
                  <a:lnTo>
                    <a:pt x="3810" y="750"/>
                  </a:lnTo>
                  <a:lnTo>
                    <a:pt x="3810" y="756"/>
                  </a:lnTo>
                  <a:lnTo>
                    <a:pt x="3816" y="756"/>
                  </a:lnTo>
                  <a:lnTo>
                    <a:pt x="3810" y="756"/>
                  </a:lnTo>
                  <a:lnTo>
                    <a:pt x="3816" y="756"/>
                  </a:lnTo>
                  <a:lnTo>
                    <a:pt x="3822" y="756"/>
                  </a:lnTo>
                  <a:lnTo>
                    <a:pt x="3828" y="756"/>
                  </a:lnTo>
                  <a:lnTo>
                    <a:pt x="3834" y="762"/>
                  </a:lnTo>
                  <a:lnTo>
                    <a:pt x="3834" y="756"/>
                  </a:lnTo>
                  <a:lnTo>
                    <a:pt x="3834" y="762"/>
                  </a:lnTo>
                  <a:lnTo>
                    <a:pt x="3840" y="762"/>
                  </a:lnTo>
                  <a:lnTo>
                    <a:pt x="3834" y="762"/>
                  </a:lnTo>
                  <a:lnTo>
                    <a:pt x="3834" y="768"/>
                  </a:lnTo>
                  <a:lnTo>
                    <a:pt x="3840" y="768"/>
                  </a:lnTo>
                  <a:lnTo>
                    <a:pt x="3840" y="774"/>
                  </a:lnTo>
                  <a:lnTo>
                    <a:pt x="3846" y="774"/>
                  </a:lnTo>
                  <a:lnTo>
                    <a:pt x="3852" y="774"/>
                  </a:lnTo>
                  <a:lnTo>
                    <a:pt x="3852" y="768"/>
                  </a:lnTo>
                  <a:lnTo>
                    <a:pt x="3852" y="774"/>
                  </a:lnTo>
                  <a:lnTo>
                    <a:pt x="3852" y="768"/>
                  </a:lnTo>
                  <a:lnTo>
                    <a:pt x="3858" y="768"/>
                  </a:lnTo>
                  <a:lnTo>
                    <a:pt x="3864" y="768"/>
                  </a:lnTo>
                  <a:lnTo>
                    <a:pt x="3858" y="768"/>
                  </a:lnTo>
                  <a:lnTo>
                    <a:pt x="3858" y="774"/>
                  </a:lnTo>
                  <a:lnTo>
                    <a:pt x="3864" y="774"/>
                  </a:lnTo>
                  <a:lnTo>
                    <a:pt x="3864" y="780"/>
                  </a:lnTo>
                  <a:lnTo>
                    <a:pt x="3864" y="774"/>
                  </a:lnTo>
                  <a:lnTo>
                    <a:pt x="3864" y="780"/>
                  </a:lnTo>
                  <a:lnTo>
                    <a:pt x="3864" y="774"/>
                  </a:lnTo>
                  <a:lnTo>
                    <a:pt x="3864" y="780"/>
                  </a:lnTo>
                  <a:lnTo>
                    <a:pt x="3870" y="780"/>
                  </a:lnTo>
                  <a:lnTo>
                    <a:pt x="3870" y="774"/>
                  </a:lnTo>
                  <a:lnTo>
                    <a:pt x="3870" y="780"/>
                  </a:lnTo>
                  <a:lnTo>
                    <a:pt x="3870" y="786"/>
                  </a:lnTo>
                  <a:lnTo>
                    <a:pt x="3870" y="780"/>
                  </a:lnTo>
                  <a:lnTo>
                    <a:pt x="3870" y="786"/>
                  </a:lnTo>
                  <a:lnTo>
                    <a:pt x="3876" y="780"/>
                  </a:lnTo>
                  <a:lnTo>
                    <a:pt x="3876" y="786"/>
                  </a:lnTo>
                  <a:lnTo>
                    <a:pt x="3882" y="786"/>
                  </a:lnTo>
                  <a:lnTo>
                    <a:pt x="3876" y="786"/>
                  </a:lnTo>
                  <a:lnTo>
                    <a:pt x="3882" y="786"/>
                  </a:lnTo>
                  <a:lnTo>
                    <a:pt x="3882" y="792"/>
                  </a:lnTo>
                  <a:lnTo>
                    <a:pt x="3876" y="792"/>
                  </a:lnTo>
                  <a:lnTo>
                    <a:pt x="3882" y="792"/>
                  </a:lnTo>
                  <a:lnTo>
                    <a:pt x="3882" y="798"/>
                  </a:lnTo>
                  <a:lnTo>
                    <a:pt x="3888" y="798"/>
                  </a:lnTo>
                  <a:lnTo>
                    <a:pt x="3882" y="798"/>
                  </a:lnTo>
                  <a:lnTo>
                    <a:pt x="3888" y="798"/>
                  </a:lnTo>
                  <a:lnTo>
                    <a:pt x="3888" y="804"/>
                  </a:lnTo>
                  <a:lnTo>
                    <a:pt x="3882" y="804"/>
                  </a:lnTo>
                  <a:lnTo>
                    <a:pt x="3882" y="798"/>
                  </a:lnTo>
                  <a:lnTo>
                    <a:pt x="3882" y="804"/>
                  </a:lnTo>
                  <a:lnTo>
                    <a:pt x="3882" y="798"/>
                  </a:lnTo>
                  <a:lnTo>
                    <a:pt x="3876" y="798"/>
                  </a:lnTo>
                  <a:lnTo>
                    <a:pt x="3882" y="798"/>
                  </a:lnTo>
                  <a:lnTo>
                    <a:pt x="3876" y="798"/>
                  </a:lnTo>
                  <a:lnTo>
                    <a:pt x="3876" y="792"/>
                  </a:lnTo>
                  <a:lnTo>
                    <a:pt x="3876" y="798"/>
                  </a:lnTo>
                  <a:lnTo>
                    <a:pt x="3870" y="798"/>
                  </a:lnTo>
                  <a:lnTo>
                    <a:pt x="3864" y="798"/>
                  </a:lnTo>
                  <a:lnTo>
                    <a:pt x="3870" y="798"/>
                  </a:lnTo>
                  <a:lnTo>
                    <a:pt x="3870" y="804"/>
                  </a:lnTo>
                  <a:lnTo>
                    <a:pt x="3864" y="804"/>
                  </a:lnTo>
                  <a:lnTo>
                    <a:pt x="3870" y="810"/>
                  </a:lnTo>
                  <a:lnTo>
                    <a:pt x="3870" y="816"/>
                  </a:lnTo>
                  <a:lnTo>
                    <a:pt x="3876" y="816"/>
                  </a:lnTo>
                  <a:lnTo>
                    <a:pt x="3876" y="822"/>
                  </a:lnTo>
                  <a:lnTo>
                    <a:pt x="3876" y="828"/>
                  </a:lnTo>
                  <a:lnTo>
                    <a:pt x="3882" y="828"/>
                  </a:lnTo>
                  <a:lnTo>
                    <a:pt x="3888" y="828"/>
                  </a:lnTo>
                  <a:lnTo>
                    <a:pt x="3888" y="834"/>
                  </a:lnTo>
                  <a:lnTo>
                    <a:pt x="3894" y="834"/>
                  </a:lnTo>
                  <a:lnTo>
                    <a:pt x="3894" y="828"/>
                  </a:lnTo>
                  <a:lnTo>
                    <a:pt x="3894" y="834"/>
                  </a:lnTo>
                  <a:lnTo>
                    <a:pt x="3888" y="834"/>
                  </a:lnTo>
                  <a:lnTo>
                    <a:pt x="3894" y="834"/>
                  </a:lnTo>
                  <a:lnTo>
                    <a:pt x="3888" y="834"/>
                  </a:lnTo>
                  <a:lnTo>
                    <a:pt x="3894" y="834"/>
                  </a:lnTo>
                  <a:lnTo>
                    <a:pt x="3888" y="840"/>
                  </a:lnTo>
                  <a:lnTo>
                    <a:pt x="3894" y="840"/>
                  </a:lnTo>
                  <a:lnTo>
                    <a:pt x="3894" y="834"/>
                  </a:lnTo>
                  <a:lnTo>
                    <a:pt x="3894" y="840"/>
                  </a:lnTo>
                  <a:lnTo>
                    <a:pt x="3894" y="834"/>
                  </a:lnTo>
                  <a:lnTo>
                    <a:pt x="3900" y="840"/>
                  </a:lnTo>
                  <a:lnTo>
                    <a:pt x="3906" y="840"/>
                  </a:lnTo>
                  <a:lnTo>
                    <a:pt x="3906" y="846"/>
                  </a:lnTo>
                  <a:lnTo>
                    <a:pt x="3906" y="840"/>
                  </a:lnTo>
                  <a:lnTo>
                    <a:pt x="3906" y="846"/>
                  </a:lnTo>
                  <a:lnTo>
                    <a:pt x="3906" y="852"/>
                  </a:lnTo>
                  <a:lnTo>
                    <a:pt x="3906" y="846"/>
                  </a:lnTo>
                  <a:lnTo>
                    <a:pt x="3900" y="846"/>
                  </a:lnTo>
                  <a:lnTo>
                    <a:pt x="3906" y="846"/>
                  </a:lnTo>
                  <a:lnTo>
                    <a:pt x="3900" y="846"/>
                  </a:lnTo>
                  <a:lnTo>
                    <a:pt x="3900" y="852"/>
                  </a:lnTo>
                  <a:lnTo>
                    <a:pt x="3900" y="846"/>
                  </a:lnTo>
                  <a:lnTo>
                    <a:pt x="3906" y="846"/>
                  </a:lnTo>
                  <a:lnTo>
                    <a:pt x="3906" y="852"/>
                  </a:lnTo>
                  <a:lnTo>
                    <a:pt x="3900" y="852"/>
                  </a:lnTo>
                  <a:lnTo>
                    <a:pt x="3906" y="858"/>
                  </a:lnTo>
                  <a:lnTo>
                    <a:pt x="3900" y="858"/>
                  </a:lnTo>
                  <a:lnTo>
                    <a:pt x="3900" y="864"/>
                  </a:lnTo>
                  <a:lnTo>
                    <a:pt x="3906" y="864"/>
                  </a:lnTo>
                  <a:lnTo>
                    <a:pt x="3900" y="858"/>
                  </a:lnTo>
                  <a:lnTo>
                    <a:pt x="3906" y="858"/>
                  </a:lnTo>
                  <a:lnTo>
                    <a:pt x="3912" y="858"/>
                  </a:lnTo>
                  <a:lnTo>
                    <a:pt x="3912" y="864"/>
                  </a:lnTo>
                  <a:lnTo>
                    <a:pt x="3912" y="870"/>
                  </a:lnTo>
                  <a:lnTo>
                    <a:pt x="3906" y="870"/>
                  </a:lnTo>
                  <a:lnTo>
                    <a:pt x="3912" y="870"/>
                  </a:lnTo>
                  <a:lnTo>
                    <a:pt x="3906" y="870"/>
                  </a:lnTo>
                  <a:lnTo>
                    <a:pt x="3912" y="870"/>
                  </a:lnTo>
                  <a:lnTo>
                    <a:pt x="3906" y="870"/>
                  </a:lnTo>
                  <a:lnTo>
                    <a:pt x="3912" y="876"/>
                  </a:lnTo>
                  <a:lnTo>
                    <a:pt x="3906" y="876"/>
                  </a:lnTo>
                  <a:lnTo>
                    <a:pt x="3912" y="876"/>
                  </a:lnTo>
                  <a:lnTo>
                    <a:pt x="3906" y="876"/>
                  </a:lnTo>
                  <a:lnTo>
                    <a:pt x="3912" y="876"/>
                  </a:lnTo>
                  <a:lnTo>
                    <a:pt x="3918" y="876"/>
                  </a:lnTo>
                  <a:lnTo>
                    <a:pt x="3918" y="882"/>
                  </a:lnTo>
                  <a:lnTo>
                    <a:pt x="3924" y="876"/>
                  </a:lnTo>
                  <a:lnTo>
                    <a:pt x="3924" y="882"/>
                  </a:lnTo>
                  <a:lnTo>
                    <a:pt x="3918" y="882"/>
                  </a:lnTo>
                  <a:lnTo>
                    <a:pt x="3918" y="888"/>
                  </a:lnTo>
                  <a:lnTo>
                    <a:pt x="3918" y="894"/>
                  </a:lnTo>
                  <a:lnTo>
                    <a:pt x="3924" y="894"/>
                  </a:lnTo>
                  <a:lnTo>
                    <a:pt x="3918" y="894"/>
                  </a:lnTo>
                  <a:lnTo>
                    <a:pt x="3918" y="900"/>
                  </a:lnTo>
                  <a:lnTo>
                    <a:pt x="3918" y="906"/>
                  </a:lnTo>
                  <a:lnTo>
                    <a:pt x="3918" y="912"/>
                  </a:lnTo>
                  <a:lnTo>
                    <a:pt x="3924" y="912"/>
                  </a:lnTo>
                  <a:lnTo>
                    <a:pt x="3924" y="918"/>
                  </a:lnTo>
                  <a:lnTo>
                    <a:pt x="3924" y="924"/>
                  </a:lnTo>
                  <a:lnTo>
                    <a:pt x="3924" y="930"/>
                  </a:lnTo>
                  <a:lnTo>
                    <a:pt x="3930" y="930"/>
                  </a:lnTo>
                  <a:lnTo>
                    <a:pt x="3930" y="936"/>
                  </a:lnTo>
                  <a:lnTo>
                    <a:pt x="3924" y="936"/>
                  </a:lnTo>
                  <a:lnTo>
                    <a:pt x="3924" y="942"/>
                  </a:lnTo>
                  <a:lnTo>
                    <a:pt x="3924" y="936"/>
                  </a:lnTo>
                  <a:lnTo>
                    <a:pt x="3918" y="936"/>
                  </a:lnTo>
                  <a:lnTo>
                    <a:pt x="3918" y="942"/>
                  </a:lnTo>
                  <a:lnTo>
                    <a:pt x="3918" y="936"/>
                  </a:lnTo>
                  <a:lnTo>
                    <a:pt x="3924" y="942"/>
                  </a:lnTo>
                  <a:lnTo>
                    <a:pt x="3924" y="936"/>
                  </a:lnTo>
                  <a:lnTo>
                    <a:pt x="3930" y="936"/>
                  </a:lnTo>
                  <a:lnTo>
                    <a:pt x="3930" y="942"/>
                  </a:lnTo>
                  <a:lnTo>
                    <a:pt x="3924" y="942"/>
                  </a:lnTo>
                  <a:lnTo>
                    <a:pt x="3930" y="942"/>
                  </a:lnTo>
                  <a:lnTo>
                    <a:pt x="3924" y="942"/>
                  </a:lnTo>
                  <a:lnTo>
                    <a:pt x="3930" y="942"/>
                  </a:lnTo>
                  <a:lnTo>
                    <a:pt x="3936" y="942"/>
                  </a:lnTo>
                  <a:lnTo>
                    <a:pt x="3936" y="948"/>
                  </a:lnTo>
                  <a:lnTo>
                    <a:pt x="3930" y="948"/>
                  </a:lnTo>
                  <a:lnTo>
                    <a:pt x="3930" y="954"/>
                  </a:lnTo>
                  <a:lnTo>
                    <a:pt x="3930" y="960"/>
                  </a:lnTo>
                  <a:lnTo>
                    <a:pt x="3930" y="954"/>
                  </a:lnTo>
                  <a:lnTo>
                    <a:pt x="3936" y="954"/>
                  </a:lnTo>
                  <a:lnTo>
                    <a:pt x="3930" y="954"/>
                  </a:lnTo>
                  <a:lnTo>
                    <a:pt x="3936" y="948"/>
                  </a:lnTo>
                  <a:lnTo>
                    <a:pt x="3942" y="948"/>
                  </a:lnTo>
                  <a:lnTo>
                    <a:pt x="3942" y="942"/>
                  </a:lnTo>
                  <a:lnTo>
                    <a:pt x="3948" y="942"/>
                  </a:lnTo>
                  <a:lnTo>
                    <a:pt x="3948" y="948"/>
                  </a:lnTo>
                  <a:lnTo>
                    <a:pt x="3948" y="954"/>
                  </a:lnTo>
                  <a:lnTo>
                    <a:pt x="3954" y="954"/>
                  </a:lnTo>
                  <a:lnTo>
                    <a:pt x="3954" y="960"/>
                  </a:lnTo>
                  <a:lnTo>
                    <a:pt x="3960" y="960"/>
                  </a:lnTo>
                  <a:lnTo>
                    <a:pt x="3960" y="966"/>
                  </a:lnTo>
                  <a:lnTo>
                    <a:pt x="3960" y="960"/>
                  </a:lnTo>
                  <a:lnTo>
                    <a:pt x="3960" y="966"/>
                  </a:lnTo>
                  <a:lnTo>
                    <a:pt x="3960" y="960"/>
                  </a:lnTo>
                  <a:lnTo>
                    <a:pt x="3954" y="954"/>
                  </a:lnTo>
                  <a:lnTo>
                    <a:pt x="3954" y="948"/>
                  </a:lnTo>
                  <a:lnTo>
                    <a:pt x="3954" y="942"/>
                  </a:lnTo>
                  <a:lnTo>
                    <a:pt x="3948" y="942"/>
                  </a:lnTo>
                  <a:lnTo>
                    <a:pt x="3954" y="942"/>
                  </a:lnTo>
                  <a:lnTo>
                    <a:pt x="3954" y="936"/>
                  </a:lnTo>
                  <a:lnTo>
                    <a:pt x="3948" y="936"/>
                  </a:lnTo>
                  <a:lnTo>
                    <a:pt x="3954" y="936"/>
                  </a:lnTo>
                  <a:lnTo>
                    <a:pt x="3954" y="930"/>
                  </a:lnTo>
                  <a:lnTo>
                    <a:pt x="3954" y="924"/>
                  </a:lnTo>
                  <a:lnTo>
                    <a:pt x="3960" y="924"/>
                  </a:lnTo>
                  <a:lnTo>
                    <a:pt x="3966" y="924"/>
                  </a:lnTo>
                  <a:lnTo>
                    <a:pt x="3966" y="930"/>
                  </a:lnTo>
                  <a:lnTo>
                    <a:pt x="3966" y="936"/>
                  </a:lnTo>
                  <a:lnTo>
                    <a:pt x="3972" y="936"/>
                  </a:lnTo>
                  <a:lnTo>
                    <a:pt x="3966" y="936"/>
                  </a:lnTo>
                  <a:lnTo>
                    <a:pt x="3972" y="936"/>
                  </a:lnTo>
                  <a:lnTo>
                    <a:pt x="3972" y="942"/>
                  </a:lnTo>
                  <a:lnTo>
                    <a:pt x="3978" y="942"/>
                  </a:lnTo>
                  <a:lnTo>
                    <a:pt x="3978" y="948"/>
                  </a:lnTo>
                  <a:lnTo>
                    <a:pt x="3984" y="948"/>
                  </a:lnTo>
                  <a:lnTo>
                    <a:pt x="3990" y="948"/>
                  </a:lnTo>
                  <a:lnTo>
                    <a:pt x="3990" y="954"/>
                  </a:lnTo>
                  <a:lnTo>
                    <a:pt x="3996" y="954"/>
                  </a:lnTo>
                  <a:lnTo>
                    <a:pt x="3990" y="954"/>
                  </a:lnTo>
                  <a:lnTo>
                    <a:pt x="3996" y="954"/>
                  </a:lnTo>
                  <a:lnTo>
                    <a:pt x="3996" y="960"/>
                  </a:lnTo>
                  <a:lnTo>
                    <a:pt x="3996" y="954"/>
                  </a:lnTo>
                  <a:lnTo>
                    <a:pt x="3996" y="960"/>
                  </a:lnTo>
                  <a:lnTo>
                    <a:pt x="4002" y="960"/>
                  </a:lnTo>
                  <a:lnTo>
                    <a:pt x="3996" y="960"/>
                  </a:lnTo>
                  <a:lnTo>
                    <a:pt x="4002" y="960"/>
                  </a:lnTo>
                  <a:lnTo>
                    <a:pt x="4002" y="966"/>
                  </a:lnTo>
                  <a:lnTo>
                    <a:pt x="4002" y="960"/>
                  </a:lnTo>
                  <a:lnTo>
                    <a:pt x="4002" y="954"/>
                  </a:lnTo>
                  <a:lnTo>
                    <a:pt x="3996" y="954"/>
                  </a:lnTo>
                  <a:lnTo>
                    <a:pt x="4002" y="954"/>
                  </a:lnTo>
                  <a:lnTo>
                    <a:pt x="3996" y="954"/>
                  </a:lnTo>
                  <a:lnTo>
                    <a:pt x="3996" y="948"/>
                  </a:lnTo>
                  <a:lnTo>
                    <a:pt x="4002" y="948"/>
                  </a:lnTo>
                  <a:lnTo>
                    <a:pt x="3996" y="948"/>
                  </a:lnTo>
                  <a:lnTo>
                    <a:pt x="4002" y="948"/>
                  </a:lnTo>
                  <a:lnTo>
                    <a:pt x="3996" y="948"/>
                  </a:lnTo>
                  <a:lnTo>
                    <a:pt x="3996" y="942"/>
                  </a:lnTo>
                  <a:lnTo>
                    <a:pt x="3996" y="936"/>
                  </a:lnTo>
                  <a:lnTo>
                    <a:pt x="4002" y="936"/>
                  </a:lnTo>
                  <a:lnTo>
                    <a:pt x="4002" y="942"/>
                  </a:lnTo>
                  <a:lnTo>
                    <a:pt x="4008" y="942"/>
                  </a:lnTo>
                  <a:lnTo>
                    <a:pt x="4002" y="942"/>
                  </a:lnTo>
                  <a:lnTo>
                    <a:pt x="4008" y="942"/>
                  </a:lnTo>
                  <a:lnTo>
                    <a:pt x="4008" y="948"/>
                  </a:lnTo>
                  <a:lnTo>
                    <a:pt x="4002" y="948"/>
                  </a:lnTo>
                  <a:lnTo>
                    <a:pt x="4008" y="948"/>
                  </a:lnTo>
                  <a:lnTo>
                    <a:pt x="4008" y="942"/>
                  </a:lnTo>
                  <a:lnTo>
                    <a:pt x="4008" y="948"/>
                  </a:lnTo>
                  <a:lnTo>
                    <a:pt x="4014" y="948"/>
                  </a:lnTo>
                  <a:lnTo>
                    <a:pt x="4008" y="948"/>
                  </a:lnTo>
                  <a:lnTo>
                    <a:pt x="4008" y="954"/>
                  </a:lnTo>
                  <a:lnTo>
                    <a:pt x="4008" y="948"/>
                  </a:lnTo>
                  <a:lnTo>
                    <a:pt x="4008" y="954"/>
                  </a:lnTo>
                  <a:lnTo>
                    <a:pt x="4008" y="960"/>
                  </a:lnTo>
                  <a:lnTo>
                    <a:pt x="4008" y="954"/>
                  </a:lnTo>
                  <a:lnTo>
                    <a:pt x="4008" y="960"/>
                  </a:lnTo>
                  <a:lnTo>
                    <a:pt x="4014" y="960"/>
                  </a:lnTo>
                  <a:lnTo>
                    <a:pt x="4008" y="960"/>
                  </a:lnTo>
                  <a:lnTo>
                    <a:pt x="4014" y="960"/>
                  </a:lnTo>
                  <a:lnTo>
                    <a:pt x="4014" y="954"/>
                  </a:lnTo>
                  <a:lnTo>
                    <a:pt x="4014" y="960"/>
                  </a:lnTo>
                  <a:lnTo>
                    <a:pt x="4014" y="966"/>
                  </a:lnTo>
                  <a:lnTo>
                    <a:pt x="4020" y="966"/>
                  </a:lnTo>
                  <a:lnTo>
                    <a:pt x="4014" y="966"/>
                  </a:lnTo>
                  <a:lnTo>
                    <a:pt x="4014" y="972"/>
                  </a:lnTo>
                  <a:lnTo>
                    <a:pt x="4014" y="978"/>
                  </a:lnTo>
                  <a:lnTo>
                    <a:pt x="4014" y="984"/>
                  </a:lnTo>
                  <a:lnTo>
                    <a:pt x="4008" y="984"/>
                  </a:lnTo>
                  <a:lnTo>
                    <a:pt x="4014" y="984"/>
                  </a:lnTo>
                  <a:lnTo>
                    <a:pt x="4008" y="984"/>
                  </a:lnTo>
                  <a:lnTo>
                    <a:pt x="4008" y="990"/>
                  </a:lnTo>
                  <a:lnTo>
                    <a:pt x="4014" y="984"/>
                  </a:lnTo>
                  <a:lnTo>
                    <a:pt x="4014" y="990"/>
                  </a:lnTo>
                  <a:lnTo>
                    <a:pt x="4008" y="990"/>
                  </a:lnTo>
                  <a:lnTo>
                    <a:pt x="4008" y="996"/>
                  </a:lnTo>
                  <a:lnTo>
                    <a:pt x="4008" y="1002"/>
                  </a:lnTo>
                  <a:lnTo>
                    <a:pt x="4014" y="1002"/>
                  </a:lnTo>
                  <a:lnTo>
                    <a:pt x="4008" y="1002"/>
                  </a:lnTo>
                  <a:lnTo>
                    <a:pt x="4014" y="1008"/>
                  </a:lnTo>
                  <a:lnTo>
                    <a:pt x="4014" y="1014"/>
                  </a:lnTo>
                  <a:lnTo>
                    <a:pt x="4008" y="1014"/>
                  </a:lnTo>
                  <a:lnTo>
                    <a:pt x="4008" y="1008"/>
                  </a:lnTo>
                  <a:lnTo>
                    <a:pt x="4008" y="1014"/>
                  </a:lnTo>
                  <a:lnTo>
                    <a:pt x="4008" y="1008"/>
                  </a:lnTo>
                  <a:lnTo>
                    <a:pt x="4014" y="1008"/>
                  </a:lnTo>
                  <a:lnTo>
                    <a:pt x="4008" y="1008"/>
                  </a:lnTo>
                  <a:lnTo>
                    <a:pt x="4008" y="1014"/>
                  </a:lnTo>
                  <a:lnTo>
                    <a:pt x="4008" y="1020"/>
                  </a:lnTo>
                  <a:lnTo>
                    <a:pt x="4014" y="1020"/>
                  </a:lnTo>
                  <a:lnTo>
                    <a:pt x="4014" y="1026"/>
                  </a:lnTo>
                  <a:lnTo>
                    <a:pt x="4008" y="1026"/>
                  </a:lnTo>
                  <a:lnTo>
                    <a:pt x="4002" y="1026"/>
                  </a:lnTo>
                  <a:lnTo>
                    <a:pt x="3996" y="1026"/>
                  </a:lnTo>
                  <a:lnTo>
                    <a:pt x="4002" y="1026"/>
                  </a:lnTo>
                  <a:lnTo>
                    <a:pt x="3996" y="1026"/>
                  </a:lnTo>
                  <a:lnTo>
                    <a:pt x="3996" y="1020"/>
                  </a:lnTo>
                  <a:lnTo>
                    <a:pt x="3990" y="1020"/>
                  </a:lnTo>
                  <a:lnTo>
                    <a:pt x="3990" y="1014"/>
                  </a:lnTo>
                  <a:lnTo>
                    <a:pt x="3984" y="1014"/>
                  </a:lnTo>
                  <a:lnTo>
                    <a:pt x="3984" y="1008"/>
                  </a:lnTo>
                  <a:lnTo>
                    <a:pt x="3984" y="1014"/>
                  </a:lnTo>
                  <a:lnTo>
                    <a:pt x="3990" y="1014"/>
                  </a:lnTo>
                  <a:lnTo>
                    <a:pt x="3990" y="1020"/>
                  </a:lnTo>
                  <a:lnTo>
                    <a:pt x="3996" y="1020"/>
                  </a:lnTo>
                  <a:lnTo>
                    <a:pt x="3996" y="1026"/>
                  </a:lnTo>
                  <a:lnTo>
                    <a:pt x="4002" y="1026"/>
                  </a:lnTo>
                  <a:lnTo>
                    <a:pt x="3996" y="1026"/>
                  </a:lnTo>
                  <a:lnTo>
                    <a:pt x="4002" y="1026"/>
                  </a:lnTo>
                  <a:lnTo>
                    <a:pt x="4002" y="1032"/>
                  </a:lnTo>
                  <a:lnTo>
                    <a:pt x="4008" y="1038"/>
                  </a:lnTo>
                  <a:lnTo>
                    <a:pt x="4008" y="1032"/>
                  </a:lnTo>
                  <a:lnTo>
                    <a:pt x="4014" y="1032"/>
                  </a:lnTo>
                  <a:lnTo>
                    <a:pt x="4014" y="1038"/>
                  </a:lnTo>
                  <a:lnTo>
                    <a:pt x="4014" y="1032"/>
                  </a:lnTo>
                  <a:lnTo>
                    <a:pt x="4008" y="1032"/>
                  </a:lnTo>
                  <a:lnTo>
                    <a:pt x="4008" y="1038"/>
                  </a:lnTo>
                  <a:lnTo>
                    <a:pt x="4014" y="1032"/>
                  </a:lnTo>
                  <a:lnTo>
                    <a:pt x="4008" y="1032"/>
                  </a:lnTo>
                  <a:lnTo>
                    <a:pt x="4014" y="1032"/>
                  </a:lnTo>
                  <a:lnTo>
                    <a:pt x="4014" y="1038"/>
                  </a:lnTo>
                  <a:lnTo>
                    <a:pt x="4008" y="1038"/>
                  </a:lnTo>
                  <a:lnTo>
                    <a:pt x="4014" y="1038"/>
                  </a:lnTo>
                  <a:lnTo>
                    <a:pt x="4008" y="1038"/>
                  </a:lnTo>
                  <a:lnTo>
                    <a:pt x="4014" y="1038"/>
                  </a:lnTo>
                  <a:lnTo>
                    <a:pt x="4014" y="1032"/>
                  </a:lnTo>
                  <a:lnTo>
                    <a:pt x="4014" y="1038"/>
                  </a:lnTo>
                  <a:lnTo>
                    <a:pt x="4020" y="1038"/>
                  </a:lnTo>
                  <a:lnTo>
                    <a:pt x="4014" y="1038"/>
                  </a:lnTo>
                  <a:lnTo>
                    <a:pt x="4020" y="1038"/>
                  </a:lnTo>
                  <a:lnTo>
                    <a:pt x="4020" y="1032"/>
                  </a:lnTo>
                  <a:lnTo>
                    <a:pt x="4026" y="1032"/>
                  </a:lnTo>
                  <a:lnTo>
                    <a:pt x="4026" y="1038"/>
                  </a:lnTo>
                  <a:lnTo>
                    <a:pt x="4026" y="1032"/>
                  </a:lnTo>
                  <a:lnTo>
                    <a:pt x="4026" y="1038"/>
                  </a:lnTo>
                  <a:lnTo>
                    <a:pt x="4032" y="1038"/>
                  </a:lnTo>
                  <a:lnTo>
                    <a:pt x="4032" y="1044"/>
                  </a:lnTo>
                  <a:lnTo>
                    <a:pt x="4032" y="1038"/>
                  </a:lnTo>
                  <a:lnTo>
                    <a:pt x="4032" y="1044"/>
                  </a:lnTo>
                  <a:lnTo>
                    <a:pt x="4038" y="1044"/>
                  </a:lnTo>
                  <a:lnTo>
                    <a:pt x="4032" y="1044"/>
                  </a:lnTo>
                  <a:lnTo>
                    <a:pt x="4032" y="1050"/>
                  </a:lnTo>
                  <a:lnTo>
                    <a:pt x="4038" y="1050"/>
                  </a:lnTo>
                  <a:lnTo>
                    <a:pt x="4038" y="1056"/>
                  </a:lnTo>
                  <a:lnTo>
                    <a:pt x="4038" y="1050"/>
                  </a:lnTo>
                  <a:lnTo>
                    <a:pt x="4044" y="1050"/>
                  </a:lnTo>
                  <a:lnTo>
                    <a:pt x="4044" y="1056"/>
                  </a:lnTo>
                  <a:lnTo>
                    <a:pt x="4044" y="1062"/>
                  </a:lnTo>
                  <a:lnTo>
                    <a:pt x="4050" y="1062"/>
                  </a:lnTo>
                  <a:lnTo>
                    <a:pt x="4044" y="1062"/>
                  </a:lnTo>
                  <a:lnTo>
                    <a:pt x="4050" y="1062"/>
                  </a:lnTo>
                  <a:lnTo>
                    <a:pt x="4044" y="1062"/>
                  </a:lnTo>
                  <a:lnTo>
                    <a:pt x="4044" y="1056"/>
                  </a:lnTo>
                  <a:lnTo>
                    <a:pt x="4050" y="1056"/>
                  </a:lnTo>
                  <a:lnTo>
                    <a:pt x="4044" y="1056"/>
                  </a:lnTo>
                  <a:lnTo>
                    <a:pt x="4050" y="1056"/>
                  </a:lnTo>
                  <a:lnTo>
                    <a:pt x="4050" y="1062"/>
                  </a:lnTo>
                  <a:lnTo>
                    <a:pt x="4056" y="1062"/>
                  </a:lnTo>
                  <a:lnTo>
                    <a:pt x="4050" y="1062"/>
                  </a:lnTo>
                  <a:lnTo>
                    <a:pt x="4056" y="1068"/>
                  </a:lnTo>
                  <a:lnTo>
                    <a:pt x="4050" y="1068"/>
                  </a:lnTo>
                  <a:lnTo>
                    <a:pt x="4056" y="1068"/>
                  </a:lnTo>
                  <a:lnTo>
                    <a:pt x="4056" y="1074"/>
                  </a:lnTo>
                  <a:lnTo>
                    <a:pt x="4056" y="1068"/>
                  </a:lnTo>
                  <a:lnTo>
                    <a:pt x="4062" y="1068"/>
                  </a:lnTo>
                  <a:lnTo>
                    <a:pt x="4062" y="1074"/>
                  </a:lnTo>
                  <a:lnTo>
                    <a:pt x="4062" y="1068"/>
                  </a:lnTo>
                  <a:lnTo>
                    <a:pt x="4062" y="1074"/>
                  </a:lnTo>
                  <a:lnTo>
                    <a:pt x="4062" y="1068"/>
                  </a:lnTo>
                  <a:lnTo>
                    <a:pt x="4068" y="1068"/>
                  </a:lnTo>
                  <a:lnTo>
                    <a:pt x="4062" y="1068"/>
                  </a:lnTo>
                  <a:lnTo>
                    <a:pt x="4068" y="1068"/>
                  </a:lnTo>
                  <a:lnTo>
                    <a:pt x="4068" y="1074"/>
                  </a:lnTo>
                  <a:lnTo>
                    <a:pt x="4074" y="1074"/>
                  </a:lnTo>
                  <a:lnTo>
                    <a:pt x="4074" y="1068"/>
                  </a:lnTo>
                  <a:lnTo>
                    <a:pt x="4068" y="1068"/>
                  </a:lnTo>
                  <a:lnTo>
                    <a:pt x="4068" y="1062"/>
                  </a:lnTo>
                  <a:lnTo>
                    <a:pt x="4074" y="1062"/>
                  </a:lnTo>
                  <a:lnTo>
                    <a:pt x="4074" y="1068"/>
                  </a:lnTo>
                  <a:lnTo>
                    <a:pt x="4080" y="1068"/>
                  </a:lnTo>
                  <a:lnTo>
                    <a:pt x="4080" y="1062"/>
                  </a:lnTo>
                  <a:lnTo>
                    <a:pt x="4080" y="1068"/>
                  </a:lnTo>
                  <a:lnTo>
                    <a:pt x="4080" y="1074"/>
                  </a:lnTo>
                  <a:lnTo>
                    <a:pt x="4086" y="1080"/>
                  </a:lnTo>
                  <a:lnTo>
                    <a:pt x="4080" y="1080"/>
                  </a:lnTo>
                  <a:lnTo>
                    <a:pt x="4086" y="1080"/>
                  </a:lnTo>
                  <a:lnTo>
                    <a:pt x="4086" y="1074"/>
                  </a:lnTo>
                  <a:lnTo>
                    <a:pt x="4086" y="1080"/>
                  </a:lnTo>
                  <a:lnTo>
                    <a:pt x="4092" y="1080"/>
                  </a:lnTo>
                  <a:lnTo>
                    <a:pt x="4092" y="1086"/>
                  </a:lnTo>
                  <a:lnTo>
                    <a:pt x="4092" y="1092"/>
                  </a:lnTo>
                  <a:lnTo>
                    <a:pt x="4092" y="1098"/>
                  </a:lnTo>
                  <a:lnTo>
                    <a:pt x="4098" y="1098"/>
                  </a:lnTo>
                  <a:lnTo>
                    <a:pt x="4098" y="1104"/>
                  </a:lnTo>
                  <a:lnTo>
                    <a:pt x="4098" y="1110"/>
                  </a:lnTo>
                  <a:lnTo>
                    <a:pt x="4104" y="1110"/>
                  </a:lnTo>
                  <a:lnTo>
                    <a:pt x="4098" y="1110"/>
                  </a:lnTo>
                  <a:lnTo>
                    <a:pt x="4104" y="1110"/>
                  </a:lnTo>
                  <a:lnTo>
                    <a:pt x="4104" y="1116"/>
                  </a:lnTo>
                  <a:lnTo>
                    <a:pt x="4110" y="1116"/>
                  </a:lnTo>
                  <a:lnTo>
                    <a:pt x="4104" y="1116"/>
                  </a:lnTo>
                  <a:lnTo>
                    <a:pt x="4110" y="1116"/>
                  </a:lnTo>
                  <a:lnTo>
                    <a:pt x="4116" y="1116"/>
                  </a:lnTo>
                  <a:lnTo>
                    <a:pt x="4116" y="1122"/>
                  </a:lnTo>
                  <a:lnTo>
                    <a:pt x="4122" y="1122"/>
                  </a:lnTo>
                  <a:lnTo>
                    <a:pt x="4128" y="1128"/>
                  </a:lnTo>
                  <a:lnTo>
                    <a:pt x="4128" y="1134"/>
                  </a:lnTo>
                  <a:lnTo>
                    <a:pt x="4122" y="1134"/>
                  </a:lnTo>
                  <a:lnTo>
                    <a:pt x="4128" y="1134"/>
                  </a:lnTo>
                  <a:lnTo>
                    <a:pt x="4128" y="1140"/>
                  </a:lnTo>
                  <a:lnTo>
                    <a:pt x="4128" y="1146"/>
                  </a:lnTo>
                  <a:lnTo>
                    <a:pt x="4134" y="1146"/>
                  </a:lnTo>
                  <a:lnTo>
                    <a:pt x="4134" y="1152"/>
                  </a:lnTo>
                  <a:lnTo>
                    <a:pt x="4140" y="1158"/>
                  </a:lnTo>
                  <a:lnTo>
                    <a:pt x="4146" y="1158"/>
                  </a:lnTo>
                  <a:lnTo>
                    <a:pt x="4152" y="1158"/>
                  </a:lnTo>
                  <a:lnTo>
                    <a:pt x="4152" y="1164"/>
                  </a:lnTo>
                  <a:lnTo>
                    <a:pt x="4158" y="1164"/>
                  </a:lnTo>
                  <a:lnTo>
                    <a:pt x="4152" y="1164"/>
                  </a:lnTo>
                  <a:lnTo>
                    <a:pt x="4158" y="1164"/>
                  </a:lnTo>
                  <a:lnTo>
                    <a:pt x="4158" y="1170"/>
                  </a:lnTo>
                  <a:lnTo>
                    <a:pt x="4152" y="1170"/>
                  </a:lnTo>
                  <a:lnTo>
                    <a:pt x="4152" y="1176"/>
                  </a:lnTo>
                  <a:lnTo>
                    <a:pt x="4146" y="1176"/>
                  </a:lnTo>
                  <a:lnTo>
                    <a:pt x="4152" y="1176"/>
                  </a:lnTo>
                  <a:lnTo>
                    <a:pt x="4158" y="1176"/>
                  </a:lnTo>
                  <a:lnTo>
                    <a:pt x="4158" y="1170"/>
                  </a:lnTo>
                  <a:lnTo>
                    <a:pt x="4158" y="1176"/>
                  </a:lnTo>
                  <a:lnTo>
                    <a:pt x="4158" y="1170"/>
                  </a:lnTo>
                  <a:lnTo>
                    <a:pt x="4158" y="1176"/>
                  </a:lnTo>
                  <a:lnTo>
                    <a:pt x="4152" y="1176"/>
                  </a:lnTo>
                  <a:lnTo>
                    <a:pt x="4158" y="1176"/>
                  </a:lnTo>
                  <a:lnTo>
                    <a:pt x="4152" y="1176"/>
                  </a:lnTo>
                  <a:lnTo>
                    <a:pt x="4152" y="1182"/>
                  </a:lnTo>
                  <a:lnTo>
                    <a:pt x="4152" y="1188"/>
                  </a:lnTo>
                  <a:lnTo>
                    <a:pt x="4152" y="1194"/>
                  </a:lnTo>
                  <a:lnTo>
                    <a:pt x="4152" y="1200"/>
                  </a:lnTo>
                  <a:lnTo>
                    <a:pt x="4158" y="1200"/>
                  </a:lnTo>
                  <a:lnTo>
                    <a:pt x="4158" y="1206"/>
                  </a:lnTo>
                  <a:lnTo>
                    <a:pt x="4164" y="1206"/>
                  </a:lnTo>
                  <a:lnTo>
                    <a:pt x="4158" y="1206"/>
                  </a:lnTo>
                  <a:lnTo>
                    <a:pt x="4158" y="1212"/>
                  </a:lnTo>
                  <a:lnTo>
                    <a:pt x="4158" y="1206"/>
                  </a:lnTo>
                  <a:lnTo>
                    <a:pt x="4158" y="1212"/>
                  </a:lnTo>
                  <a:lnTo>
                    <a:pt x="4158" y="1218"/>
                  </a:lnTo>
                  <a:lnTo>
                    <a:pt x="4158" y="1212"/>
                  </a:lnTo>
                  <a:lnTo>
                    <a:pt x="4158" y="1218"/>
                  </a:lnTo>
                  <a:lnTo>
                    <a:pt x="4158" y="1212"/>
                  </a:lnTo>
                  <a:lnTo>
                    <a:pt x="4164" y="1212"/>
                  </a:lnTo>
                  <a:lnTo>
                    <a:pt x="4158" y="1212"/>
                  </a:lnTo>
                  <a:lnTo>
                    <a:pt x="4158" y="1206"/>
                  </a:lnTo>
                  <a:lnTo>
                    <a:pt x="4164" y="1206"/>
                  </a:lnTo>
                  <a:lnTo>
                    <a:pt x="4164" y="1212"/>
                  </a:lnTo>
                  <a:lnTo>
                    <a:pt x="4164" y="1206"/>
                  </a:lnTo>
                  <a:lnTo>
                    <a:pt x="4164" y="1200"/>
                  </a:lnTo>
                  <a:lnTo>
                    <a:pt x="4164" y="1206"/>
                  </a:lnTo>
                  <a:lnTo>
                    <a:pt x="4164" y="1212"/>
                  </a:lnTo>
                  <a:lnTo>
                    <a:pt x="4170" y="1212"/>
                  </a:lnTo>
                  <a:lnTo>
                    <a:pt x="4170" y="1218"/>
                  </a:lnTo>
                  <a:lnTo>
                    <a:pt x="4164" y="1224"/>
                  </a:lnTo>
                  <a:lnTo>
                    <a:pt x="4164" y="1230"/>
                  </a:lnTo>
                  <a:lnTo>
                    <a:pt x="4164" y="1236"/>
                  </a:lnTo>
                  <a:lnTo>
                    <a:pt x="4158" y="1236"/>
                  </a:lnTo>
                  <a:lnTo>
                    <a:pt x="4158" y="1242"/>
                  </a:lnTo>
                  <a:lnTo>
                    <a:pt x="4164" y="1242"/>
                  </a:lnTo>
                  <a:lnTo>
                    <a:pt x="4158" y="1242"/>
                  </a:lnTo>
                  <a:lnTo>
                    <a:pt x="4158" y="1248"/>
                  </a:lnTo>
                  <a:lnTo>
                    <a:pt x="4158" y="1242"/>
                  </a:lnTo>
                  <a:lnTo>
                    <a:pt x="4158" y="1248"/>
                  </a:lnTo>
                  <a:lnTo>
                    <a:pt x="4164" y="1248"/>
                  </a:lnTo>
                  <a:lnTo>
                    <a:pt x="4158" y="1248"/>
                  </a:lnTo>
                  <a:lnTo>
                    <a:pt x="4164" y="1248"/>
                  </a:lnTo>
                  <a:lnTo>
                    <a:pt x="4164" y="1242"/>
                  </a:lnTo>
                  <a:lnTo>
                    <a:pt x="4164" y="1248"/>
                  </a:lnTo>
                  <a:lnTo>
                    <a:pt x="4164" y="1254"/>
                  </a:lnTo>
                  <a:lnTo>
                    <a:pt x="4164" y="1260"/>
                  </a:lnTo>
                  <a:lnTo>
                    <a:pt x="4164" y="1266"/>
                  </a:lnTo>
                  <a:lnTo>
                    <a:pt x="4158" y="1266"/>
                  </a:lnTo>
                  <a:lnTo>
                    <a:pt x="4164" y="1266"/>
                  </a:lnTo>
                  <a:lnTo>
                    <a:pt x="4164" y="1272"/>
                  </a:lnTo>
                  <a:lnTo>
                    <a:pt x="4164" y="1266"/>
                  </a:lnTo>
                  <a:lnTo>
                    <a:pt x="4164" y="1272"/>
                  </a:lnTo>
                  <a:lnTo>
                    <a:pt x="4164" y="1278"/>
                  </a:lnTo>
                  <a:lnTo>
                    <a:pt x="4158" y="1278"/>
                  </a:lnTo>
                  <a:lnTo>
                    <a:pt x="4158" y="1284"/>
                  </a:lnTo>
                  <a:lnTo>
                    <a:pt x="4152" y="1290"/>
                  </a:lnTo>
                  <a:lnTo>
                    <a:pt x="4158" y="1290"/>
                  </a:lnTo>
                  <a:lnTo>
                    <a:pt x="4152" y="1290"/>
                  </a:lnTo>
                  <a:lnTo>
                    <a:pt x="4158" y="1290"/>
                  </a:lnTo>
                  <a:lnTo>
                    <a:pt x="4158" y="1296"/>
                  </a:lnTo>
                  <a:lnTo>
                    <a:pt x="4158" y="1290"/>
                  </a:lnTo>
                  <a:lnTo>
                    <a:pt x="4158" y="1296"/>
                  </a:lnTo>
                  <a:lnTo>
                    <a:pt x="4158" y="1302"/>
                  </a:lnTo>
                  <a:lnTo>
                    <a:pt x="4152" y="1302"/>
                  </a:lnTo>
                  <a:lnTo>
                    <a:pt x="4152" y="1308"/>
                  </a:lnTo>
                  <a:lnTo>
                    <a:pt x="4158" y="1308"/>
                  </a:lnTo>
                  <a:lnTo>
                    <a:pt x="4158" y="1314"/>
                  </a:lnTo>
                  <a:lnTo>
                    <a:pt x="4158" y="1308"/>
                  </a:lnTo>
                  <a:lnTo>
                    <a:pt x="4152" y="1314"/>
                  </a:lnTo>
                  <a:lnTo>
                    <a:pt x="4152" y="1308"/>
                  </a:lnTo>
                  <a:lnTo>
                    <a:pt x="4152" y="1314"/>
                  </a:lnTo>
                  <a:lnTo>
                    <a:pt x="4158" y="1320"/>
                  </a:lnTo>
                  <a:lnTo>
                    <a:pt x="4158" y="1326"/>
                  </a:lnTo>
                  <a:lnTo>
                    <a:pt x="4164" y="1326"/>
                  </a:lnTo>
                  <a:lnTo>
                    <a:pt x="4164" y="1332"/>
                  </a:lnTo>
                  <a:lnTo>
                    <a:pt x="4170" y="1332"/>
                  </a:lnTo>
                  <a:lnTo>
                    <a:pt x="4170" y="1338"/>
                  </a:lnTo>
                  <a:lnTo>
                    <a:pt x="4170" y="1344"/>
                  </a:lnTo>
                  <a:lnTo>
                    <a:pt x="4170" y="1350"/>
                  </a:lnTo>
                  <a:lnTo>
                    <a:pt x="4176" y="1350"/>
                  </a:lnTo>
                  <a:lnTo>
                    <a:pt x="4170" y="1350"/>
                  </a:lnTo>
                  <a:lnTo>
                    <a:pt x="4170" y="1356"/>
                  </a:lnTo>
                  <a:lnTo>
                    <a:pt x="4176" y="1356"/>
                  </a:lnTo>
                  <a:lnTo>
                    <a:pt x="4170" y="1356"/>
                  </a:lnTo>
                  <a:lnTo>
                    <a:pt x="4170" y="1362"/>
                  </a:lnTo>
                  <a:lnTo>
                    <a:pt x="4170" y="1356"/>
                  </a:lnTo>
                  <a:lnTo>
                    <a:pt x="4176" y="1356"/>
                  </a:lnTo>
                  <a:lnTo>
                    <a:pt x="4170" y="1356"/>
                  </a:lnTo>
                  <a:lnTo>
                    <a:pt x="4176" y="1356"/>
                  </a:lnTo>
                  <a:lnTo>
                    <a:pt x="4176" y="1362"/>
                  </a:lnTo>
                  <a:lnTo>
                    <a:pt x="4176" y="1368"/>
                  </a:lnTo>
                  <a:lnTo>
                    <a:pt x="4176" y="1362"/>
                  </a:lnTo>
                  <a:lnTo>
                    <a:pt x="4176" y="1368"/>
                  </a:lnTo>
                  <a:lnTo>
                    <a:pt x="4176" y="1374"/>
                  </a:lnTo>
                  <a:lnTo>
                    <a:pt x="4182" y="1380"/>
                  </a:lnTo>
                  <a:lnTo>
                    <a:pt x="4176" y="1380"/>
                  </a:lnTo>
                  <a:lnTo>
                    <a:pt x="4182" y="1380"/>
                  </a:lnTo>
                  <a:lnTo>
                    <a:pt x="4176" y="1380"/>
                  </a:lnTo>
                  <a:lnTo>
                    <a:pt x="4182" y="1380"/>
                  </a:lnTo>
                  <a:lnTo>
                    <a:pt x="4182" y="1386"/>
                  </a:lnTo>
                  <a:lnTo>
                    <a:pt x="4176" y="1386"/>
                  </a:lnTo>
                  <a:lnTo>
                    <a:pt x="4182" y="1386"/>
                  </a:lnTo>
                  <a:lnTo>
                    <a:pt x="4182" y="1380"/>
                  </a:lnTo>
                  <a:lnTo>
                    <a:pt x="4182" y="1386"/>
                  </a:lnTo>
                  <a:lnTo>
                    <a:pt x="4176" y="1386"/>
                  </a:lnTo>
                  <a:lnTo>
                    <a:pt x="4182" y="1386"/>
                  </a:lnTo>
                  <a:lnTo>
                    <a:pt x="4182" y="1380"/>
                  </a:lnTo>
                  <a:lnTo>
                    <a:pt x="4182" y="1386"/>
                  </a:lnTo>
                  <a:lnTo>
                    <a:pt x="4188" y="1386"/>
                  </a:lnTo>
                  <a:lnTo>
                    <a:pt x="4182" y="1386"/>
                  </a:lnTo>
                  <a:lnTo>
                    <a:pt x="4182" y="1392"/>
                  </a:lnTo>
                  <a:lnTo>
                    <a:pt x="4182" y="1398"/>
                  </a:lnTo>
                  <a:lnTo>
                    <a:pt x="4182" y="1404"/>
                  </a:lnTo>
                  <a:lnTo>
                    <a:pt x="4182" y="1410"/>
                  </a:lnTo>
                  <a:lnTo>
                    <a:pt x="4182" y="1404"/>
                  </a:lnTo>
                  <a:lnTo>
                    <a:pt x="4176" y="1404"/>
                  </a:lnTo>
                  <a:lnTo>
                    <a:pt x="4176" y="1410"/>
                  </a:lnTo>
                  <a:lnTo>
                    <a:pt x="4182" y="1410"/>
                  </a:lnTo>
                  <a:lnTo>
                    <a:pt x="4182" y="1416"/>
                  </a:lnTo>
                  <a:lnTo>
                    <a:pt x="4188" y="1416"/>
                  </a:lnTo>
                  <a:lnTo>
                    <a:pt x="4182" y="1416"/>
                  </a:lnTo>
                  <a:lnTo>
                    <a:pt x="4182" y="1422"/>
                  </a:lnTo>
                  <a:lnTo>
                    <a:pt x="4182" y="1428"/>
                  </a:lnTo>
                  <a:lnTo>
                    <a:pt x="4182" y="1434"/>
                  </a:lnTo>
                  <a:lnTo>
                    <a:pt x="4182" y="1428"/>
                  </a:lnTo>
                  <a:lnTo>
                    <a:pt x="4182" y="1434"/>
                  </a:lnTo>
                  <a:lnTo>
                    <a:pt x="4176" y="1434"/>
                  </a:lnTo>
                  <a:lnTo>
                    <a:pt x="4182" y="1434"/>
                  </a:lnTo>
                  <a:lnTo>
                    <a:pt x="4176" y="1434"/>
                  </a:lnTo>
                  <a:lnTo>
                    <a:pt x="4176" y="1440"/>
                  </a:lnTo>
                  <a:lnTo>
                    <a:pt x="4170" y="1440"/>
                  </a:lnTo>
                  <a:lnTo>
                    <a:pt x="4170" y="1446"/>
                  </a:lnTo>
                  <a:lnTo>
                    <a:pt x="4170" y="1452"/>
                  </a:lnTo>
                  <a:lnTo>
                    <a:pt x="4164" y="1452"/>
                  </a:lnTo>
                  <a:lnTo>
                    <a:pt x="4170" y="1452"/>
                  </a:lnTo>
                  <a:lnTo>
                    <a:pt x="4170" y="1458"/>
                  </a:lnTo>
                  <a:lnTo>
                    <a:pt x="4164" y="1458"/>
                  </a:lnTo>
                  <a:lnTo>
                    <a:pt x="4170" y="1452"/>
                  </a:lnTo>
                  <a:lnTo>
                    <a:pt x="4164" y="1458"/>
                  </a:lnTo>
                  <a:lnTo>
                    <a:pt x="4164" y="1464"/>
                  </a:lnTo>
                  <a:lnTo>
                    <a:pt x="4158" y="1464"/>
                  </a:lnTo>
                  <a:lnTo>
                    <a:pt x="4158" y="1470"/>
                  </a:lnTo>
                  <a:lnTo>
                    <a:pt x="4164" y="1470"/>
                  </a:lnTo>
                  <a:lnTo>
                    <a:pt x="4158" y="1470"/>
                  </a:lnTo>
                  <a:lnTo>
                    <a:pt x="4158" y="1476"/>
                  </a:lnTo>
                  <a:lnTo>
                    <a:pt x="4158" y="1470"/>
                  </a:lnTo>
                  <a:lnTo>
                    <a:pt x="4152" y="1470"/>
                  </a:lnTo>
                  <a:lnTo>
                    <a:pt x="4152" y="1476"/>
                  </a:lnTo>
                  <a:lnTo>
                    <a:pt x="4152" y="1470"/>
                  </a:lnTo>
                  <a:lnTo>
                    <a:pt x="4158" y="1470"/>
                  </a:lnTo>
                  <a:lnTo>
                    <a:pt x="4158" y="1476"/>
                  </a:lnTo>
                  <a:lnTo>
                    <a:pt x="4152" y="1476"/>
                  </a:lnTo>
                  <a:lnTo>
                    <a:pt x="4158" y="1476"/>
                  </a:lnTo>
                  <a:lnTo>
                    <a:pt x="4158" y="1482"/>
                  </a:lnTo>
                  <a:lnTo>
                    <a:pt x="4158" y="1488"/>
                  </a:lnTo>
                  <a:lnTo>
                    <a:pt x="4152" y="1494"/>
                  </a:lnTo>
                  <a:lnTo>
                    <a:pt x="4158" y="1494"/>
                  </a:lnTo>
                  <a:lnTo>
                    <a:pt x="4152" y="1494"/>
                  </a:lnTo>
                  <a:lnTo>
                    <a:pt x="4152" y="1500"/>
                  </a:lnTo>
                  <a:lnTo>
                    <a:pt x="4152" y="1506"/>
                  </a:lnTo>
                  <a:lnTo>
                    <a:pt x="4152" y="1512"/>
                  </a:lnTo>
                  <a:lnTo>
                    <a:pt x="4146" y="1506"/>
                  </a:lnTo>
                  <a:lnTo>
                    <a:pt x="4146" y="1512"/>
                  </a:lnTo>
                  <a:lnTo>
                    <a:pt x="4152" y="1512"/>
                  </a:lnTo>
                  <a:lnTo>
                    <a:pt x="4146" y="1512"/>
                  </a:lnTo>
                  <a:lnTo>
                    <a:pt x="4146" y="1518"/>
                  </a:lnTo>
                  <a:lnTo>
                    <a:pt x="4140" y="1518"/>
                  </a:lnTo>
                  <a:lnTo>
                    <a:pt x="4140" y="1524"/>
                  </a:lnTo>
                  <a:lnTo>
                    <a:pt x="4146" y="1524"/>
                  </a:lnTo>
                  <a:lnTo>
                    <a:pt x="4140" y="1524"/>
                  </a:lnTo>
                  <a:lnTo>
                    <a:pt x="4146" y="1524"/>
                  </a:lnTo>
                  <a:lnTo>
                    <a:pt x="4140" y="1524"/>
                  </a:lnTo>
                  <a:lnTo>
                    <a:pt x="4140" y="1530"/>
                  </a:lnTo>
                  <a:lnTo>
                    <a:pt x="4140" y="1536"/>
                  </a:lnTo>
                  <a:lnTo>
                    <a:pt x="4134" y="1536"/>
                  </a:lnTo>
                  <a:lnTo>
                    <a:pt x="4140" y="1536"/>
                  </a:lnTo>
                  <a:lnTo>
                    <a:pt x="4140" y="1542"/>
                  </a:lnTo>
                  <a:lnTo>
                    <a:pt x="4134" y="1542"/>
                  </a:lnTo>
                  <a:lnTo>
                    <a:pt x="4140" y="1542"/>
                  </a:lnTo>
                  <a:lnTo>
                    <a:pt x="4134" y="1542"/>
                  </a:lnTo>
                  <a:lnTo>
                    <a:pt x="4134" y="1548"/>
                  </a:lnTo>
                  <a:lnTo>
                    <a:pt x="4128" y="1548"/>
                  </a:lnTo>
                  <a:lnTo>
                    <a:pt x="4128" y="1554"/>
                  </a:lnTo>
                  <a:lnTo>
                    <a:pt x="4128" y="1560"/>
                  </a:lnTo>
                  <a:lnTo>
                    <a:pt x="4122" y="1560"/>
                  </a:lnTo>
                  <a:lnTo>
                    <a:pt x="4128" y="1566"/>
                  </a:lnTo>
                  <a:lnTo>
                    <a:pt x="4122" y="1566"/>
                  </a:lnTo>
                  <a:lnTo>
                    <a:pt x="4122" y="1572"/>
                  </a:lnTo>
                  <a:lnTo>
                    <a:pt x="4122" y="1566"/>
                  </a:lnTo>
                  <a:lnTo>
                    <a:pt x="4122" y="1572"/>
                  </a:lnTo>
                  <a:lnTo>
                    <a:pt x="4122" y="1566"/>
                  </a:lnTo>
                  <a:lnTo>
                    <a:pt x="4122" y="1572"/>
                  </a:lnTo>
                  <a:lnTo>
                    <a:pt x="4122" y="1578"/>
                  </a:lnTo>
                  <a:lnTo>
                    <a:pt x="4122" y="1584"/>
                  </a:lnTo>
                  <a:lnTo>
                    <a:pt x="4128" y="1584"/>
                  </a:lnTo>
                  <a:lnTo>
                    <a:pt x="4128" y="1590"/>
                  </a:lnTo>
                  <a:lnTo>
                    <a:pt x="4122" y="1590"/>
                  </a:lnTo>
                  <a:lnTo>
                    <a:pt x="4122" y="1596"/>
                  </a:lnTo>
                  <a:lnTo>
                    <a:pt x="4128" y="1596"/>
                  </a:lnTo>
                  <a:lnTo>
                    <a:pt x="4122" y="1596"/>
                  </a:lnTo>
                  <a:lnTo>
                    <a:pt x="4122" y="1602"/>
                  </a:lnTo>
                  <a:lnTo>
                    <a:pt x="4116" y="1608"/>
                  </a:lnTo>
                  <a:lnTo>
                    <a:pt x="4116" y="1614"/>
                  </a:lnTo>
                  <a:lnTo>
                    <a:pt x="4116" y="1620"/>
                  </a:lnTo>
                  <a:lnTo>
                    <a:pt x="4110" y="1620"/>
                  </a:lnTo>
                  <a:lnTo>
                    <a:pt x="4110" y="1626"/>
                  </a:lnTo>
                  <a:lnTo>
                    <a:pt x="4110" y="1632"/>
                  </a:lnTo>
                  <a:lnTo>
                    <a:pt x="4104" y="1638"/>
                  </a:lnTo>
                  <a:lnTo>
                    <a:pt x="4104" y="1644"/>
                  </a:lnTo>
                  <a:lnTo>
                    <a:pt x="4098" y="1644"/>
                  </a:lnTo>
                  <a:lnTo>
                    <a:pt x="4098" y="1650"/>
                  </a:lnTo>
                  <a:lnTo>
                    <a:pt x="4098" y="1656"/>
                  </a:lnTo>
                  <a:lnTo>
                    <a:pt x="4092" y="1656"/>
                  </a:lnTo>
                  <a:lnTo>
                    <a:pt x="4098" y="1656"/>
                  </a:lnTo>
                  <a:lnTo>
                    <a:pt x="4092" y="1656"/>
                  </a:lnTo>
                  <a:lnTo>
                    <a:pt x="4092" y="1662"/>
                  </a:lnTo>
                  <a:lnTo>
                    <a:pt x="4086" y="1662"/>
                  </a:lnTo>
                  <a:lnTo>
                    <a:pt x="4086" y="1668"/>
                  </a:lnTo>
                  <a:lnTo>
                    <a:pt x="4080" y="1668"/>
                  </a:lnTo>
                  <a:lnTo>
                    <a:pt x="4080" y="1674"/>
                  </a:lnTo>
                  <a:lnTo>
                    <a:pt x="4074" y="1674"/>
                  </a:lnTo>
                  <a:lnTo>
                    <a:pt x="4074" y="1680"/>
                  </a:lnTo>
                  <a:lnTo>
                    <a:pt x="4074" y="1686"/>
                  </a:lnTo>
                  <a:lnTo>
                    <a:pt x="4074" y="1680"/>
                  </a:lnTo>
                  <a:lnTo>
                    <a:pt x="4074" y="1686"/>
                  </a:lnTo>
                  <a:lnTo>
                    <a:pt x="4068" y="1686"/>
                  </a:lnTo>
                  <a:lnTo>
                    <a:pt x="4062" y="1686"/>
                  </a:lnTo>
                  <a:lnTo>
                    <a:pt x="4068" y="1686"/>
                  </a:lnTo>
                  <a:lnTo>
                    <a:pt x="4068" y="1692"/>
                  </a:lnTo>
                  <a:lnTo>
                    <a:pt x="4068" y="1686"/>
                  </a:lnTo>
                  <a:lnTo>
                    <a:pt x="4074" y="1686"/>
                  </a:lnTo>
                  <a:lnTo>
                    <a:pt x="4068" y="1686"/>
                  </a:lnTo>
                  <a:lnTo>
                    <a:pt x="4074" y="1686"/>
                  </a:lnTo>
                  <a:lnTo>
                    <a:pt x="4068" y="1686"/>
                  </a:lnTo>
                  <a:lnTo>
                    <a:pt x="4068" y="1692"/>
                  </a:lnTo>
                  <a:lnTo>
                    <a:pt x="4074" y="1692"/>
                  </a:lnTo>
                  <a:lnTo>
                    <a:pt x="4074" y="1698"/>
                  </a:lnTo>
                  <a:lnTo>
                    <a:pt x="4074" y="1692"/>
                  </a:lnTo>
                  <a:lnTo>
                    <a:pt x="4074" y="1698"/>
                  </a:lnTo>
                  <a:lnTo>
                    <a:pt x="4074" y="1692"/>
                  </a:lnTo>
                  <a:lnTo>
                    <a:pt x="4074" y="1686"/>
                  </a:lnTo>
                  <a:lnTo>
                    <a:pt x="4074" y="1680"/>
                  </a:lnTo>
                  <a:lnTo>
                    <a:pt x="4074" y="1686"/>
                  </a:lnTo>
                  <a:lnTo>
                    <a:pt x="4080" y="1686"/>
                  </a:lnTo>
                  <a:lnTo>
                    <a:pt x="4074" y="1686"/>
                  </a:lnTo>
                  <a:lnTo>
                    <a:pt x="4074" y="1692"/>
                  </a:lnTo>
                  <a:lnTo>
                    <a:pt x="4074" y="1698"/>
                  </a:lnTo>
                  <a:lnTo>
                    <a:pt x="4074" y="1704"/>
                  </a:lnTo>
                  <a:lnTo>
                    <a:pt x="4068" y="1704"/>
                  </a:lnTo>
                  <a:lnTo>
                    <a:pt x="4062" y="1704"/>
                  </a:lnTo>
                  <a:lnTo>
                    <a:pt x="4062" y="1710"/>
                  </a:lnTo>
                  <a:lnTo>
                    <a:pt x="4056" y="1710"/>
                  </a:lnTo>
                  <a:lnTo>
                    <a:pt x="4056" y="1716"/>
                  </a:lnTo>
                  <a:lnTo>
                    <a:pt x="4050" y="1716"/>
                  </a:lnTo>
                  <a:lnTo>
                    <a:pt x="4044" y="1722"/>
                  </a:lnTo>
                  <a:lnTo>
                    <a:pt x="4050" y="1722"/>
                  </a:lnTo>
                  <a:lnTo>
                    <a:pt x="4044" y="1722"/>
                  </a:lnTo>
                  <a:lnTo>
                    <a:pt x="4044" y="1716"/>
                  </a:lnTo>
                  <a:lnTo>
                    <a:pt x="4050" y="1716"/>
                  </a:lnTo>
                  <a:lnTo>
                    <a:pt x="4044" y="1716"/>
                  </a:lnTo>
                  <a:lnTo>
                    <a:pt x="4044" y="1722"/>
                  </a:lnTo>
                  <a:lnTo>
                    <a:pt x="4044" y="1716"/>
                  </a:lnTo>
                  <a:lnTo>
                    <a:pt x="4044" y="1722"/>
                  </a:lnTo>
                  <a:lnTo>
                    <a:pt x="4038" y="1722"/>
                  </a:lnTo>
                  <a:lnTo>
                    <a:pt x="4038" y="1716"/>
                  </a:lnTo>
                  <a:lnTo>
                    <a:pt x="4038" y="1722"/>
                  </a:lnTo>
                  <a:lnTo>
                    <a:pt x="4032" y="1722"/>
                  </a:lnTo>
                  <a:lnTo>
                    <a:pt x="4032" y="1716"/>
                  </a:lnTo>
                  <a:lnTo>
                    <a:pt x="4032" y="1710"/>
                  </a:lnTo>
                  <a:lnTo>
                    <a:pt x="4032" y="1716"/>
                  </a:lnTo>
                  <a:lnTo>
                    <a:pt x="4032" y="1722"/>
                  </a:lnTo>
                  <a:lnTo>
                    <a:pt x="4026" y="1722"/>
                  </a:lnTo>
                  <a:lnTo>
                    <a:pt x="4026" y="1728"/>
                  </a:lnTo>
                  <a:lnTo>
                    <a:pt x="4032" y="1722"/>
                  </a:lnTo>
                  <a:lnTo>
                    <a:pt x="4038" y="1722"/>
                  </a:lnTo>
                  <a:lnTo>
                    <a:pt x="4038" y="1728"/>
                  </a:lnTo>
                  <a:lnTo>
                    <a:pt x="4032" y="1728"/>
                  </a:lnTo>
                  <a:lnTo>
                    <a:pt x="4026" y="1728"/>
                  </a:lnTo>
                  <a:lnTo>
                    <a:pt x="4032" y="1728"/>
                  </a:lnTo>
                  <a:lnTo>
                    <a:pt x="4038" y="1728"/>
                  </a:lnTo>
                  <a:lnTo>
                    <a:pt x="4032" y="1728"/>
                  </a:lnTo>
                  <a:lnTo>
                    <a:pt x="4038" y="1728"/>
                  </a:lnTo>
                  <a:lnTo>
                    <a:pt x="4038" y="1722"/>
                  </a:lnTo>
                  <a:lnTo>
                    <a:pt x="4038" y="1728"/>
                  </a:lnTo>
                  <a:lnTo>
                    <a:pt x="4038" y="1722"/>
                  </a:lnTo>
                  <a:lnTo>
                    <a:pt x="4044" y="1722"/>
                  </a:lnTo>
                  <a:lnTo>
                    <a:pt x="4044" y="1728"/>
                  </a:lnTo>
                  <a:lnTo>
                    <a:pt x="4038" y="1728"/>
                  </a:lnTo>
                  <a:lnTo>
                    <a:pt x="4044" y="1728"/>
                  </a:lnTo>
                  <a:lnTo>
                    <a:pt x="4038" y="1728"/>
                  </a:lnTo>
                  <a:lnTo>
                    <a:pt x="4032" y="1728"/>
                  </a:lnTo>
                  <a:lnTo>
                    <a:pt x="4026" y="1728"/>
                  </a:lnTo>
                  <a:lnTo>
                    <a:pt x="4026" y="1734"/>
                  </a:lnTo>
                  <a:lnTo>
                    <a:pt x="4020" y="1734"/>
                  </a:lnTo>
                  <a:lnTo>
                    <a:pt x="4014" y="1734"/>
                  </a:lnTo>
                  <a:lnTo>
                    <a:pt x="4014" y="1740"/>
                  </a:lnTo>
                  <a:lnTo>
                    <a:pt x="4008" y="1740"/>
                  </a:lnTo>
                  <a:lnTo>
                    <a:pt x="4008" y="1746"/>
                  </a:lnTo>
                  <a:lnTo>
                    <a:pt x="4014" y="1746"/>
                  </a:lnTo>
                  <a:lnTo>
                    <a:pt x="4008" y="1746"/>
                  </a:lnTo>
                  <a:lnTo>
                    <a:pt x="4008" y="1752"/>
                  </a:lnTo>
                  <a:lnTo>
                    <a:pt x="4002" y="1752"/>
                  </a:lnTo>
                  <a:lnTo>
                    <a:pt x="4002" y="1746"/>
                  </a:lnTo>
                  <a:lnTo>
                    <a:pt x="4008" y="1746"/>
                  </a:lnTo>
                  <a:lnTo>
                    <a:pt x="4002" y="1746"/>
                  </a:lnTo>
                  <a:lnTo>
                    <a:pt x="4002" y="1740"/>
                  </a:lnTo>
                  <a:lnTo>
                    <a:pt x="4002" y="1746"/>
                  </a:lnTo>
                  <a:lnTo>
                    <a:pt x="4002" y="1752"/>
                  </a:lnTo>
                  <a:lnTo>
                    <a:pt x="4002" y="1746"/>
                  </a:lnTo>
                  <a:lnTo>
                    <a:pt x="4002" y="1752"/>
                  </a:lnTo>
                  <a:lnTo>
                    <a:pt x="3996" y="1752"/>
                  </a:lnTo>
                  <a:lnTo>
                    <a:pt x="3996" y="1758"/>
                  </a:lnTo>
                  <a:lnTo>
                    <a:pt x="3996" y="1752"/>
                  </a:lnTo>
                  <a:lnTo>
                    <a:pt x="4002" y="1752"/>
                  </a:lnTo>
                  <a:lnTo>
                    <a:pt x="3996" y="1752"/>
                  </a:lnTo>
                  <a:lnTo>
                    <a:pt x="4002" y="1752"/>
                  </a:lnTo>
                  <a:lnTo>
                    <a:pt x="4002" y="1758"/>
                  </a:lnTo>
                  <a:lnTo>
                    <a:pt x="4002" y="1752"/>
                  </a:lnTo>
                  <a:lnTo>
                    <a:pt x="4008" y="1752"/>
                  </a:lnTo>
                  <a:lnTo>
                    <a:pt x="4002" y="1752"/>
                  </a:lnTo>
                  <a:lnTo>
                    <a:pt x="4002" y="1758"/>
                  </a:lnTo>
                  <a:lnTo>
                    <a:pt x="3996" y="1764"/>
                  </a:lnTo>
                  <a:lnTo>
                    <a:pt x="3996" y="1770"/>
                  </a:lnTo>
                  <a:lnTo>
                    <a:pt x="3990" y="1770"/>
                  </a:lnTo>
                  <a:lnTo>
                    <a:pt x="3996" y="1770"/>
                  </a:lnTo>
                  <a:lnTo>
                    <a:pt x="3996" y="1764"/>
                  </a:lnTo>
                  <a:lnTo>
                    <a:pt x="3996" y="1758"/>
                  </a:lnTo>
                  <a:lnTo>
                    <a:pt x="3996" y="1764"/>
                  </a:lnTo>
                  <a:lnTo>
                    <a:pt x="3990" y="1764"/>
                  </a:lnTo>
                  <a:lnTo>
                    <a:pt x="3996" y="1764"/>
                  </a:lnTo>
                  <a:lnTo>
                    <a:pt x="3990" y="1764"/>
                  </a:lnTo>
                  <a:lnTo>
                    <a:pt x="3990" y="1770"/>
                  </a:lnTo>
                  <a:lnTo>
                    <a:pt x="3990" y="1764"/>
                  </a:lnTo>
                  <a:lnTo>
                    <a:pt x="3990" y="1770"/>
                  </a:lnTo>
                  <a:lnTo>
                    <a:pt x="3984" y="1770"/>
                  </a:lnTo>
                  <a:lnTo>
                    <a:pt x="3990" y="1770"/>
                  </a:lnTo>
                  <a:lnTo>
                    <a:pt x="3990" y="1776"/>
                  </a:lnTo>
                  <a:lnTo>
                    <a:pt x="3984" y="1776"/>
                  </a:lnTo>
                  <a:lnTo>
                    <a:pt x="3984" y="1782"/>
                  </a:lnTo>
                  <a:lnTo>
                    <a:pt x="3978" y="1788"/>
                  </a:lnTo>
                  <a:lnTo>
                    <a:pt x="3978" y="1782"/>
                  </a:lnTo>
                  <a:lnTo>
                    <a:pt x="3978" y="1788"/>
                  </a:lnTo>
                  <a:lnTo>
                    <a:pt x="3978" y="1782"/>
                  </a:lnTo>
                  <a:lnTo>
                    <a:pt x="3984" y="1782"/>
                  </a:lnTo>
                  <a:lnTo>
                    <a:pt x="3978" y="1782"/>
                  </a:lnTo>
                  <a:lnTo>
                    <a:pt x="3984" y="1782"/>
                  </a:lnTo>
                  <a:lnTo>
                    <a:pt x="3978" y="1782"/>
                  </a:lnTo>
                  <a:lnTo>
                    <a:pt x="3978" y="1776"/>
                  </a:lnTo>
                  <a:lnTo>
                    <a:pt x="3978" y="1782"/>
                  </a:lnTo>
                  <a:lnTo>
                    <a:pt x="3978" y="1788"/>
                  </a:lnTo>
                  <a:lnTo>
                    <a:pt x="3972" y="1788"/>
                  </a:lnTo>
                  <a:lnTo>
                    <a:pt x="3972" y="1782"/>
                  </a:lnTo>
                  <a:lnTo>
                    <a:pt x="3972" y="1788"/>
                  </a:lnTo>
                  <a:lnTo>
                    <a:pt x="3972" y="1782"/>
                  </a:lnTo>
                  <a:lnTo>
                    <a:pt x="3966" y="1782"/>
                  </a:lnTo>
                  <a:lnTo>
                    <a:pt x="3972" y="1782"/>
                  </a:lnTo>
                  <a:lnTo>
                    <a:pt x="3972" y="1776"/>
                  </a:lnTo>
                  <a:lnTo>
                    <a:pt x="3972" y="1782"/>
                  </a:lnTo>
                  <a:lnTo>
                    <a:pt x="3966" y="1782"/>
                  </a:lnTo>
                  <a:lnTo>
                    <a:pt x="3966" y="1788"/>
                  </a:lnTo>
                  <a:lnTo>
                    <a:pt x="3966" y="1782"/>
                  </a:lnTo>
                  <a:lnTo>
                    <a:pt x="3966" y="1776"/>
                  </a:lnTo>
                  <a:lnTo>
                    <a:pt x="3966" y="1782"/>
                  </a:lnTo>
                  <a:lnTo>
                    <a:pt x="3960" y="1782"/>
                  </a:lnTo>
                  <a:lnTo>
                    <a:pt x="3960" y="1776"/>
                  </a:lnTo>
                  <a:lnTo>
                    <a:pt x="3960" y="1782"/>
                  </a:lnTo>
                  <a:lnTo>
                    <a:pt x="3960" y="1776"/>
                  </a:lnTo>
                  <a:lnTo>
                    <a:pt x="3954" y="1776"/>
                  </a:lnTo>
                  <a:lnTo>
                    <a:pt x="3948" y="1776"/>
                  </a:lnTo>
                  <a:lnTo>
                    <a:pt x="3942" y="1782"/>
                  </a:lnTo>
                  <a:lnTo>
                    <a:pt x="3948" y="1782"/>
                  </a:lnTo>
                  <a:lnTo>
                    <a:pt x="3948" y="1776"/>
                  </a:lnTo>
                  <a:lnTo>
                    <a:pt x="3954" y="1776"/>
                  </a:lnTo>
                  <a:lnTo>
                    <a:pt x="3960" y="1776"/>
                  </a:lnTo>
                  <a:lnTo>
                    <a:pt x="3960" y="1782"/>
                  </a:lnTo>
                  <a:lnTo>
                    <a:pt x="3960" y="1776"/>
                  </a:lnTo>
                  <a:lnTo>
                    <a:pt x="3960" y="1782"/>
                  </a:lnTo>
                  <a:lnTo>
                    <a:pt x="3966" y="1782"/>
                  </a:lnTo>
                  <a:lnTo>
                    <a:pt x="3960" y="1782"/>
                  </a:lnTo>
                  <a:lnTo>
                    <a:pt x="3966" y="1782"/>
                  </a:lnTo>
                  <a:lnTo>
                    <a:pt x="3966" y="1788"/>
                  </a:lnTo>
                  <a:lnTo>
                    <a:pt x="3960" y="1788"/>
                  </a:lnTo>
                  <a:lnTo>
                    <a:pt x="3966" y="1788"/>
                  </a:lnTo>
                  <a:lnTo>
                    <a:pt x="3960" y="1788"/>
                  </a:lnTo>
                  <a:lnTo>
                    <a:pt x="3960" y="1794"/>
                  </a:lnTo>
                  <a:lnTo>
                    <a:pt x="3960" y="1788"/>
                  </a:lnTo>
                  <a:lnTo>
                    <a:pt x="3966" y="1788"/>
                  </a:lnTo>
                  <a:lnTo>
                    <a:pt x="3966" y="1782"/>
                  </a:lnTo>
                  <a:lnTo>
                    <a:pt x="3966" y="1788"/>
                  </a:lnTo>
                  <a:lnTo>
                    <a:pt x="3972" y="1788"/>
                  </a:lnTo>
                  <a:lnTo>
                    <a:pt x="3966" y="1788"/>
                  </a:lnTo>
                  <a:lnTo>
                    <a:pt x="3972" y="1788"/>
                  </a:lnTo>
                  <a:lnTo>
                    <a:pt x="3966" y="1788"/>
                  </a:lnTo>
                  <a:lnTo>
                    <a:pt x="3966" y="1794"/>
                  </a:lnTo>
                  <a:lnTo>
                    <a:pt x="3960" y="1794"/>
                  </a:lnTo>
                  <a:lnTo>
                    <a:pt x="3966" y="1794"/>
                  </a:lnTo>
                  <a:lnTo>
                    <a:pt x="3972" y="1794"/>
                  </a:lnTo>
                  <a:lnTo>
                    <a:pt x="3966" y="1794"/>
                  </a:lnTo>
                  <a:lnTo>
                    <a:pt x="3966" y="1788"/>
                  </a:lnTo>
                  <a:lnTo>
                    <a:pt x="3972" y="1788"/>
                  </a:lnTo>
                  <a:lnTo>
                    <a:pt x="3978" y="1788"/>
                  </a:lnTo>
                  <a:lnTo>
                    <a:pt x="3972" y="1788"/>
                  </a:lnTo>
                  <a:lnTo>
                    <a:pt x="3972" y="1794"/>
                  </a:lnTo>
                  <a:lnTo>
                    <a:pt x="3978" y="1794"/>
                  </a:lnTo>
                  <a:lnTo>
                    <a:pt x="3978" y="1788"/>
                  </a:lnTo>
                  <a:lnTo>
                    <a:pt x="3978" y="1794"/>
                  </a:lnTo>
                  <a:lnTo>
                    <a:pt x="3972" y="1794"/>
                  </a:lnTo>
                  <a:lnTo>
                    <a:pt x="3978" y="1794"/>
                  </a:lnTo>
                  <a:lnTo>
                    <a:pt x="3972" y="1794"/>
                  </a:lnTo>
                  <a:lnTo>
                    <a:pt x="3972" y="1800"/>
                  </a:lnTo>
                  <a:lnTo>
                    <a:pt x="3972" y="1806"/>
                  </a:lnTo>
                  <a:lnTo>
                    <a:pt x="3966" y="1806"/>
                  </a:lnTo>
                  <a:lnTo>
                    <a:pt x="3972" y="1806"/>
                  </a:lnTo>
                  <a:lnTo>
                    <a:pt x="3966" y="1806"/>
                  </a:lnTo>
                  <a:lnTo>
                    <a:pt x="3966" y="1812"/>
                  </a:lnTo>
                  <a:lnTo>
                    <a:pt x="3966" y="1806"/>
                  </a:lnTo>
                  <a:lnTo>
                    <a:pt x="3966" y="1812"/>
                  </a:lnTo>
                  <a:lnTo>
                    <a:pt x="3966" y="1806"/>
                  </a:lnTo>
                  <a:lnTo>
                    <a:pt x="3966" y="1812"/>
                  </a:lnTo>
                  <a:lnTo>
                    <a:pt x="3966" y="1806"/>
                  </a:lnTo>
                  <a:lnTo>
                    <a:pt x="3960" y="1806"/>
                  </a:lnTo>
                  <a:lnTo>
                    <a:pt x="3966" y="1806"/>
                  </a:lnTo>
                  <a:lnTo>
                    <a:pt x="3960" y="1806"/>
                  </a:lnTo>
                  <a:lnTo>
                    <a:pt x="3954" y="1806"/>
                  </a:lnTo>
                  <a:lnTo>
                    <a:pt x="3960" y="1806"/>
                  </a:lnTo>
                  <a:lnTo>
                    <a:pt x="3954" y="1806"/>
                  </a:lnTo>
                  <a:lnTo>
                    <a:pt x="3960" y="1806"/>
                  </a:lnTo>
                  <a:lnTo>
                    <a:pt x="3960" y="1812"/>
                  </a:lnTo>
                  <a:lnTo>
                    <a:pt x="3960" y="1806"/>
                  </a:lnTo>
                  <a:lnTo>
                    <a:pt x="3960" y="1812"/>
                  </a:lnTo>
                  <a:lnTo>
                    <a:pt x="3960" y="1806"/>
                  </a:lnTo>
                  <a:lnTo>
                    <a:pt x="3960" y="1812"/>
                  </a:lnTo>
                  <a:lnTo>
                    <a:pt x="3960" y="1806"/>
                  </a:lnTo>
                  <a:lnTo>
                    <a:pt x="3960" y="1812"/>
                  </a:lnTo>
                  <a:lnTo>
                    <a:pt x="3966" y="1812"/>
                  </a:lnTo>
                  <a:lnTo>
                    <a:pt x="3966" y="1806"/>
                  </a:lnTo>
                  <a:lnTo>
                    <a:pt x="3966" y="1812"/>
                  </a:lnTo>
                  <a:lnTo>
                    <a:pt x="3960" y="1812"/>
                  </a:lnTo>
                  <a:lnTo>
                    <a:pt x="3966" y="1812"/>
                  </a:lnTo>
                  <a:lnTo>
                    <a:pt x="3972" y="1812"/>
                  </a:lnTo>
                  <a:lnTo>
                    <a:pt x="3972" y="1806"/>
                  </a:lnTo>
                  <a:lnTo>
                    <a:pt x="3972" y="1812"/>
                  </a:lnTo>
                  <a:lnTo>
                    <a:pt x="3966" y="1812"/>
                  </a:lnTo>
                  <a:lnTo>
                    <a:pt x="3966" y="1818"/>
                  </a:lnTo>
                  <a:lnTo>
                    <a:pt x="3960" y="1818"/>
                  </a:lnTo>
                  <a:lnTo>
                    <a:pt x="3954" y="1818"/>
                  </a:lnTo>
                  <a:lnTo>
                    <a:pt x="3948" y="1818"/>
                  </a:lnTo>
                  <a:lnTo>
                    <a:pt x="3954" y="1818"/>
                  </a:lnTo>
                  <a:lnTo>
                    <a:pt x="3954" y="1824"/>
                  </a:lnTo>
                  <a:lnTo>
                    <a:pt x="3954" y="1818"/>
                  </a:lnTo>
                  <a:lnTo>
                    <a:pt x="3954" y="1824"/>
                  </a:lnTo>
                  <a:lnTo>
                    <a:pt x="3954" y="1818"/>
                  </a:lnTo>
                  <a:lnTo>
                    <a:pt x="3960" y="1818"/>
                  </a:lnTo>
                  <a:lnTo>
                    <a:pt x="3960" y="1824"/>
                  </a:lnTo>
                  <a:lnTo>
                    <a:pt x="3954" y="1824"/>
                  </a:lnTo>
                  <a:lnTo>
                    <a:pt x="3960" y="1824"/>
                  </a:lnTo>
                  <a:lnTo>
                    <a:pt x="3960" y="1818"/>
                  </a:lnTo>
                  <a:lnTo>
                    <a:pt x="3960" y="1824"/>
                  </a:lnTo>
                  <a:lnTo>
                    <a:pt x="3960" y="1818"/>
                  </a:lnTo>
                  <a:lnTo>
                    <a:pt x="3960" y="1824"/>
                  </a:lnTo>
                  <a:lnTo>
                    <a:pt x="3966" y="1824"/>
                  </a:lnTo>
                  <a:lnTo>
                    <a:pt x="3960" y="1818"/>
                  </a:lnTo>
                  <a:lnTo>
                    <a:pt x="3966" y="1818"/>
                  </a:lnTo>
                  <a:lnTo>
                    <a:pt x="3966" y="1824"/>
                  </a:lnTo>
                  <a:lnTo>
                    <a:pt x="3960" y="1824"/>
                  </a:lnTo>
                  <a:lnTo>
                    <a:pt x="3954" y="1824"/>
                  </a:lnTo>
                  <a:lnTo>
                    <a:pt x="3960" y="1824"/>
                  </a:lnTo>
                  <a:lnTo>
                    <a:pt x="3960" y="1830"/>
                  </a:lnTo>
                  <a:lnTo>
                    <a:pt x="3954" y="1830"/>
                  </a:lnTo>
                  <a:lnTo>
                    <a:pt x="3954" y="1836"/>
                  </a:lnTo>
                  <a:lnTo>
                    <a:pt x="3948" y="1836"/>
                  </a:lnTo>
                  <a:lnTo>
                    <a:pt x="3942" y="1842"/>
                  </a:lnTo>
                  <a:lnTo>
                    <a:pt x="3942" y="1848"/>
                  </a:lnTo>
                  <a:lnTo>
                    <a:pt x="3936" y="1848"/>
                  </a:lnTo>
                  <a:lnTo>
                    <a:pt x="3936" y="1854"/>
                  </a:lnTo>
                  <a:lnTo>
                    <a:pt x="3936" y="1860"/>
                  </a:lnTo>
                  <a:lnTo>
                    <a:pt x="3936" y="1854"/>
                  </a:lnTo>
                  <a:lnTo>
                    <a:pt x="3930" y="1854"/>
                  </a:lnTo>
                  <a:lnTo>
                    <a:pt x="3930" y="1860"/>
                  </a:lnTo>
                  <a:lnTo>
                    <a:pt x="3936" y="1860"/>
                  </a:lnTo>
                  <a:lnTo>
                    <a:pt x="3936" y="1866"/>
                  </a:lnTo>
                  <a:lnTo>
                    <a:pt x="3936" y="1872"/>
                  </a:lnTo>
                  <a:lnTo>
                    <a:pt x="3930" y="1872"/>
                  </a:lnTo>
                  <a:lnTo>
                    <a:pt x="3936" y="1872"/>
                  </a:lnTo>
                  <a:lnTo>
                    <a:pt x="3930" y="1872"/>
                  </a:lnTo>
                  <a:lnTo>
                    <a:pt x="3930" y="1878"/>
                  </a:lnTo>
                  <a:lnTo>
                    <a:pt x="3924" y="1878"/>
                  </a:lnTo>
                  <a:lnTo>
                    <a:pt x="3924" y="1884"/>
                  </a:lnTo>
                  <a:lnTo>
                    <a:pt x="3924" y="1890"/>
                  </a:lnTo>
                  <a:lnTo>
                    <a:pt x="3924" y="1884"/>
                  </a:lnTo>
                  <a:lnTo>
                    <a:pt x="3924" y="1890"/>
                  </a:lnTo>
                  <a:lnTo>
                    <a:pt x="3918" y="1890"/>
                  </a:lnTo>
                  <a:lnTo>
                    <a:pt x="3918" y="1884"/>
                  </a:lnTo>
                  <a:lnTo>
                    <a:pt x="3924" y="1884"/>
                  </a:lnTo>
                  <a:lnTo>
                    <a:pt x="3918" y="1884"/>
                  </a:lnTo>
                  <a:lnTo>
                    <a:pt x="3924" y="1884"/>
                  </a:lnTo>
                  <a:lnTo>
                    <a:pt x="3918" y="1884"/>
                  </a:lnTo>
                  <a:lnTo>
                    <a:pt x="3912" y="1884"/>
                  </a:lnTo>
                  <a:lnTo>
                    <a:pt x="3918" y="1884"/>
                  </a:lnTo>
                  <a:lnTo>
                    <a:pt x="3918" y="1890"/>
                  </a:lnTo>
                  <a:lnTo>
                    <a:pt x="3924" y="1890"/>
                  </a:lnTo>
                  <a:lnTo>
                    <a:pt x="3918" y="1890"/>
                  </a:lnTo>
                  <a:lnTo>
                    <a:pt x="3924" y="1890"/>
                  </a:lnTo>
                  <a:lnTo>
                    <a:pt x="3924" y="1896"/>
                  </a:lnTo>
                  <a:lnTo>
                    <a:pt x="3930" y="1896"/>
                  </a:lnTo>
                  <a:lnTo>
                    <a:pt x="3930" y="1902"/>
                  </a:lnTo>
                  <a:lnTo>
                    <a:pt x="3924" y="1902"/>
                  </a:lnTo>
                  <a:lnTo>
                    <a:pt x="3924" y="1896"/>
                  </a:lnTo>
                  <a:lnTo>
                    <a:pt x="3918" y="1896"/>
                  </a:lnTo>
                  <a:lnTo>
                    <a:pt x="3918" y="1902"/>
                  </a:lnTo>
                  <a:lnTo>
                    <a:pt x="3918" y="1908"/>
                  </a:lnTo>
                  <a:lnTo>
                    <a:pt x="3924" y="1908"/>
                  </a:lnTo>
                  <a:lnTo>
                    <a:pt x="3918" y="1908"/>
                  </a:lnTo>
                  <a:lnTo>
                    <a:pt x="3912" y="1908"/>
                  </a:lnTo>
                  <a:lnTo>
                    <a:pt x="3906" y="1908"/>
                  </a:lnTo>
                  <a:lnTo>
                    <a:pt x="3906" y="1914"/>
                  </a:lnTo>
                  <a:lnTo>
                    <a:pt x="3900" y="1914"/>
                  </a:lnTo>
                  <a:lnTo>
                    <a:pt x="3900" y="1920"/>
                  </a:lnTo>
                  <a:lnTo>
                    <a:pt x="3900" y="1926"/>
                  </a:lnTo>
                  <a:lnTo>
                    <a:pt x="3894" y="1926"/>
                  </a:lnTo>
                  <a:lnTo>
                    <a:pt x="3894" y="1920"/>
                  </a:lnTo>
                  <a:lnTo>
                    <a:pt x="3894" y="1926"/>
                  </a:lnTo>
                  <a:lnTo>
                    <a:pt x="3894" y="1932"/>
                  </a:lnTo>
                  <a:lnTo>
                    <a:pt x="3888" y="1932"/>
                  </a:lnTo>
                  <a:lnTo>
                    <a:pt x="3894" y="1932"/>
                  </a:lnTo>
                  <a:lnTo>
                    <a:pt x="3888" y="1932"/>
                  </a:lnTo>
                  <a:lnTo>
                    <a:pt x="3894" y="1932"/>
                  </a:lnTo>
                  <a:lnTo>
                    <a:pt x="3894" y="1938"/>
                  </a:lnTo>
                  <a:lnTo>
                    <a:pt x="3888" y="1938"/>
                  </a:lnTo>
                  <a:lnTo>
                    <a:pt x="3888" y="1944"/>
                  </a:lnTo>
                  <a:lnTo>
                    <a:pt x="3882" y="1944"/>
                  </a:lnTo>
                  <a:lnTo>
                    <a:pt x="3882" y="1950"/>
                  </a:lnTo>
                  <a:lnTo>
                    <a:pt x="3876" y="1950"/>
                  </a:lnTo>
                  <a:lnTo>
                    <a:pt x="3870" y="1950"/>
                  </a:lnTo>
                  <a:lnTo>
                    <a:pt x="3870" y="1944"/>
                  </a:lnTo>
                  <a:lnTo>
                    <a:pt x="3876" y="1944"/>
                  </a:lnTo>
                  <a:lnTo>
                    <a:pt x="3870" y="1944"/>
                  </a:lnTo>
                  <a:lnTo>
                    <a:pt x="3876" y="1944"/>
                  </a:lnTo>
                  <a:lnTo>
                    <a:pt x="3876" y="1938"/>
                  </a:lnTo>
                  <a:lnTo>
                    <a:pt x="3870" y="1938"/>
                  </a:lnTo>
                  <a:lnTo>
                    <a:pt x="3876" y="1944"/>
                  </a:lnTo>
                  <a:lnTo>
                    <a:pt x="3870" y="1944"/>
                  </a:lnTo>
                  <a:lnTo>
                    <a:pt x="3876" y="1944"/>
                  </a:lnTo>
                  <a:lnTo>
                    <a:pt x="3870" y="1944"/>
                  </a:lnTo>
                  <a:lnTo>
                    <a:pt x="3870" y="1950"/>
                  </a:lnTo>
                  <a:lnTo>
                    <a:pt x="3876" y="1950"/>
                  </a:lnTo>
                  <a:lnTo>
                    <a:pt x="3876" y="1956"/>
                  </a:lnTo>
                  <a:lnTo>
                    <a:pt x="3876" y="1962"/>
                  </a:lnTo>
                  <a:lnTo>
                    <a:pt x="3876" y="1956"/>
                  </a:lnTo>
                  <a:lnTo>
                    <a:pt x="3876" y="1962"/>
                  </a:lnTo>
                  <a:lnTo>
                    <a:pt x="3876" y="1956"/>
                  </a:lnTo>
                  <a:lnTo>
                    <a:pt x="3870" y="1956"/>
                  </a:lnTo>
                  <a:lnTo>
                    <a:pt x="3876" y="1956"/>
                  </a:lnTo>
                  <a:lnTo>
                    <a:pt x="3876" y="1962"/>
                  </a:lnTo>
                  <a:lnTo>
                    <a:pt x="3870" y="1962"/>
                  </a:lnTo>
                  <a:lnTo>
                    <a:pt x="3864" y="1962"/>
                  </a:lnTo>
                  <a:lnTo>
                    <a:pt x="3870" y="1962"/>
                  </a:lnTo>
                  <a:lnTo>
                    <a:pt x="3870" y="1968"/>
                  </a:lnTo>
                  <a:lnTo>
                    <a:pt x="3870" y="1962"/>
                  </a:lnTo>
                  <a:lnTo>
                    <a:pt x="3870" y="1968"/>
                  </a:lnTo>
                  <a:lnTo>
                    <a:pt x="3870" y="1974"/>
                  </a:lnTo>
                  <a:lnTo>
                    <a:pt x="3864" y="1974"/>
                  </a:lnTo>
                  <a:lnTo>
                    <a:pt x="3864" y="1980"/>
                  </a:lnTo>
                  <a:lnTo>
                    <a:pt x="3864" y="1974"/>
                  </a:lnTo>
                  <a:lnTo>
                    <a:pt x="3870" y="1980"/>
                  </a:lnTo>
                  <a:lnTo>
                    <a:pt x="3870" y="1974"/>
                  </a:lnTo>
                  <a:lnTo>
                    <a:pt x="3870" y="1980"/>
                  </a:lnTo>
                  <a:lnTo>
                    <a:pt x="3864" y="1980"/>
                  </a:lnTo>
                  <a:lnTo>
                    <a:pt x="3864" y="1986"/>
                  </a:lnTo>
                  <a:lnTo>
                    <a:pt x="3870" y="1986"/>
                  </a:lnTo>
                  <a:lnTo>
                    <a:pt x="3870" y="1992"/>
                  </a:lnTo>
                  <a:lnTo>
                    <a:pt x="3864" y="1992"/>
                  </a:lnTo>
                  <a:lnTo>
                    <a:pt x="3864" y="1998"/>
                  </a:lnTo>
                  <a:lnTo>
                    <a:pt x="3864" y="1992"/>
                  </a:lnTo>
                  <a:lnTo>
                    <a:pt x="3864" y="1998"/>
                  </a:lnTo>
                  <a:lnTo>
                    <a:pt x="3858" y="1998"/>
                  </a:lnTo>
                  <a:lnTo>
                    <a:pt x="3858" y="2004"/>
                  </a:lnTo>
                  <a:lnTo>
                    <a:pt x="3858" y="1998"/>
                  </a:lnTo>
                  <a:lnTo>
                    <a:pt x="3864" y="1998"/>
                  </a:lnTo>
                  <a:lnTo>
                    <a:pt x="3858" y="1998"/>
                  </a:lnTo>
                  <a:lnTo>
                    <a:pt x="3858" y="2004"/>
                  </a:lnTo>
                  <a:lnTo>
                    <a:pt x="3858" y="2010"/>
                  </a:lnTo>
                  <a:lnTo>
                    <a:pt x="3858" y="2016"/>
                  </a:lnTo>
                  <a:lnTo>
                    <a:pt x="3852" y="2016"/>
                  </a:lnTo>
                  <a:lnTo>
                    <a:pt x="3852" y="2022"/>
                  </a:lnTo>
                  <a:lnTo>
                    <a:pt x="3846" y="2022"/>
                  </a:lnTo>
                  <a:lnTo>
                    <a:pt x="3852" y="2022"/>
                  </a:lnTo>
                  <a:lnTo>
                    <a:pt x="3852" y="2028"/>
                  </a:lnTo>
                  <a:lnTo>
                    <a:pt x="3852" y="2022"/>
                  </a:lnTo>
                  <a:lnTo>
                    <a:pt x="3852" y="2028"/>
                  </a:lnTo>
                  <a:lnTo>
                    <a:pt x="3846" y="2028"/>
                  </a:lnTo>
                  <a:lnTo>
                    <a:pt x="3846" y="2034"/>
                  </a:lnTo>
                  <a:lnTo>
                    <a:pt x="3846" y="2040"/>
                  </a:lnTo>
                  <a:lnTo>
                    <a:pt x="3840" y="2040"/>
                  </a:lnTo>
                  <a:lnTo>
                    <a:pt x="3846" y="2040"/>
                  </a:lnTo>
                  <a:lnTo>
                    <a:pt x="3840" y="2040"/>
                  </a:lnTo>
                  <a:lnTo>
                    <a:pt x="3840" y="2046"/>
                  </a:lnTo>
                  <a:lnTo>
                    <a:pt x="3846" y="2046"/>
                  </a:lnTo>
                  <a:lnTo>
                    <a:pt x="3840" y="2046"/>
                  </a:lnTo>
                  <a:lnTo>
                    <a:pt x="3846" y="2046"/>
                  </a:lnTo>
                  <a:lnTo>
                    <a:pt x="3846" y="2040"/>
                  </a:lnTo>
                  <a:lnTo>
                    <a:pt x="3846" y="2046"/>
                  </a:lnTo>
                  <a:lnTo>
                    <a:pt x="3846" y="2052"/>
                  </a:lnTo>
                  <a:lnTo>
                    <a:pt x="3840" y="2052"/>
                  </a:lnTo>
                  <a:lnTo>
                    <a:pt x="3840" y="2058"/>
                  </a:lnTo>
                  <a:lnTo>
                    <a:pt x="3846" y="2058"/>
                  </a:lnTo>
                  <a:lnTo>
                    <a:pt x="3846" y="2052"/>
                  </a:lnTo>
                  <a:lnTo>
                    <a:pt x="3846" y="2058"/>
                  </a:lnTo>
                  <a:lnTo>
                    <a:pt x="3846" y="2064"/>
                  </a:lnTo>
                  <a:lnTo>
                    <a:pt x="3852" y="2064"/>
                  </a:lnTo>
                  <a:lnTo>
                    <a:pt x="3846" y="2064"/>
                  </a:lnTo>
                  <a:lnTo>
                    <a:pt x="3852" y="2064"/>
                  </a:lnTo>
                  <a:lnTo>
                    <a:pt x="3846" y="2064"/>
                  </a:lnTo>
                  <a:lnTo>
                    <a:pt x="3840" y="2070"/>
                  </a:lnTo>
                  <a:lnTo>
                    <a:pt x="3846" y="2070"/>
                  </a:lnTo>
                  <a:lnTo>
                    <a:pt x="3840" y="2070"/>
                  </a:lnTo>
                  <a:lnTo>
                    <a:pt x="3846" y="2070"/>
                  </a:lnTo>
                  <a:lnTo>
                    <a:pt x="3840" y="2076"/>
                  </a:lnTo>
                  <a:lnTo>
                    <a:pt x="3840" y="2082"/>
                  </a:lnTo>
                  <a:lnTo>
                    <a:pt x="3846" y="2082"/>
                  </a:lnTo>
                  <a:lnTo>
                    <a:pt x="3840" y="2082"/>
                  </a:lnTo>
                  <a:lnTo>
                    <a:pt x="3846" y="2082"/>
                  </a:lnTo>
                  <a:lnTo>
                    <a:pt x="3840" y="2082"/>
                  </a:lnTo>
                  <a:lnTo>
                    <a:pt x="3840" y="2088"/>
                  </a:lnTo>
                  <a:lnTo>
                    <a:pt x="3834" y="2088"/>
                  </a:lnTo>
                  <a:lnTo>
                    <a:pt x="3828" y="2088"/>
                  </a:lnTo>
                  <a:lnTo>
                    <a:pt x="3828" y="2082"/>
                  </a:lnTo>
                  <a:lnTo>
                    <a:pt x="3834" y="2082"/>
                  </a:lnTo>
                  <a:lnTo>
                    <a:pt x="3828" y="2082"/>
                  </a:lnTo>
                  <a:lnTo>
                    <a:pt x="3828" y="2088"/>
                  </a:lnTo>
                  <a:lnTo>
                    <a:pt x="3828" y="2082"/>
                  </a:lnTo>
                  <a:lnTo>
                    <a:pt x="3822" y="2082"/>
                  </a:lnTo>
                  <a:lnTo>
                    <a:pt x="3822" y="2088"/>
                  </a:lnTo>
                  <a:lnTo>
                    <a:pt x="3828" y="2088"/>
                  </a:lnTo>
                  <a:lnTo>
                    <a:pt x="3822" y="2094"/>
                  </a:lnTo>
                  <a:lnTo>
                    <a:pt x="3822" y="2100"/>
                  </a:lnTo>
                  <a:lnTo>
                    <a:pt x="3816" y="2100"/>
                  </a:lnTo>
                  <a:lnTo>
                    <a:pt x="3810" y="2100"/>
                  </a:lnTo>
                  <a:lnTo>
                    <a:pt x="3804" y="2100"/>
                  </a:lnTo>
                  <a:lnTo>
                    <a:pt x="3804" y="2106"/>
                  </a:lnTo>
                  <a:lnTo>
                    <a:pt x="3798" y="2106"/>
                  </a:lnTo>
                  <a:lnTo>
                    <a:pt x="3792" y="2106"/>
                  </a:lnTo>
                  <a:lnTo>
                    <a:pt x="3786" y="2106"/>
                  </a:lnTo>
                  <a:lnTo>
                    <a:pt x="3780" y="2106"/>
                  </a:lnTo>
                  <a:lnTo>
                    <a:pt x="3780" y="2100"/>
                  </a:lnTo>
                  <a:lnTo>
                    <a:pt x="3780" y="2106"/>
                  </a:lnTo>
                  <a:lnTo>
                    <a:pt x="3774" y="2106"/>
                  </a:lnTo>
                  <a:lnTo>
                    <a:pt x="3768" y="2106"/>
                  </a:lnTo>
                  <a:lnTo>
                    <a:pt x="3774" y="2106"/>
                  </a:lnTo>
                  <a:lnTo>
                    <a:pt x="3768" y="2106"/>
                  </a:lnTo>
                  <a:lnTo>
                    <a:pt x="3768" y="2100"/>
                  </a:lnTo>
                  <a:lnTo>
                    <a:pt x="3768" y="2106"/>
                  </a:lnTo>
                  <a:lnTo>
                    <a:pt x="3762" y="2106"/>
                  </a:lnTo>
                  <a:lnTo>
                    <a:pt x="3756" y="2106"/>
                  </a:lnTo>
                  <a:lnTo>
                    <a:pt x="3750" y="2106"/>
                  </a:lnTo>
                  <a:lnTo>
                    <a:pt x="3744" y="2106"/>
                  </a:lnTo>
                  <a:lnTo>
                    <a:pt x="3738" y="2106"/>
                  </a:lnTo>
                  <a:lnTo>
                    <a:pt x="3732" y="2106"/>
                  </a:lnTo>
                  <a:lnTo>
                    <a:pt x="3738" y="2106"/>
                  </a:lnTo>
                  <a:lnTo>
                    <a:pt x="3732" y="2106"/>
                  </a:lnTo>
                  <a:lnTo>
                    <a:pt x="3726" y="2106"/>
                  </a:lnTo>
                  <a:lnTo>
                    <a:pt x="3720" y="2106"/>
                  </a:lnTo>
                  <a:lnTo>
                    <a:pt x="3714" y="2106"/>
                  </a:lnTo>
                  <a:lnTo>
                    <a:pt x="3714" y="2112"/>
                  </a:lnTo>
                  <a:lnTo>
                    <a:pt x="3708" y="2112"/>
                  </a:lnTo>
                  <a:lnTo>
                    <a:pt x="3708" y="2106"/>
                  </a:lnTo>
                  <a:lnTo>
                    <a:pt x="3708" y="2112"/>
                  </a:lnTo>
                  <a:lnTo>
                    <a:pt x="3702" y="2112"/>
                  </a:lnTo>
                  <a:lnTo>
                    <a:pt x="3702" y="2106"/>
                  </a:lnTo>
                  <a:lnTo>
                    <a:pt x="3702" y="2112"/>
                  </a:lnTo>
                  <a:lnTo>
                    <a:pt x="3702" y="2106"/>
                  </a:lnTo>
                  <a:lnTo>
                    <a:pt x="3702" y="2112"/>
                  </a:lnTo>
                  <a:lnTo>
                    <a:pt x="3696" y="2112"/>
                  </a:lnTo>
                  <a:lnTo>
                    <a:pt x="3690" y="2112"/>
                  </a:lnTo>
                  <a:lnTo>
                    <a:pt x="3684" y="2112"/>
                  </a:lnTo>
                  <a:lnTo>
                    <a:pt x="3678" y="2112"/>
                  </a:lnTo>
                  <a:lnTo>
                    <a:pt x="3672" y="2112"/>
                  </a:lnTo>
                  <a:lnTo>
                    <a:pt x="3678" y="2112"/>
                  </a:lnTo>
                  <a:lnTo>
                    <a:pt x="3672" y="2112"/>
                  </a:lnTo>
                  <a:lnTo>
                    <a:pt x="3678" y="2112"/>
                  </a:lnTo>
                  <a:lnTo>
                    <a:pt x="3678" y="2118"/>
                  </a:lnTo>
                  <a:lnTo>
                    <a:pt x="3672" y="2118"/>
                  </a:lnTo>
                  <a:lnTo>
                    <a:pt x="3678" y="2118"/>
                  </a:lnTo>
                  <a:lnTo>
                    <a:pt x="3672" y="2118"/>
                  </a:lnTo>
                  <a:lnTo>
                    <a:pt x="3666" y="2124"/>
                  </a:lnTo>
                  <a:lnTo>
                    <a:pt x="3660" y="2124"/>
                  </a:lnTo>
                  <a:lnTo>
                    <a:pt x="3654" y="2124"/>
                  </a:lnTo>
                  <a:lnTo>
                    <a:pt x="3654" y="2130"/>
                  </a:lnTo>
                  <a:lnTo>
                    <a:pt x="3660" y="2130"/>
                  </a:lnTo>
                  <a:lnTo>
                    <a:pt x="3660" y="2124"/>
                  </a:lnTo>
                  <a:lnTo>
                    <a:pt x="3666" y="2124"/>
                  </a:lnTo>
                  <a:lnTo>
                    <a:pt x="3672" y="2124"/>
                  </a:lnTo>
                  <a:lnTo>
                    <a:pt x="3672" y="2118"/>
                  </a:lnTo>
                  <a:lnTo>
                    <a:pt x="3678" y="2118"/>
                  </a:lnTo>
                  <a:lnTo>
                    <a:pt x="3672" y="2118"/>
                  </a:lnTo>
                  <a:lnTo>
                    <a:pt x="3672" y="2124"/>
                  </a:lnTo>
                  <a:lnTo>
                    <a:pt x="3666" y="2124"/>
                  </a:lnTo>
                  <a:lnTo>
                    <a:pt x="3672" y="2124"/>
                  </a:lnTo>
                  <a:lnTo>
                    <a:pt x="3678" y="2124"/>
                  </a:lnTo>
                  <a:lnTo>
                    <a:pt x="3678" y="2118"/>
                  </a:lnTo>
                  <a:lnTo>
                    <a:pt x="3684" y="2118"/>
                  </a:lnTo>
                  <a:lnTo>
                    <a:pt x="3690" y="2118"/>
                  </a:lnTo>
                  <a:lnTo>
                    <a:pt x="3684" y="2118"/>
                  </a:lnTo>
                  <a:lnTo>
                    <a:pt x="3678" y="2118"/>
                  </a:lnTo>
                  <a:lnTo>
                    <a:pt x="3684" y="2118"/>
                  </a:lnTo>
                  <a:lnTo>
                    <a:pt x="3684" y="2112"/>
                  </a:lnTo>
                  <a:lnTo>
                    <a:pt x="3684" y="2118"/>
                  </a:lnTo>
                  <a:lnTo>
                    <a:pt x="3684" y="2112"/>
                  </a:lnTo>
                  <a:lnTo>
                    <a:pt x="3690" y="2112"/>
                  </a:lnTo>
                  <a:lnTo>
                    <a:pt x="3690" y="2118"/>
                  </a:lnTo>
                  <a:lnTo>
                    <a:pt x="3690" y="2112"/>
                  </a:lnTo>
                  <a:lnTo>
                    <a:pt x="3690" y="2118"/>
                  </a:lnTo>
                  <a:lnTo>
                    <a:pt x="3684" y="2118"/>
                  </a:lnTo>
                  <a:lnTo>
                    <a:pt x="3678" y="2118"/>
                  </a:lnTo>
                  <a:lnTo>
                    <a:pt x="3672" y="2124"/>
                  </a:lnTo>
                  <a:lnTo>
                    <a:pt x="3666" y="2130"/>
                  </a:lnTo>
                  <a:lnTo>
                    <a:pt x="3660" y="2130"/>
                  </a:lnTo>
                  <a:lnTo>
                    <a:pt x="3654" y="2136"/>
                  </a:lnTo>
                  <a:lnTo>
                    <a:pt x="3648" y="2142"/>
                  </a:lnTo>
                  <a:lnTo>
                    <a:pt x="3636" y="2148"/>
                  </a:lnTo>
                  <a:lnTo>
                    <a:pt x="3636" y="2154"/>
                  </a:lnTo>
                  <a:lnTo>
                    <a:pt x="3630" y="2154"/>
                  </a:lnTo>
                  <a:lnTo>
                    <a:pt x="3624" y="2160"/>
                  </a:lnTo>
                  <a:lnTo>
                    <a:pt x="3618" y="2160"/>
                  </a:lnTo>
                  <a:lnTo>
                    <a:pt x="3618" y="2166"/>
                  </a:lnTo>
                  <a:lnTo>
                    <a:pt x="3612" y="2166"/>
                  </a:lnTo>
                  <a:lnTo>
                    <a:pt x="3606" y="2166"/>
                  </a:lnTo>
                  <a:lnTo>
                    <a:pt x="3606" y="2172"/>
                  </a:lnTo>
                  <a:lnTo>
                    <a:pt x="3600" y="2172"/>
                  </a:lnTo>
                  <a:lnTo>
                    <a:pt x="3594" y="2172"/>
                  </a:lnTo>
                  <a:lnTo>
                    <a:pt x="3588" y="2172"/>
                  </a:lnTo>
                  <a:lnTo>
                    <a:pt x="3582" y="2172"/>
                  </a:lnTo>
                  <a:lnTo>
                    <a:pt x="3582" y="2178"/>
                  </a:lnTo>
                  <a:lnTo>
                    <a:pt x="3576" y="2178"/>
                  </a:lnTo>
                  <a:lnTo>
                    <a:pt x="3570" y="2178"/>
                  </a:lnTo>
                  <a:lnTo>
                    <a:pt x="3570" y="2172"/>
                  </a:lnTo>
                  <a:lnTo>
                    <a:pt x="3564" y="2172"/>
                  </a:lnTo>
                  <a:lnTo>
                    <a:pt x="3558" y="2172"/>
                  </a:lnTo>
                  <a:lnTo>
                    <a:pt x="3558" y="2178"/>
                  </a:lnTo>
                  <a:lnTo>
                    <a:pt x="3564" y="2178"/>
                  </a:lnTo>
                  <a:lnTo>
                    <a:pt x="3564" y="2172"/>
                  </a:lnTo>
                  <a:lnTo>
                    <a:pt x="3564" y="2178"/>
                  </a:lnTo>
                  <a:lnTo>
                    <a:pt x="3558" y="2178"/>
                  </a:lnTo>
                  <a:lnTo>
                    <a:pt x="3558" y="2184"/>
                  </a:lnTo>
                  <a:lnTo>
                    <a:pt x="3564" y="2184"/>
                  </a:lnTo>
                  <a:lnTo>
                    <a:pt x="3564" y="2190"/>
                  </a:lnTo>
                  <a:lnTo>
                    <a:pt x="3570" y="2190"/>
                  </a:lnTo>
                  <a:lnTo>
                    <a:pt x="3570" y="2184"/>
                  </a:lnTo>
                  <a:lnTo>
                    <a:pt x="3576" y="2184"/>
                  </a:lnTo>
                  <a:lnTo>
                    <a:pt x="3576" y="2190"/>
                  </a:lnTo>
                  <a:lnTo>
                    <a:pt x="3576" y="2196"/>
                  </a:lnTo>
                  <a:lnTo>
                    <a:pt x="3576" y="2202"/>
                  </a:lnTo>
                  <a:lnTo>
                    <a:pt x="3570" y="2202"/>
                  </a:lnTo>
                  <a:lnTo>
                    <a:pt x="3576" y="2202"/>
                  </a:lnTo>
                  <a:lnTo>
                    <a:pt x="3570" y="2208"/>
                  </a:lnTo>
                  <a:lnTo>
                    <a:pt x="3564" y="2208"/>
                  </a:lnTo>
                  <a:lnTo>
                    <a:pt x="3564" y="2202"/>
                  </a:lnTo>
                  <a:lnTo>
                    <a:pt x="3564" y="2196"/>
                  </a:lnTo>
                  <a:lnTo>
                    <a:pt x="3558" y="2196"/>
                  </a:lnTo>
                  <a:lnTo>
                    <a:pt x="3564" y="2196"/>
                  </a:lnTo>
                  <a:lnTo>
                    <a:pt x="3558" y="2190"/>
                  </a:lnTo>
                  <a:lnTo>
                    <a:pt x="3558" y="2184"/>
                  </a:lnTo>
                  <a:lnTo>
                    <a:pt x="3558" y="2190"/>
                  </a:lnTo>
                  <a:lnTo>
                    <a:pt x="3552" y="2184"/>
                  </a:lnTo>
                  <a:lnTo>
                    <a:pt x="3546" y="2184"/>
                  </a:lnTo>
                  <a:lnTo>
                    <a:pt x="3546" y="2190"/>
                  </a:lnTo>
                  <a:lnTo>
                    <a:pt x="3540" y="2190"/>
                  </a:lnTo>
                  <a:lnTo>
                    <a:pt x="3534" y="2184"/>
                  </a:lnTo>
                  <a:lnTo>
                    <a:pt x="3534" y="2178"/>
                  </a:lnTo>
                  <a:lnTo>
                    <a:pt x="3528" y="2172"/>
                  </a:lnTo>
                  <a:lnTo>
                    <a:pt x="3534" y="2172"/>
                  </a:lnTo>
                  <a:lnTo>
                    <a:pt x="3528" y="2172"/>
                  </a:lnTo>
                  <a:lnTo>
                    <a:pt x="3522" y="2172"/>
                  </a:lnTo>
                  <a:lnTo>
                    <a:pt x="3516" y="2172"/>
                  </a:lnTo>
                  <a:lnTo>
                    <a:pt x="3516" y="2166"/>
                  </a:lnTo>
                  <a:lnTo>
                    <a:pt x="3510" y="2166"/>
                  </a:lnTo>
                  <a:lnTo>
                    <a:pt x="3504" y="2160"/>
                  </a:lnTo>
                  <a:lnTo>
                    <a:pt x="3504" y="2154"/>
                  </a:lnTo>
                  <a:lnTo>
                    <a:pt x="3510" y="2154"/>
                  </a:lnTo>
                  <a:lnTo>
                    <a:pt x="3504" y="2154"/>
                  </a:lnTo>
                  <a:lnTo>
                    <a:pt x="3510" y="2154"/>
                  </a:lnTo>
                  <a:lnTo>
                    <a:pt x="3516" y="2154"/>
                  </a:lnTo>
                  <a:lnTo>
                    <a:pt x="3516" y="2148"/>
                  </a:lnTo>
                  <a:lnTo>
                    <a:pt x="3516" y="2142"/>
                  </a:lnTo>
                  <a:lnTo>
                    <a:pt x="3510" y="2142"/>
                  </a:lnTo>
                  <a:lnTo>
                    <a:pt x="3510" y="2136"/>
                  </a:lnTo>
                  <a:lnTo>
                    <a:pt x="3510" y="2142"/>
                  </a:lnTo>
                  <a:lnTo>
                    <a:pt x="3504" y="2142"/>
                  </a:lnTo>
                  <a:lnTo>
                    <a:pt x="3504" y="2136"/>
                  </a:lnTo>
                  <a:lnTo>
                    <a:pt x="3504" y="2142"/>
                  </a:lnTo>
                  <a:lnTo>
                    <a:pt x="3498" y="2142"/>
                  </a:lnTo>
                  <a:lnTo>
                    <a:pt x="3504" y="2142"/>
                  </a:lnTo>
                  <a:lnTo>
                    <a:pt x="3498" y="2142"/>
                  </a:lnTo>
                  <a:lnTo>
                    <a:pt x="3498" y="2136"/>
                  </a:lnTo>
                  <a:lnTo>
                    <a:pt x="3498" y="2142"/>
                  </a:lnTo>
                  <a:lnTo>
                    <a:pt x="3492" y="2142"/>
                  </a:lnTo>
                  <a:lnTo>
                    <a:pt x="3492" y="2148"/>
                  </a:lnTo>
                  <a:lnTo>
                    <a:pt x="3492" y="2142"/>
                  </a:lnTo>
                  <a:lnTo>
                    <a:pt x="3492" y="2148"/>
                  </a:lnTo>
                  <a:lnTo>
                    <a:pt x="3492" y="2154"/>
                  </a:lnTo>
                  <a:lnTo>
                    <a:pt x="3486" y="2154"/>
                  </a:lnTo>
                  <a:lnTo>
                    <a:pt x="3480" y="2154"/>
                  </a:lnTo>
                  <a:lnTo>
                    <a:pt x="3480" y="2160"/>
                  </a:lnTo>
                  <a:lnTo>
                    <a:pt x="3474" y="2160"/>
                  </a:lnTo>
                  <a:lnTo>
                    <a:pt x="3468" y="2160"/>
                  </a:lnTo>
                  <a:lnTo>
                    <a:pt x="3468" y="2154"/>
                  </a:lnTo>
                  <a:lnTo>
                    <a:pt x="3462" y="2154"/>
                  </a:lnTo>
                  <a:lnTo>
                    <a:pt x="3462" y="2148"/>
                  </a:lnTo>
                  <a:lnTo>
                    <a:pt x="3456" y="2148"/>
                  </a:lnTo>
                  <a:lnTo>
                    <a:pt x="3450" y="2148"/>
                  </a:lnTo>
                  <a:lnTo>
                    <a:pt x="3456" y="2148"/>
                  </a:lnTo>
                  <a:lnTo>
                    <a:pt x="3462" y="2148"/>
                  </a:lnTo>
                  <a:lnTo>
                    <a:pt x="3468" y="2148"/>
                  </a:lnTo>
                  <a:lnTo>
                    <a:pt x="3474" y="2148"/>
                  </a:lnTo>
                  <a:lnTo>
                    <a:pt x="3474" y="2142"/>
                  </a:lnTo>
                  <a:lnTo>
                    <a:pt x="3480" y="2142"/>
                  </a:lnTo>
                  <a:lnTo>
                    <a:pt x="3480" y="2136"/>
                  </a:lnTo>
                  <a:lnTo>
                    <a:pt x="3486" y="2136"/>
                  </a:lnTo>
                  <a:lnTo>
                    <a:pt x="3486" y="2130"/>
                  </a:lnTo>
                  <a:lnTo>
                    <a:pt x="3486" y="2124"/>
                  </a:lnTo>
                  <a:lnTo>
                    <a:pt x="3480" y="2124"/>
                  </a:lnTo>
                  <a:lnTo>
                    <a:pt x="3480" y="2118"/>
                  </a:lnTo>
                  <a:lnTo>
                    <a:pt x="3480" y="2112"/>
                  </a:lnTo>
                  <a:lnTo>
                    <a:pt x="3474" y="2112"/>
                  </a:lnTo>
                  <a:lnTo>
                    <a:pt x="3474" y="2106"/>
                  </a:lnTo>
                  <a:lnTo>
                    <a:pt x="3480" y="2106"/>
                  </a:lnTo>
                  <a:lnTo>
                    <a:pt x="3474" y="2106"/>
                  </a:lnTo>
                  <a:lnTo>
                    <a:pt x="3474" y="2112"/>
                  </a:lnTo>
                  <a:lnTo>
                    <a:pt x="3468" y="2112"/>
                  </a:lnTo>
                  <a:lnTo>
                    <a:pt x="3468" y="2118"/>
                  </a:lnTo>
                  <a:lnTo>
                    <a:pt x="3462" y="2118"/>
                  </a:lnTo>
                  <a:lnTo>
                    <a:pt x="3456" y="2118"/>
                  </a:lnTo>
                  <a:lnTo>
                    <a:pt x="3456" y="2124"/>
                  </a:lnTo>
                  <a:lnTo>
                    <a:pt x="3450" y="2124"/>
                  </a:lnTo>
                  <a:lnTo>
                    <a:pt x="3444" y="2124"/>
                  </a:lnTo>
                  <a:lnTo>
                    <a:pt x="3444" y="2130"/>
                  </a:lnTo>
                  <a:lnTo>
                    <a:pt x="3444" y="2124"/>
                  </a:lnTo>
                  <a:lnTo>
                    <a:pt x="3444" y="2130"/>
                  </a:lnTo>
                  <a:lnTo>
                    <a:pt x="3438" y="2130"/>
                  </a:lnTo>
                  <a:lnTo>
                    <a:pt x="3438" y="2124"/>
                  </a:lnTo>
                  <a:lnTo>
                    <a:pt x="3438" y="2130"/>
                  </a:lnTo>
                  <a:lnTo>
                    <a:pt x="3432" y="2130"/>
                  </a:lnTo>
                  <a:lnTo>
                    <a:pt x="3432" y="2136"/>
                  </a:lnTo>
                  <a:lnTo>
                    <a:pt x="3438" y="2136"/>
                  </a:lnTo>
                  <a:lnTo>
                    <a:pt x="3438" y="2130"/>
                  </a:lnTo>
                  <a:lnTo>
                    <a:pt x="3438" y="2136"/>
                  </a:lnTo>
                  <a:lnTo>
                    <a:pt x="3444" y="2136"/>
                  </a:lnTo>
                  <a:lnTo>
                    <a:pt x="3450" y="2136"/>
                  </a:lnTo>
                  <a:lnTo>
                    <a:pt x="3450" y="2130"/>
                  </a:lnTo>
                  <a:lnTo>
                    <a:pt x="3456" y="2130"/>
                  </a:lnTo>
                  <a:lnTo>
                    <a:pt x="3456" y="2136"/>
                  </a:lnTo>
                  <a:lnTo>
                    <a:pt x="3456" y="2142"/>
                  </a:lnTo>
                  <a:lnTo>
                    <a:pt x="3450" y="2142"/>
                  </a:lnTo>
                  <a:lnTo>
                    <a:pt x="3456" y="2142"/>
                  </a:lnTo>
                  <a:lnTo>
                    <a:pt x="3450" y="2142"/>
                  </a:lnTo>
                  <a:lnTo>
                    <a:pt x="3444" y="2142"/>
                  </a:lnTo>
                  <a:lnTo>
                    <a:pt x="3438" y="2142"/>
                  </a:lnTo>
                  <a:lnTo>
                    <a:pt x="3432" y="2142"/>
                  </a:lnTo>
                  <a:lnTo>
                    <a:pt x="3432" y="2148"/>
                  </a:lnTo>
                  <a:lnTo>
                    <a:pt x="3426" y="2148"/>
                  </a:lnTo>
                  <a:lnTo>
                    <a:pt x="3426" y="2154"/>
                  </a:lnTo>
                  <a:lnTo>
                    <a:pt x="3420" y="2154"/>
                  </a:lnTo>
                  <a:lnTo>
                    <a:pt x="3414" y="2154"/>
                  </a:lnTo>
                  <a:lnTo>
                    <a:pt x="3414" y="2160"/>
                  </a:lnTo>
                  <a:lnTo>
                    <a:pt x="3408" y="2160"/>
                  </a:lnTo>
                  <a:lnTo>
                    <a:pt x="3402" y="2160"/>
                  </a:lnTo>
                  <a:lnTo>
                    <a:pt x="3402" y="2166"/>
                  </a:lnTo>
                  <a:lnTo>
                    <a:pt x="3396" y="2166"/>
                  </a:lnTo>
                  <a:lnTo>
                    <a:pt x="3396" y="2172"/>
                  </a:lnTo>
                  <a:lnTo>
                    <a:pt x="3390" y="2172"/>
                  </a:lnTo>
                  <a:lnTo>
                    <a:pt x="3384" y="2178"/>
                  </a:lnTo>
                  <a:lnTo>
                    <a:pt x="3378" y="2178"/>
                  </a:lnTo>
                  <a:lnTo>
                    <a:pt x="3378" y="2184"/>
                  </a:lnTo>
                  <a:lnTo>
                    <a:pt x="3372" y="2184"/>
                  </a:lnTo>
                  <a:lnTo>
                    <a:pt x="3366" y="2184"/>
                  </a:lnTo>
                  <a:lnTo>
                    <a:pt x="3366" y="2190"/>
                  </a:lnTo>
                  <a:lnTo>
                    <a:pt x="3366" y="2184"/>
                  </a:lnTo>
                  <a:lnTo>
                    <a:pt x="3360" y="2184"/>
                  </a:lnTo>
                  <a:lnTo>
                    <a:pt x="3366" y="2184"/>
                  </a:lnTo>
                  <a:lnTo>
                    <a:pt x="3360" y="2184"/>
                  </a:lnTo>
                  <a:lnTo>
                    <a:pt x="3360" y="2178"/>
                  </a:lnTo>
                  <a:lnTo>
                    <a:pt x="3354" y="2178"/>
                  </a:lnTo>
                  <a:lnTo>
                    <a:pt x="3348" y="2178"/>
                  </a:lnTo>
                  <a:lnTo>
                    <a:pt x="3342" y="2178"/>
                  </a:lnTo>
                  <a:lnTo>
                    <a:pt x="3342" y="2172"/>
                  </a:lnTo>
                  <a:lnTo>
                    <a:pt x="3336" y="2172"/>
                  </a:lnTo>
                  <a:lnTo>
                    <a:pt x="3330" y="2172"/>
                  </a:lnTo>
                  <a:lnTo>
                    <a:pt x="3324" y="2166"/>
                  </a:lnTo>
                  <a:lnTo>
                    <a:pt x="3324" y="2172"/>
                  </a:lnTo>
                  <a:lnTo>
                    <a:pt x="3324" y="2166"/>
                  </a:lnTo>
                  <a:lnTo>
                    <a:pt x="3318" y="2166"/>
                  </a:lnTo>
                  <a:lnTo>
                    <a:pt x="3312" y="2166"/>
                  </a:lnTo>
                  <a:lnTo>
                    <a:pt x="3312" y="2160"/>
                  </a:lnTo>
                  <a:lnTo>
                    <a:pt x="3306" y="2160"/>
                  </a:lnTo>
                  <a:lnTo>
                    <a:pt x="3306" y="2154"/>
                  </a:lnTo>
                  <a:lnTo>
                    <a:pt x="3300" y="2154"/>
                  </a:lnTo>
                  <a:lnTo>
                    <a:pt x="3294" y="2154"/>
                  </a:lnTo>
                  <a:lnTo>
                    <a:pt x="3294" y="2148"/>
                  </a:lnTo>
                  <a:lnTo>
                    <a:pt x="3288" y="2148"/>
                  </a:lnTo>
                  <a:lnTo>
                    <a:pt x="3282" y="2148"/>
                  </a:lnTo>
                  <a:lnTo>
                    <a:pt x="3276" y="2148"/>
                  </a:lnTo>
                  <a:lnTo>
                    <a:pt x="3276" y="2154"/>
                  </a:lnTo>
                  <a:lnTo>
                    <a:pt x="3270" y="2154"/>
                  </a:lnTo>
                  <a:lnTo>
                    <a:pt x="3270" y="2148"/>
                  </a:lnTo>
                  <a:lnTo>
                    <a:pt x="3264" y="2148"/>
                  </a:lnTo>
                  <a:lnTo>
                    <a:pt x="3258" y="2142"/>
                  </a:lnTo>
                  <a:lnTo>
                    <a:pt x="3252" y="2142"/>
                  </a:lnTo>
                  <a:lnTo>
                    <a:pt x="3246" y="2142"/>
                  </a:lnTo>
                  <a:lnTo>
                    <a:pt x="3240" y="2142"/>
                  </a:lnTo>
                  <a:lnTo>
                    <a:pt x="3234" y="2142"/>
                  </a:lnTo>
                  <a:lnTo>
                    <a:pt x="3234" y="2148"/>
                  </a:lnTo>
                  <a:lnTo>
                    <a:pt x="3234" y="2154"/>
                  </a:lnTo>
                  <a:lnTo>
                    <a:pt x="3228" y="2154"/>
                  </a:lnTo>
                  <a:lnTo>
                    <a:pt x="3228" y="2148"/>
                  </a:lnTo>
                  <a:lnTo>
                    <a:pt x="3222" y="2148"/>
                  </a:lnTo>
                  <a:lnTo>
                    <a:pt x="3216" y="2148"/>
                  </a:lnTo>
                  <a:lnTo>
                    <a:pt x="3216" y="2154"/>
                  </a:lnTo>
                  <a:lnTo>
                    <a:pt x="3216" y="2148"/>
                  </a:lnTo>
                  <a:lnTo>
                    <a:pt x="3216" y="2142"/>
                  </a:lnTo>
                  <a:lnTo>
                    <a:pt x="3210" y="2142"/>
                  </a:lnTo>
                  <a:lnTo>
                    <a:pt x="3210" y="2136"/>
                  </a:lnTo>
                  <a:lnTo>
                    <a:pt x="3204" y="2136"/>
                  </a:lnTo>
                  <a:lnTo>
                    <a:pt x="3204" y="2130"/>
                  </a:lnTo>
                  <a:lnTo>
                    <a:pt x="3198" y="2130"/>
                  </a:lnTo>
                  <a:lnTo>
                    <a:pt x="3192" y="2130"/>
                  </a:lnTo>
                  <a:lnTo>
                    <a:pt x="3192" y="2124"/>
                  </a:lnTo>
                  <a:lnTo>
                    <a:pt x="3186" y="2124"/>
                  </a:lnTo>
                  <a:lnTo>
                    <a:pt x="3180" y="2124"/>
                  </a:lnTo>
                  <a:lnTo>
                    <a:pt x="3174" y="2124"/>
                  </a:lnTo>
                  <a:lnTo>
                    <a:pt x="3168" y="2124"/>
                  </a:lnTo>
                  <a:lnTo>
                    <a:pt x="3162" y="2124"/>
                  </a:lnTo>
                  <a:lnTo>
                    <a:pt x="3156" y="2124"/>
                  </a:lnTo>
                  <a:lnTo>
                    <a:pt x="3156" y="2118"/>
                  </a:lnTo>
                  <a:lnTo>
                    <a:pt x="3150" y="2118"/>
                  </a:lnTo>
                  <a:lnTo>
                    <a:pt x="3150" y="2112"/>
                  </a:lnTo>
                  <a:lnTo>
                    <a:pt x="3144" y="2112"/>
                  </a:lnTo>
                  <a:lnTo>
                    <a:pt x="3144" y="2106"/>
                  </a:lnTo>
                  <a:lnTo>
                    <a:pt x="3144" y="2100"/>
                  </a:lnTo>
                  <a:lnTo>
                    <a:pt x="3138" y="2100"/>
                  </a:lnTo>
                  <a:lnTo>
                    <a:pt x="3132" y="2094"/>
                  </a:lnTo>
                  <a:lnTo>
                    <a:pt x="3132" y="2088"/>
                  </a:lnTo>
                  <a:lnTo>
                    <a:pt x="3132" y="2094"/>
                  </a:lnTo>
                  <a:lnTo>
                    <a:pt x="3132" y="2088"/>
                  </a:lnTo>
                  <a:lnTo>
                    <a:pt x="3126" y="2082"/>
                  </a:lnTo>
                  <a:lnTo>
                    <a:pt x="3120" y="2082"/>
                  </a:lnTo>
                  <a:lnTo>
                    <a:pt x="3120" y="2076"/>
                  </a:lnTo>
                  <a:lnTo>
                    <a:pt x="3114" y="2076"/>
                  </a:lnTo>
                  <a:lnTo>
                    <a:pt x="3114" y="2070"/>
                  </a:lnTo>
                  <a:lnTo>
                    <a:pt x="3108" y="2064"/>
                  </a:lnTo>
                  <a:lnTo>
                    <a:pt x="3108" y="2058"/>
                  </a:lnTo>
                  <a:lnTo>
                    <a:pt x="3114" y="2058"/>
                  </a:lnTo>
                  <a:lnTo>
                    <a:pt x="3108" y="2052"/>
                  </a:lnTo>
                  <a:lnTo>
                    <a:pt x="3108" y="2046"/>
                  </a:lnTo>
                  <a:lnTo>
                    <a:pt x="3102" y="2046"/>
                  </a:lnTo>
                  <a:lnTo>
                    <a:pt x="3102" y="2040"/>
                  </a:lnTo>
                  <a:lnTo>
                    <a:pt x="3108" y="2040"/>
                  </a:lnTo>
                  <a:lnTo>
                    <a:pt x="3114" y="2040"/>
                  </a:lnTo>
                  <a:lnTo>
                    <a:pt x="3114" y="2034"/>
                  </a:lnTo>
                  <a:lnTo>
                    <a:pt x="3120" y="2034"/>
                  </a:lnTo>
                  <a:lnTo>
                    <a:pt x="3120" y="2028"/>
                  </a:lnTo>
                  <a:lnTo>
                    <a:pt x="3120" y="2022"/>
                  </a:lnTo>
                  <a:lnTo>
                    <a:pt x="3120" y="2016"/>
                  </a:lnTo>
                  <a:lnTo>
                    <a:pt x="3114" y="2010"/>
                  </a:lnTo>
                  <a:lnTo>
                    <a:pt x="3114" y="2004"/>
                  </a:lnTo>
                  <a:lnTo>
                    <a:pt x="3114" y="1998"/>
                  </a:lnTo>
                  <a:lnTo>
                    <a:pt x="3108" y="1992"/>
                  </a:lnTo>
                  <a:lnTo>
                    <a:pt x="3108" y="1986"/>
                  </a:lnTo>
                  <a:lnTo>
                    <a:pt x="3102" y="1980"/>
                  </a:lnTo>
                  <a:lnTo>
                    <a:pt x="3102" y="1974"/>
                  </a:lnTo>
                  <a:lnTo>
                    <a:pt x="3096" y="1974"/>
                  </a:lnTo>
                  <a:lnTo>
                    <a:pt x="3096" y="1968"/>
                  </a:lnTo>
                  <a:lnTo>
                    <a:pt x="3090" y="1962"/>
                  </a:lnTo>
                  <a:lnTo>
                    <a:pt x="3084" y="1956"/>
                  </a:lnTo>
                  <a:lnTo>
                    <a:pt x="3078" y="1950"/>
                  </a:lnTo>
                  <a:lnTo>
                    <a:pt x="3072" y="1950"/>
                  </a:lnTo>
                  <a:lnTo>
                    <a:pt x="3072" y="1944"/>
                  </a:lnTo>
                  <a:lnTo>
                    <a:pt x="3066" y="1944"/>
                  </a:lnTo>
                  <a:lnTo>
                    <a:pt x="3060" y="1938"/>
                  </a:lnTo>
                  <a:lnTo>
                    <a:pt x="3066" y="1938"/>
                  </a:lnTo>
                  <a:lnTo>
                    <a:pt x="3066" y="1944"/>
                  </a:lnTo>
                  <a:lnTo>
                    <a:pt x="3072" y="1944"/>
                  </a:lnTo>
                  <a:lnTo>
                    <a:pt x="3072" y="1950"/>
                  </a:lnTo>
                  <a:lnTo>
                    <a:pt x="3078" y="1950"/>
                  </a:lnTo>
                  <a:lnTo>
                    <a:pt x="3084" y="1956"/>
                  </a:lnTo>
                  <a:lnTo>
                    <a:pt x="3084" y="1962"/>
                  </a:lnTo>
                  <a:lnTo>
                    <a:pt x="3090" y="1962"/>
                  </a:lnTo>
                  <a:lnTo>
                    <a:pt x="3090" y="1968"/>
                  </a:lnTo>
                  <a:lnTo>
                    <a:pt x="3096" y="1968"/>
                  </a:lnTo>
                  <a:lnTo>
                    <a:pt x="3096" y="1974"/>
                  </a:lnTo>
                  <a:lnTo>
                    <a:pt x="3102" y="1974"/>
                  </a:lnTo>
                  <a:lnTo>
                    <a:pt x="3102" y="1980"/>
                  </a:lnTo>
                  <a:lnTo>
                    <a:pt x="3108" y="1980"/>
                  </a:lnTo>
                  <a:lnTo>
                    <a:pt x="3108" y="1986"/>
                  </a:lnTo>
                  <a:lnTo>
                    <a:pt x="3108" y="1992"/>
                  </a:lnTo>
                  <a:lnTo>
                    <a:pt x="3114" y="1992"/>
                  </a:lnTo>
                  <a:lnTo>
                    <a:pt x="3108" y="1992"/>
                  </a:lnTo>
                  <a:lnTo>
                    <a:pt x="3114" y="1992"/>
                  </a:lnTo>
                  <a:lnTo>
                    <a:pt x="3108" y="1992"/>
                  </a:lnTo>
                  <a:lnTo>
                    <a:pt x="3108" y="1986"/>
                  </a:lnTo>
                  <a:lnTo>
                    <a:pt x="3108" y="1980"/>
                  </a:lnTo>
                  <a:lnTo>
                    <a:pt x="3102" y="1980"/>
                  </a:lnTo>
                  <a:lnTo>
                    <a:pt x="3108" y="1980"/>
                  </a:lnTo>
                  <a:lnTo>
                    <a:pt x="3102" y="1980"/>
                  </a:lnTo>
                  <a:lnTo>
                    <a:pt x="3102" y="1974"/>
                  </a:lnTo>
                  <a:lnTo>
                    <a:pt x="3108" y="1974"/>
                  </a:lnTo>
                  <a:lnTo>
                    <a:pt x="3102" y="1974"/>
                  </a:lnTo>
                  <a:lnTo>
                    <a:pt x="3102" y="1968"/>
                  </a:lnTo>
                  <a:lnTo>
                    <a:pt x="3096" y="1968"/>
                  </a:lnTo>
                  <a:lnTo>
                    <a:pt x="3096" y="1962"/>
                  </a:lnTo>
                  <a:lnTo>
                    <a:pt x="3096" y="1968"/>
                  </a:lnTo>
                  <a:lnTo>
                    <a:pt x="3096" y="1962"/>
                  </a:lnTo>
                  <a:lnTo>
                    <a:pt x="3090" y="1962"/>
                  </a:lnTo>
                  <a:lnTo>
                    <a:pt x="3096" y="1962"/>
                  </a:lnTo>
                  <a:lnTo>
                    <a:pt x="3090" y="1962"/>
                  </a:lnTo>
                  <a:lnTo>
                    <a:pt x="3090" y="1956"/>
                  </a:lnTo>
                  <a:lnTo>
                    <a:pt x="3090" y="1962"/>
                  </a:lnTo>
                  <a:lnTo>
                    <a:pt x="3090" y="1956"/>
                  </a:lnTo>
                  <a:lnTo>
                    <a:pt x="3084" y="1956"/>
                  </a:lnTo>
                  <a:lnTo>
                    <a:pt x="3084" y="1950"/>
                  </a:lnTo>
                  <a:lnTo>
                    <a:pt x="3078" y="1950"/>
                  </a:lnTo>
                  <a:lnTo>
                    <a:pt x="3072" y="1944"/>
                  </a:lnTo>
                  <a:lnTo>
                    <a:pt x="3066" y="1944"/>
                  </a:lnTo>
                  <a:lnTo>
                    <a:pt x="3066" y="1938"/>
                  </a:lnTo>
                  <a:lnTo>
                    <a:pt x="3060" y="1938"/>
                  </a:lnTo>
                  <a:lnTo>
                    <a:pt x="3054" y="1938"/>
                  </a:lnTo>
                  <a:lnTo>
                    <a:pt x="3054" y="1932"/>
                  </a:lnTo>
                  <a:lnTo>
                    <a:pt x="3054" y="1938"/>
                  </a:lnTo>
                  <a:lnTo>
                    <a:pt x="3048" y="1938"/>
                  </a:lnTo>
                  <a:lnTo>
                    <a:pt x="3048" y="1932"/>
                  </a:lnTo>
                  <a:lnTo>
                    <a:pt x="3042" y="1932"/>
                  </a:lnTo>
                  <a:lnTo>
                    <a:pt x="3042" y="1938"/>
                  </a:lnTo>
                  <a:lnTo>
                    <a:pt x="3036" y="1938"/>
                  </a:lnTo>
                  <a:lnTo>
                    <a:pt x="3036" y="1944"/>
                  </a:lnTo>
                  <a:lnTo>
                    <a:pt x="3030" y="1944"/>
                  </a:lnTo>
                  <a:lnTo>
                    <a:pt x="3024" y="1944"/>
                  </a:lnTo>
                  <a:lnTo>
                    <a:pt x="3018" y="1944"/>
                  </a:lnTo>
                  <a:lnTo>
                    <a:pt x="3012" y="1944"/>
                  </a:lnTo>
                  <a:lnTo>
                    <a:pt x="3006" y="1944"/>
                  </a:lnTo>
                  <a:lnTo>
                    <a:pt x="3000" y="1944"/>
                  </a:lnTo>
                  <a:lnTo>
                    <a:pt x="3000" y="1938"/>
                  </a:lnTo>
                  <a:lnTo>
                    <a:pt x="3006" y="1938"/>
                  </a:lnTo>
                  <a:lnTo>
                    <a:pt x="3006" y="1932"/>
                  </a:lnTo>
                  <a:lnTo>
                    <a:pt x="3006" y="1938"/>
                  </a:lnTo>
                  <a:lnTo>
                    <a:pt x="3006" y="1932"/>
                  </a:lnTo>
                  <a:lnTo>
                    <a:pt x="3012" y="1932"/>
                  </a:lnTo>
                  <a:lnTo>
                    <a:pt x="3018" y="1932"/>
                  </a:lnTo>
                  <a:lnTo>
                    <a:pt x="3018" y="1926"/>
                  </a:lnTo>
                  <a:lnTo>
                    <a:pt x="3024" y="1926"/>
                  </a:lnTo>
                  <a:lnTo>
                    <a:pt x="3024" y="1920"/>
                  </a:lnTo>
                  <a:lnTo>
                    <a:pt x="3024" y="1914"/>
                  </a:lnTo>
                  <a:lnTo>
                    <a:pt x="3030" y="1914"/>
                  </a:lnTo>
                  <a:lnTo>
                    <a:pt x="3030" y="1908"/>
                  </a:lnTo>
                  <a:lnTo>
                    <a:pt x="3030" y="1902"/>
                  </a:lnTo>
                  <a:lnTo>
                    <a:pt x="3036" y="1896"/>
                  </a:lnTo>
                  <a:lnTo>
                    <a:pt x="3030" y="1890"/>
                  </a:lnTo>
                  <a:lnTo>
                    <a:pt x="3030" y="1884"/>
                  </a:lnTo>
                  <a:lnTo>
                    <a:pt x="3036" y="1884"/>
                  </a:lnTo>
                  <a:lnTo>
                    <a:pt x="3036" y="1878"/>
                  </a:lnTo>
                  <a:lnTo>
                    <a:pt x="3030" y="1878"/>
                  </a:lnTo>
                  <a:lnTo>
                    <a:pt x="3036" y="1878"/>
                  </a:lnTo>
                  <a:lnTo>
                    <a:pt x="3036" y="1884"/>
                  </a:lnTo>
                  <a:lnTo>
                    <a:pt x="3036" y="1878"/>
                  </a:lnTo>
                  <a:lnTo>
                    <a:pt x="3036" y="1884"/>
                  </a:lnTo>
                  <a:lnTo>
                    <a:pt x="3036" y="1878"/>
                  </a:lnTo>
                  <a:lnTo>
                    <a:pt x="3036" y="1872"/>
                  </a:lnTo>
                  <a:lnTo>
                    <a:pt x="3030" y="1872"/>
                  </a:lnTo>
                  <a:lnTo>
                    <a:pt x="3030" y="1866"/>
                  </a:lnTo>
                  <a:lnTo>
                    <a:pt x="3024" y="1866"/>
                  </a:lnTo>
                  <a:lnTo>
                    <a:pt x="3024" y="1860"/>
                  </a:lnTo>
                  <a:lnTo>
                    <a:pt x="3018" y="1860"/>
                  </a:lnTo>
                  <a:lnTo>
                    <a:pt x="3018" y="1854"/>
                  </a:lnTo>
                  <a:lnTo>
                    <a:pt x="3018" y="1848"/>
                  </a:lnTo>
                  <a:lnTo>
                    <a:pt x="3018" y="1842"/>
                  </a:lnTo>
                  <a:lnTo>
                    <a:pt x="3012" y="1842"/>
                  </a:lnTo>
                  <a:lnTo>
                    <a:pt x="3012" y="1836"/>
                  </a:lnTo>
                  <a:lnTo>
                    <a:pt x="3012" y="1830"/>
                  </a:lnTo>
                  <a:lnTo>
                    <a:pt x="3006" y="1830"/>
                  </a:lnTo>
                  <a:lnTo>
                    <a:pt x="3006" y="1836"/>
                  </a:lnTo>
                  <a:lnTo>
                    <a:pt x="3000" y="1836"/>
                  </a:lnTo>
                  <a:lnTo>
                    <a:pt x="3000" y="1842"/>
                  </a:lnTo>
                  <a:lnTo>
                    <a:pt x="3000" y="1848"/>
                  </a:lnTo>
                  <a:lnTo>
                    <a:pt x="2994" y="1848"/>
                  </a:lnTo>
                  <a:lnTo>
                    <a:pt x="2994" y="1854"/>
                  </a:lnTo>
                  <a:lnTo>
                    <a:pt x="2994" y="1860"/>
                  </a:lnTo>
                  <a:lnTo>
                    <a:pt x="2988" y="1866"/>
                  </a:lnTo>
                  <a:lnTo>
                    <a:pt x="2994" y="1866"/>
                  </a:lnTo>
                  <a:lnTo>
                    <a:pt x="2988" y="1872"/>
                  </a:lnTo>
                  <a:lnTo>
                    <a:pt x="2988" y="1878"/>
                  </a:lnTo>
                  <a:lnTo>
                    <a:pt x="2988" y="1884"/>
                  </a:lnTo>
                  <a:lnTo>
                    <a:pt x="2982" y="1884"/>
                  </a:lnTo>
                  <a:lnTo>
                    <a:pt x="2982" y="1890"/>
                  </a:lnTo>
                  <a:lnTo>
                    <a:pt x="2976" y="1896"/>
                  </a:lnTo>
                  <a:lnTo>
                    <a:pt x="2982" y="1896"/>
                  </a:lnTo>
                  <a:lnTo>
                    <a:pt x="2976" y="1896"/>
                  </a:lnTo>
                  <a:lnTo>
                    <a:pt x="2976" y="1902"/>
                  </a:lnTo>
                  <a:lnTo>
                    <a:pt x="2976" y="1908"/>
                  </a:lnTo>
                  <a:lnTo>
                    <a:pt x="2970" y="1908"/>
                  </a:lnTo>
                  <a:lnTo>
                    <a:pt x="2964" y="1908"/>
                  </a:lnTo>
                  <a:lnTo>
                    <a:pt x="2964" y="1902"/>
                  </a:lnTo>
                  <a:lnTo>
                    <a:pt x="2958" y="1902"/>
                  </a:lnTo>
                  <a:lnTo>
                    <a:pt x="2952" y="1902"/>
                  </a:lnTo>
                  <a:lnTo>
                    <a:pt x="2946" y="1908"/>
                  </a:lnTo>
                  <a:lnTo>
                    <a:pt x="2940" y="1908"/>
                  </a:lnTo>
                  <a:lnTo>
                    <a:pt x="2934" y="1914"/>
                  </a:lnTo>
                  <a:lnTo>
                    <a:pt x="2928" y="1914"/>
                  </a:lnTo>
                  <a:lnTo>
                    <a:pt x="2922" y="1914"/>
                  </a:lnTo>
                  <a:lnTo>
                    <a:pt x="2916" y="1914"/>
                  </a:lnTo>
                  <a:lnTo>
                    <a:pt x="2916" y="1920"/>
                  </a:lnTo>
                  <a:lnTo>
                    <a:pt x="2910" y="1920"/>
                  </a:lnTo>
                  <a:lnTo>
                    <a:pt x="2910" y="1914"/>
                  </a:lnTo>
                  <a:lnTo>
                    <a:pt x="2910" y="1908"/>
                  </a:lnTo>
                  <a:lnTo>
                    <a:pt x="2916" y="1908"/>
                  </a:lnTo>
                  <a:lnTo>
                    <a:pt x="2922" y="1902"/>
                  </a:lnTo>
                  <a:lnTo>
                    <a:pt x="2916" y="1902"/>
                  </a:lnTo>
                  <a:lnTo>
                    <a:pt x="2922" y="1902"/>
                  </a:lnTo>
                  <a:lnTo>
                    <a:pt x="2922" y="1896"/>
                  </a:lnTo>
                  <a:lnTo>
                    <a:pt x="2916" y="1896"/>
                  </a:lnTo>
                  <a:lnTo>
                    <a:pt x="2922" y="1896"/>
                  </a:lnTo>
                  <a:lnTo>
                    <a:pt x="2922" y="1890"/>
                  </a:lnTo>
                  <a:lnTo>
                    <a:pt x="2928" y="1890"/>
                  </a:lnTo>
                  <a:lnTo>
                    <a:pt x="2934" y="1890"/>
                  </a:lnTo>
                  <a:lnTo>
                    <a:pt x="2940" y="1890"/>
                  </a:lnTo>
                  <a:lnTo>
                    <a:pt x="2946" y="1890"/>
                  </a:lnTo>
                  <a:lnTo>
                    <a:pt x="2952" y="1890"/>
                  </a:lnTo>
                  <a:lnTo>
                    <a:pt x="2958" y="1890"/>
                  </a:lnTo>
                  <a:lnTo>
                    <a:pt x="2958" y="1884"/>
                  </a:lnTo>
                  <a:lnTo>
                    <a:pt x="2958" y="1878"/>
                  </a:lnTo>
                  <a:lnTo>
                    <a:pt x="2964" y="1872"/>
                  </a:lnTo>
                  <a:lnTo>
                    <a:pt x="2964" y="1866"/>
                  </a:lnTo>
                  <a:lnTo>
                    <a:pt x="2964" y="1860"/>
                  </a:lnTo>
                  <a:lnTo>
                    <a:pt x="2964" y="1854"/>
                  </a:lnTo>
                  <a:lnTo>
                    <a:pt x="2958" y="1854"/>
                  </a:lnTo>
                  <a:lnTo>
                    <a:pt x="2958" y="1848"/>
                  </a:lnTo>
                  <a:lnTo>
                    <a:pt x="2964" y="1848"/>
                  </a:lnTo>
                  <a:lnTo>
                    <a:pt x="2964" y="1842"/>
                  </a:lnTo>
                  <a:lnTo>
                    <a:pt x="2964" y="1836"/>
                  </a:lnTo>
                  <a:lnTo>
                    <a:pt x="2964" y="1830"/>
                  </a:lnTo>
                  <a:lnTo>
                    <a:pt x="2970" y="1830"/>
                  </a:lnTo>
                  <a:lnTo>
                    <a:pt x="2970" y="1824"/>
                  </a:lnTo>
                  <a:lnTo>
                    <a:pt x="2970" y="1818"/>
                  </a:lnTo>
                  <a:lnTo>
                    <a:pt x="2976" y="1818"/>
                  </a:lnTo>
                  <a:lnTo>
                    <a:pt x="2976" y="1812"/>
                  </a:lnTo>
                  <a:lnTo>
                    <a:pt x="2976" y="1806"/>
                  </a:lnTo>
                  <a:lnTo>
                    <a:pt x="2982" y="1806"/>
                  </a:lnTo>
                  <a:lnTo>
                    <a:pt x="2982" y="1800"/>
                  </a:lnTo>
                  <a:lnTo>
                    <a:pt x="2988" y="1800"/>
                  </a:lnTo>
                  <a:lnTo>
                    <a:pt x="2988" y="1794"/>
                  </a:lnTo>
                  <a:lnTo>
                    <a:pt x="2988" y="1800"/>
                  </a:lnTo>
                  <a:lnTo>
                    <a:pt x="2988" y="1794"/>
                  </a:lnTo>
                  <a:lnTo>
                    <a:pt x="2994" y="1794"/>
                  </a:lnTo>
                  <a:lnTo>
                    <a:pt x="2994" y="1788"/>
                  </a:lnTo>
                  <a:lnTo>
                    <a:pt x="3000" y="1788"/>
                  </a:lnTo>
                  <a:lnTo>
                    <a:pt x="3000" y="1794"/>
                  </a:lnTo>
                  <a:lnTo>
                    <a:pt x="3000" y="1788"/>
                  </a:lnTo>
                  <a:lnTo>
                    <a:pt x="3000" y="1794"/>
                  </a:lnTo>
                  <a:lnTo>
                    <a:pt x="3000" y="1788"/>
                  </a:lnTo>
                  <a:lnTo>
                    <a:pt x="3006" y="1788"/>
                  </a:lnTo>
                  <a:lnTo>
                    <a:pt x="3000" y="1788"/>
                  </a:lnTo>
                  <a:lnTo>
                    <a:pt x="3000" y="1782"/>
                  </a:lnTo>
                  <a:lnTo>
                    <a:pt x="3000" y="1776"/>
                  </a:lnTo>
                  <a:lnTo>
                    <a:pt x="3000" y="1770"/>
                  </a:lnTo>
                  <a:lnTo>
                    <a:pt x="2994" y="1770"/>
                  </a:lnTo>
                  <a:lnTo>
                    <a:pt x="2994" y="1764"/>
                  </a:lnTo>
                  <a:lnTo>
                    <a:pt x="2994" y="1758"/>
                  </a:lnTo>
                  <a:lnTo>
                    <a:pt x="3000" y="1758"/>
                  </a:lnTo>
                  <a:lnTo>
                    <a:pt x="2994" y="1758"/>
                  </a:lnTo>
                  <a:lnTo>
                    <a:pt x="3000" y="1758"/>
                  </a:lnTo>
                  <a:lnTo>
                    <a:pt x="3006" y="1758"/>
                  </a:lnTo>
                  <a:lnTo>
                    <a:pt x="3006" y="1752"/>
                  </a:lnTo>
                  <a:lnTo>
                    <a:pt x="3012" y="1752"/>
                  </a:lnTo>
                  <a:lnTo>
                    <a:pt x="3006" y="1758"/>
                  </a:lnTo>
                  <a:lnTo>
                    <a:pt x="3012" y="1758"/>
                  </a:lnTo>
                  <a:lnTo>
                    <a:pt x="3012" y="1752"/>
                  </a:lnTo>
                  <a:lnTo>
                    <a:pt x="3012" y="1746"/>
                  </a:lnTo>
                  <a:lnTo>
                    <a:pt x="3006" y="1746"/>
                  </a:lnTo>
                  <a:lnTo>
                    <a:pt x="3006" y="1740"/>
                  </a:lnTo>
                  <a:lnTo>
                    <a:pt x="3006" y="1734"/>
                  </a:lnTo>
                  <a:lnTo>
                    <a:pt x="3006" y="1728"/>
                  </a:lnTo>
                  <a:lnTo>
                    <a:pt x="3006" y="1722"/>
                  </a:lnTo>
                  <a:lnTo>
                    <a:pt x="3000" y="1722"/>
                  </a:lnTo>
                  <a:lnTo>
                    <a:pt x="3000" y="1716"/>
                  </a:lnTo>
                  <a:lnTo>
                    <a:pt x="3000" y="1710"/>
                  </a:lnTo>
                  <a:lnTo>
                    <a:pt x="3000" y="1716"/>
                  </a:lnTo>
                  <a:lnTo>
                    <a:pt x="3000" y="1710"/>
                  </a:lnTo>
                  <a:lnTo>
                    <a:pt x="2994" y="1710"/>
                  </a:lnTo>
                  <a:lnTo>
                    <a:pt x="2994" y="1704"/>
                  </a:lnTo>
                  <a:lnTo>
                    <a:pt x="2994" y="1698"/>
                  </a:lnTo>
                  <a:lnTo>
                    <a:pt x="2994" y="1704"/>
                  </a:lnTo>
                  <a:lnTo>
                    <a:pt x="2994" y="1710"/>
                  </a:lnTo>
                  <a:lnTo>
                    <a:pt x="2994" y="1716"/>
                  </a:lnTo>
                  <a:lnTo>
                    <a:pt x="2994" y="1722"/>
                  </a:lnTo>
                  <a:lnTo>
                    <a:pt x="2994" y="1728"/>
                  </a:lnTo>
                  <a:lnTo>
                    <a:pt x="2994" y="1734"/>
                  </a:lnTo>
                  <a:lnTo>
                    <a:pt x="2994" y="1740"/>
                  </a:lnTo>
                  <a:lnTo>
                    <a:pt x="2994" y="1746"/>
                  </a:lnTo>
                  <a:lnTo>
                    <a:pt x="2988" y="1746"/>
                  </a:lnTo>
                  <a:lnTo>
                    <a:pt x="2988" y="1740"/>
                  </a:lnTo>
                  <a:lnTo>
                    <a:pt x="2982" y="1740"/>
                  </a:lnTo>
                  <a:lnTo>
                    <a:pt x="2982" y="1746"/>
                  </a:lnTo>
                  <a:lnTo>
                    <a:pt x="2976" y="1746"/>
                  </a:lnTo>
                  <a:lnTo>
                    <a:pt x="2976" y="1752"/>
                  </a:lnTo>
                  <a:lnTo>
                    <a:pt x="2970" y="1752"/>
                  </a:lnTo>
                  <a:lnTo>
                    <a:pt x="2970" y="1758"/>
                  </a:lnTo>
                  <a:lnTo>
                    <a:pt x="2970" y="1764"/>
                  </a:lnTo>
                  <a:lnTo>
                    <a:pt x="2964" y="1764"/>
                  </a:lnTo>
                  <a:lnTo>
                    <a:pt x="2964" y="1770"/>
                  </a:lnTo>
                  <a:lnTo>
                    <a:pt x="2964" y="1776"/>
                  </a:lnTo>
                  <a:lnTo>
                    <a:pt x="2958" y="1776"/>
                  </a:lnTo>
                  <a:lnTo>
                    <a:pt x="2958" y="1782"/>
                  </a:lnTo>
                  <a:lnTo>
                    <a:pt x="2952" y="1782"/>
                  </a:lnTo>
                  <a:lnTo>
                    <a:pt x="2952" y="1788"/>
                  </a:lnTo>
                  <a:lnTo>
                    <a:pt x="2952" y="1794"/>
                  </a:lnTo>
                  <a:lnTo>
                    <a:pt x="2946" y="1794"/>
                  </a:lnTo>
                  <a:lnTo>
                    <a:pt x="2946" y="1800"/>
                  </a:lnTo>
                  <a:lnTo>
                    <a:pt x="2940" y="1800"/>
                  </a:lnTo>
                  <a:lnTo>
                    <a:pt x="2934" y="1800"/>
                  </a:lnTo>
                  <a:lnTo>
                    <a:pt x="2928" y="1800"/>
                  </a:lnTo>
                  <a:lnTo>
                    <a:pt x="2928" y="1794"/>
                  </a:lnTo>
                  <a:lnTo>
                    <a:pt x="2928" y="1800"/>
                  </a:lnTo>
                  <a:lnTo>
                    <a:pt x="2922" y="1800"/>
                  </a:lnTo>
                  <a:lnTo>
                    <a:pt x="2922" y="1806"/>
                  </a:lnTo>
                  <a:lnTo>
                    <a:pt x="2928" y="1806"/>
                  </a:lnTo>
                  <a:lnTo>
                    <a:pt x="2928" y="1800"/>
                  </a:lnTo>
                  <a:lnTo>
                    <a:pt x="2922" y="1800"/>
                  </a:lnTo>
                  <a:lnTo>
                    <a:pt x="2928" y="1800"/>
                  </a:lnTo>
                  <a:lnTo>
                    <a:pt x="2928" y="1806"/>
                  </a:lnTo>
                  <a:lnTo>
                    <a:pt x="2922" y="1806"/>
                  </a:lnTo>
                  <a:lnTo>
                    <a:pt x="2916" y="1806"/>
                  </a:lnTo>
                  <a:lnTo>
                    <a:pt x="2910" y="1806"/>
                  </a:lnTo>
                  <a:lnTo>
                    <a:pt x="2910" y="1812"/>
                  </a:lnTo>
                  <a:lnTo>
                    <a:pt x="2904" y="1812"/>
                  </a:lnTo>
                  <a:lnTo>
                    <a:pt x="2898" y="1812"/>
                  </a:lnTo>
                  <a:lnTo>
                    <a:pt x="2898" y="1818"/>
                  </a:lnTo>
                  <a:lnTo>
                    <a:pt x="2892" y="1818"/>
                  </a:lnTo>
                  <a:lnTo>
                    <a:pt x="2892" y="1824"/>
                  </a:lnTo>
                  <a:lnTo>
                    <a:pt x="2886" y="1824"/>
                  </a:lnTo>
                  <a:lnTo>
                    <a:pt x="2880" y="1830"/>
                  </a:lnTo>
                  <a:lnTo>
                    <a:pt x="2880" y="1836"/>
                  </a:lnTo>
                  <a:lnTo>
                    <a:pt x="2874" y="1836"/>
                  </a:lnTo>
                  <a:lnTo>
                    <a:pt x="2874" y="1842"/>
                  </a:lnTo>
                  <a:lnTo>
                    <a:pt x="2868" y="1842"/>
                  </a:lnTo>
                  <a:lnTo>
                    <a:pt x="2868" y="1848"/>
                  </a:lnTo>
                  <a:lnTo>
                    <a:pt x="2862" y="1848"/>
                  </a:lnTo>
                  <a:lnTo>
                    <a:pt x="2862" y="1854"/>
                  </a:lnTo>
                  <a:lnTo>
                    <a:pt x="2862" y="1860"/>
                  </a:lnTo>
                  <a:lnTo>
                    <a:pt x="2862" y="1854"/>
                  </a:lnTo>
                  <a:lnTo>
                    <a:pt x="2856" y="1854"/>
                  </a:lnTo>
                  <a:lnTo>
                    <a:pt x="2856" y="1860"/>
                  </a:lnTo>
                  <a:lnTo>
                    <a:pt x="2850" y="1860"/>
                  </a:lnTo>
                  <a:lnTo>
                    <a:pt x="2850" y="1866"/>
                  </a:lnTo>
                  <a:lnTo>
                    <a:pt x="2844" y="1866"/>
                  </a:lnTo>
                  <a:lnTo>
                    <a:pt x="2850" y="1866"/>
                  </a:lnTo>
                  <a:lnTo>
                    <a:pt x="2850" y="1872"/>
                  </a:lnTo>
                  <a:lnTo>
                    <a:pt x="2850" y="1866"/>
                  </a:lnTo>
                  <a:lnTo>
                    <a:pt x="2844" y="1866"/>
                  </a:lnTo>
                  <a:lnTo>
                    <a:pt x="2844" y="1872"/>
                  </a:lnTo>
                  <a:lnTo>
                    <a:pt x="2844" y="1878"/>
                  </a:lnTo>
                  <a:lnTo>
                    <a:pt x="2838" y="1878"/>
                  </a:lnTo>
                  <a:lnTo>
                    <a:pt x="2838" y="1884"/>
                  </a:lnTo>
                  <a:lnTo>
                    <a:pt x="2844" y="1884"/>
                  </a:lnTo>
                  <a:lnTo>
                    <a:pt x="2844" y="1878"/>
                  </a:lnTo>
                  <a:lnTo>
                    <a:pt x="2850" y="1878"/>
                  </a:lnTo>
                  <a:lnTo>
                    <a:pt x="2856" y="1878"/>
                  </a:lnTo>
                  <a:lnTo>
                    <a:pt x="2850" y="1878"/>
                  </a:lnTo>
                  <a:lnTo>
                    <a:pt x="2856" y="1878"/>
                  </a:lnTo>
                  <a:lnTo>
                    <a:pt x="2856" y="1884"/>
                  </a:lnTo>
                  <a:lnTo>
                    <a:pt x="2850" y="1884"/>
                  </a:lnTo>
                  <a:lnTo>
                    <a:pt x="2850" y="1890"/>
                  </a:lnTo>
                  <a:lnTo>
                    <a:pt x="2850" y="1896"/>
                  </a:lnTo>
                  <a:lnTo>
                    <a:pt x="2844" y="1896"/>
                  </a:lnTo>
                  <a:lnTo>
                    <a:pt x="2844" y="1890"/>
                  </a:lnTo>
                  <a:lnTo>
                    <a:pt x="2844" y="1884"/>
                  </a:lnTo>
                  <a:lnTo>
                    <a:pt x="2838" y="1884"/>
                  </a:lnTo>
                  <a:lnTo>
                    <a:pt x="2832" y="1884"/>
                  </a:lnTo>
                  <a:lnTo>
                    <a:pt x="2832" y="1890"/>
                  </a:lnTo>
                  <a:lnTo>
                    <a:pt x="2826" y="1890"/>
                  </a:lnTo>
                  <a:lnTo>
                    <a:pt x="2832" y="1890"/>
                  </a:lnTo>
                  <a:lnTo>
                    <a:pt x="2826" y="1890"/>
                  </a:lnTo>
                  <a:lnTo>
                    <a:pt x="2826" y="1884"/>
                  </a:lnTo>
                  <a:lnTo>
                    <a:pt x="2820" y="1884"/>
                  </a:lnTo>
                  <a:lnTo>
                    <a:pt x="2814" y="1878"/>
                  </a:lnTo>
                  <a:lnTo>
                    <a:pt x="2814" y="1872"/>
                  </a:lnTo>
                  <a:lnTo>
                    <a:pt x="2808" y="1872"/>
                  </a:lnTo>
                  <a:lnTo>
                    <a:pt x="2802" y="1872"/>
                  </a:lnTo>
                  <a:lnTo>
                    <a:pt x="2808" y="1872"/>
                  </a:lnTo>
                  <a:lnTo>
                    <a:pt x="2808" y="1866"/>
                  </a:lnTo>
                  <a:lnTo>
                    <a:pt x="2802" y="1866"/>
                  </a:lnTo>
                  <a:lnTo>
                    <a:pt x="2802" y="1860"/>
                  </a:lnTo>
                  <a:lnTo>
                    <a:pt x="2796" y="1860"/>
                  </a:lnTo>
                  <a:lnTo>
                    <a:pt x="2790" y="1860"/>
                  </a:lnTo>
                  <a:lnTo>
                    <a:pt x="2790" y="1866"/>
                  </a:lnTo>
                  <a:lnTo>
                    <a:pt x="2790" y="1860"/>
                  </a:lnTo>
                  <a:lnTo>
                    <a:pt x="2796" y="1854"/>
                  </a:lnTo>
                  <a:lnTo>
                    <a:pt x="2796" y="1860"/>
                  </a:lnTo>
                  <a:lnTo>
                    <a:pt x="2802" y="1860"/>
                  </a:lnTo>
                  <a:lnTo>
                    <a:pt x="2808" y="1860"/>
                  </a:lnTo>
                  <a:lnTo>
                    <a:pt x="2802" y="1860"/>
                  </a:lnTo>
                  <a:lnTo>
                    <a:pt x="2802" y="1866"/>
                  </a:lnTo>
                  <a:lnTo>
                    <a:pt x="2808" y="1866"/>
                  </a:lnTo>
                  <a:lnTo>
                    <a:pt x="2814" y="1866"/>
                  </a:lnTo>
                  <a:lnTo>
                    <a:pt x="2820" y="1866"/>
                  </a:lnTo>
                  <a:lnTo>
                    <a:pt x="2814" y="1866"/>
                  </a:lnTo>
                  <a:lnTo>
                    <a:pt x="2814" y="1860"/>
                  </a:lnTo>
                  <a:lnTo>
                    <a:pt x="2808" y="1860"/>
                  </a:lnTo>
                  <a:lnTo>
                    <a:pt x="2814" y="1860"/>
                  </a:lnTo>
                  <a:lnTo>
                    <a:pt x="2814" y="1866"/>
                  </a:lnTo>
                  <a:lnTo>
                    <a:pt x="2808" y="1866"/>
                  </a:lnTo>
                  <a:lnTo>
                    <a:pt x="2814" y="1866"/>
                  </a:lnTo>
                  <a:lnTo>
                    <a:pt x="2808" y="1866"/>
                  </a:lnTo>
                  <a:lnTo>
                    <a:pt x="2808" y="1860"/>
                  </a:lnTo>
                  <a:lnTo>
                    <a:pt x="2808" y="1854"/>
                  </a:lnTo>
                  <a:lnTo>
                    <a:pt x="2808" y="1848"/>
                  </a:lnTo>
                  <a:lnTo>
                    <a:pt x="2808" y="1842"/>
                  </a:lnTo>
                  <a:lnTo>
                    <a:pt x="2808" y="1836"/>
                  </a:lnTo>
                  <a:lnTo>
                    <a:pt x="2802" y="1836"/>
                  </a:lnTo>
                  <a:lnTo>
                    <a:pt x="2802" y="1830"/>
                  </a:lnTo>
                  <a:lnTo>
                    <a:pt x="2802" y="1836"/>
                  </a:lnTo>
                  <a:lnTo>
                    <a:pt x="2802" y="1830"/>
                  </a:lnTo>
                  <a:lnTo>
                    <a:pt x="2802" y="1824"/>
                  </a:lnTo>
                  <a:lnTo>
                    <a:pt x="2802" y="1818"/>
                  </a:lnTo>
                  <a:lnTo>
                    <a:pt x="2802" y="1812"/>
                  </a:lnTo>
                  <a:lnTo>
                    <a:pt x="2796" y="1812"/>
                  </a:lnTo>
                  <a:lnTo>
                    <a:pt x="2796" y="1806"/>
                  </a:lnTo>
                  <a:lnTo>
                    <a:pt x="2790" y="1806"/>
                  </a:lnTo>
                  <a:lnTo>
                    <a:pt x="2790" y="1800"/>
                  </a:lnTo>
                  <a:lnTo>
                    <a:pt x="2784" y="1800"/>
                  </a:lnTo>
                  <a:lnTo>
                    <a:pt x="2784" y="1794"/>
                  </a:lnTo>
                  <a:lnTo>
                    <a:pt x="2778" y="1794"/>
                  </a:lnTo>
                  <a:lnTo>
                    <a:pt x="2772" y="1794"/>
                  </a:lnTo>
                  <a:lnTo>
                    <a:pt x="2778" y="1794"/>
                  </a:lnTo>
                  <a:lnTo>
                    <a:pt x="2778" y="1788"/>
                  </a:lnTo>
                  <a:lnTo>
                    <a:pt x="2778" y="1782"/>
                  </a:lnTo>
                  <a:lnTo>
                    <a:pt x="2778" y="1776"/>
                  </a:lnTo>
                  <a:lnTo>
                    <a:pt x="2772" y="1770"/>
                  </a:lnTo>
                  <a:lnTo>
                    <a:pt x="2772" y="1764"/>
                  </a:lnTo>
                  <a:lnTo>
                    <a:pt x="2766" y="1764"/>
                  </a:lnTo>
                  <a:lnTo>
                    <a:pt x="2772" y="1764"/>
                  </a:lnTo>
                  <a:lnTo>
                    <a:pt x="2772" y="1758"/>
                  </a:lnTo>
                  <a:lnTo>
                    <a:pt x="2766" y="1758"/>
                  </a:lnTo>
                  <a:lnTo>
                    <a:pt x="2772" y="1758"/>
                  </a:lnTo>
                  <a:lnTo>
                    <a:pt x="2766" y="1758"/>
                  </a:lnTo>
                  <a:lnTo>
                    <a:pt x="2772" y="1758"/>
                  </a:lnTo>
                  <a:lnTo>
                    <a:pt x="2766" y="1758"/>
                  </a:lnTo>
                  <a:lnTo>
                    <a:pt x="2760" y="1758"/>
                  </a:lnTo>
                  <a:lnTo>
                    <a:pt x="2766" y="1758"/>
                  </a:lnTo>
                  <a:lnTo>
                    <a:pt x="2760" y="1758"/>
                  </a:lnTo>
                  <a:lnTo>
                    <a:pt x="2766" y="1764"/>
                  </a:lnTo>
                  <a:lnTo>
                    <a:pt x="2760" y="1764"/>
                  </a:lnTo>
                  <a:lnTo>
                    <a:pt x="2760" y="1758"/>
                  </a:lnTo>
                  <a:lnTo>
                    <a:pt x="2754" y="1758"/>
                  </a:lnTo>
                  <a:lnTo>
                    <a:pt x="2748" y="1758"/>
                  </a:lnTo>
                  <a:lnTo>
                    <a:pt x="2742" y="1758"/>
                  </a:lnTo>
                  <a:lnTo>
                    <a:pt x="2742" y="1752"/>
                  </a:lnTo>
                  <a:lnTo>
                    <a:pt x="2736" y="1752"/>
                  </a:lnTo>
                  <a:lnTo>
                    <a:pt x="2742" y="1752"/>
                  </a:lnTo>
                  <a:lnTo>
                    <a:pt x="2736" y="1752"/>
                  </a:lnTo>
                  <a:lnTo>
                    <a:pt x="2736" y="1746"/>
                  </a:lnTo>
                  <a:lnTo>
                    <a:pt x="2742" y="1746"/>
                  </a:lnTo>
                  <a:lnTo>
                    <a:pt x="2736" y="1746"/>
                  </a:lnTo>
                  <a:lnTo>
                    <a:pt x="2736" y="1752"/>
                  </a:lnTo>
                  <a:lnTo>
                    <a:pt x="2742" y="1752"/>
                  </a:lnTo>
                  <a:lnTo>
                    <a:pt x="2742" y="1758"/>
                  </a:lnTo>
                  <a:lnTo>
                    <a:pt x="2736" y="1758"/>
                  </a:lnTo>
                  <a:lnTo>
                    <a:pt x="2736" y="1752"/>
                  </a:lnTo>
                  <a:lnTo>
                    <a:pt x="2736" y="1746"/>
                  </a:lnTo>
                  <a:lnTo>
                    <a:pt x="2730" y="1746"/>
                  </a:lnTo>
                  <a:lnTo>
                    <a:pt x="2736" y="1740"/>
                  </a:lnTo>
                  <a:lnTo>
                    <a:pt x="2730" y="1740"/>
                  </a:lnTo>
                  <a:lnTo>
                    <a:pt x="2724" y="1740"/>
                  </a:lnTo>
                  <a:lnTo>
                    <a:pt x="2724" y="1734"/>
                  </a:lnTo>
                  <a:lnTo>
                    <a:pt x="2730" y="1734"/>
                  </a:lnTo>
                  <a:lnTo>
                    <a:pt x="2730" y="1728"/>
                  </a:lnTo>
                  <a:lnTo>
                    <a:pt x="2724" y="1728"/>
                  </a:lnTo>
                  <a:lnTo>
                    <a:pt x="2724" y="1722"/>
                  </a:lnTo>
                  <a:lnTo>
                    <a:pt x="2730" y="1722"/>
                  </a:lnTo>
                  <a:lnTo>
                    <a:pt x="2736" y="1722"/>
                  </a:lnTo>
                  <a:lnTo>
                    <a:pt x="2730" y="1722"/>
                  </a:lnTo>
                  <a:lnTo>
                    <a:pt x="2736" y="1728"/>
                  </a:lnTo>
                  <a:lnTo>
                    <a:pt x="2736" y="1722"/>
                  </a:lnTo>
                  <a:lnTo>
                    <a:pt x="2742" y="1722"/>
                  </a:lnTo>
                  <a:lnTo>
                    <a:pt x="2742" y="1716"/>
                  </a:lnTo>
                  <a:lnTo>
                    <a:pt x="2742" y="1710"/>
                  </a:lnTo>
                  <a:lnTo>
                    <a:pt x="2736" y="1710"/>
                  </a:lnTo>
                  <a:lnTo>
                    <a:pt x="2736" y="1704"/>
                  </a:lnTo>
                  <a:lnTo>
                    <a:pt x="2730" y="1704"/>
                  </a:lnTo>
                  <a:lnTo>
                    <a:pt x="2724" y="1704"/>
                  </a:lnTo>
                  <a:lnTo>
                    <a:pt x="2730" y="1704"/>
                  </a:lnTo>
                  <a:lnTo>
                    <a:pt x="2724" y="1704"/>
                  </a:lnTo>
                  <a:lnTo>
                    <a:pt x="2718" y="1704"/>
                  </a:lnTo>
                  <a:lnTo>
                    <a:pt x="2718" y="1710"/>
                  </a:lnTo>
                  <a:lnTo>
                    <a:pt x="2718" y="1704"/>
                  </a:lnTo>
                  <a:lnTo>
                    <a:pt x="2712" y="1704"/>
                  </a:lnTo>
                  <a:lnTo>
                    <a:pt x="2712" y="1710"/>
                  </a:lnTo>
                  <a:lnTo>
                    <a:pt x="2712" y="1704"/>
                  </a:lnTo>
                  <a:lnTo>
                    <a:pt x="2712" y="1698"/>
                  </a:lnTo>
                  <a:lnTo>
                    <a:pt x="2712" y="1704"/>
                  </a:lnTo>
                  <a:lnTo>
                    <a:pt x="2718" y="1704"/>
                  </a:lnTo>
                  <a:lnTo>
                    <a:pt x="2718" y="1698"/>
                  </a:lnTo>
                  <a:lnTo>
                    <a:pt x="2718" y="1692"/>
                  </a:lnTo>
                  <a:lnTo>
                    <a:pt x="2712" y="1692"/>
                  </a:lnTo>
                  <a:lnTo>
                    <a:pt x="2712" y="1686"/>
                  </a:lnTo>
                  <a:lnTo>
                    <a:pt x="2706" y="1686"/>
                  </a:lnTo>
                  <a:lnTo>
                    <a:pt x="2712" y="1686"/>
                  </a:lnTo>
                  <a:lnTo>
                    <a:pt x="2706" y="1686"/>
                  </a:lnTo>
                  <a:lnTo>
                    <a:pt x="2706" y="1692"/>
                  </a:lnTo>
                  <a:lnTo>
                    <a:pt x="2706" y="1686"/>
                  </a:lnTo>
                  <a:lnTo>
                    <a:pt x="2700" y="1686"/>
                  </a:lnTo>
                  <a:lnTo>
                    <a:pt x="2706" y="1686"/>
                  </a:lnTo>
                  <a:lnTo>
                    <a:pt x="2700" y="1686"/>
                  </a:lnTo>
                  <a:lnTo>
                    <a:pt x="2700" y="1680"/>
                  </a:lnTo>
                  <a:lnTo>
                    <a:pt x="2694" y="1680"/>
                  </a:lnTo>
                  <a:lnTo>
                    <a:pt x="2700" y="1680"/>
                  </a:lnTo>
                  <a:lnTo>
                    <a:pt x="2700" y="1674"/>
                  </a:lnTo>
                  <a:lnTo>
                    <a:pt x="2700" y="1680"/>
                  </a:lnTo>
                  <a:lnTo>
                    <a:pt x="2700" y="1674"/>
                  </a:lnTo>
                  <a:lnTo>
                    <a:pt x="2694" y="1674"/>
                  </a:lnTo>
                  <a:lnTo>
                    <a:pt x="2694" y="1680"/>
                  </a:lnTo>
                  <a:lnTo>
                    <a:pt x="2688" y="1680"/>
                  </a:lnTo>
                  <a:lnTo>
                    <a:pt x="2682" y="1680"/>
                  </a:lnTo>
                  <a:lnTo>
                    <a:pt x="2688" y="1680"/>
                  </a:lnTo>
                  <a:lnTo>
                    <a:pt x="2682" y="1674"/>
                  </a:lnTo>
                  <a:lnTo>
                    <a:pt x="2682" y="1680"/>
                  </a:lnTo>
                  <a:lnTo>
                    <a:pt x="2676" y="1680"/>
                  </a:lnTo>
                  <a:lnTo>
                    <a:pt x="2682" y="1680"/>
                  </a:lnTo>
                  <a:lnTo>
                    <a:pt x="2676" y="1680"/>
                  </a:lnTo>
                  <a:lnTo>
                    <a:pt x="2682" y="1680"/>
                  </a:lnTo>
                  <a:lnTo>
                    <a:pt x="2682" y="1686"/>
                  </a:lnTo>
                  <a:lnTo>
                    <a:pt x="2688" y="1686"/>
                  </a:lnTo>
                  <a:lnTo>
                    <a:pt x="2682" y="1686"/>
                  </a:lnTo>
                  <a:lnTo>
                    <a:pt x="2682" y="1680"/>
                  </a:lnTo>
                  <a:lnTo>
                    <a:pt x="2682" y="1686"/>
                  </a:lnTo>
                  <a:lnTo>
                    <a:pt x="2676" y="1686"/>
                  </a:lnTo>
                  <a:lnTo>
                    <a:pt x="2676" y="1680"/>
                  </a:lnTo>
                  <a:lnTo>
                    <a:pt x="2670" y="1680"/>
                  </a:lnTo>
                  <a:lnTo>
                    <a:pt x="2670" y="1686"/>
                  </a:lnTo>
                  <a:lnTo>
                    <a:pt x="2664" y="1686"/>
                  </a:lnTo>
                  <a:lnTo>
                    <a:pt x="2664" y="1680"/>
                  </a:lnTo>
                  <a:lnTo>
                    <a:pt x="2658" y="1680"/>
                  </a:lnTo>
                  <a:lnTo>
                    <a:pt x="2658" y="1686"/>
                  </a:lnTo>
                  <a:lnTo>
                    <a:pt x="2658" y="1680"/>
                  </a:lnTo>
                  <a:lnTo>
                    <a:pt x="2652" y="1674"/>
                  </a:lnTo>
                  <a:lnTo>
                    <a:pt x="2646" y="1674"/>
                  </a:lnTo>
                  <a:lnTo>
                    <a:pt x="2640" y="1668"/>
                  </a:lnTo>
                  <a:lnTo>
                    <a:pt x="2634" y="1668"/>
                  </a:lnTo>
                  <a:lnTo>
                    <a:pt x="2634" y="1662"/>
                  </a:lnTo>
                  <a:lnTo>
                    <a:pt x="2628" y="1668"/>
                  </a:lnTo>
                  <a:lnTo>
                    <a:pt x="2628" y="1662"/>
                  </a:lnTo>
                  <a:lnTo>
                    <a:pt x="2628" y="1668"/>
                  </a:lnTo>
                  <a:lnTo>
                    <a:pt x="2628" y="1662"/>
                  </a:lnTo>
                  <a:lnTo>
                    <a:pt x="2622" y="1662"/>
                  </a:lnTo>
                  <a:lnTo>
                    <a:pt x="2616" y="1662"/>
                  </a:lnTo>
                  <a:lnTo>
                    <a:pt x="2610" y="1668"/>
                  </a:lnTo>
                  <a:lnTo>
                    <a:pt x="2610" y="1674"/>
                  </a:lnTo>
                  <a:lnTo>
                    <a:pt x="2610" y="1668"/>
                  </a:lnTo>
                  <a:lnTo>
                    <a:pt x="2604" y="1668"/>
                  </a:lnTo>
                  <a:lnTo>
                    <a:pt x="2604" y="1674"/>
                  </a:lnTo>
                  <a:lnTo>
                    <a:pt x="2598" y="1668"/>
                  </a:lnTo>
                  <a:lnTo>
                    <a:pt x="2598" y="1674"/>
                  </a:lnTo>
                  <a:lnTo>
                    <a:pt x="2598" y="1668"/>
                  </a:lnTo>
                  <a:lnTo>
                    <a:pt x="2598" y="1674"/>
                  </a:lnTo>
                  <a:lnTo>
                    <a:pt x="2592" y="1668"/>
                  </a:lnTo>
                  <a:lnTo>
                    <a:pt x="2592" y="1674"/>
                  </a:lnTo>
                  <a:lnTo>
                    <a:pt x="2592" y="1668"/>
                  </a:lnTo>
                  <a:lnTo>
                    <a:pt x="2586" y="1668"/>
                  </a:lnTo>
                  <a:lnTo>
                    <a:pt x="2586" y="1662"/>
                  </a:lnTo>
                  <a:lnTo>
                    <a:pt x="2580" y="1662"/>
                  </a:lnTo>
                  <a:lnTo>
                    <a:pt x="2580" y="1656"/>
                  </a:lnTo>
                  <a:lnTo>
                    <a:pt x="2574" y="1656"/>
                  </a:lnTo>
                  <a:lnTo>
                    <a:pt x="2568" y="1656"/>
                  </a:lnTo>
                  <a:lnTo>
                    <a:pt x="2568" y="1650"/>
                  </a:lnTo>
                  <a:lnTo>
                    <a:pt x="2562" y="1650"/>
                  </a:lnTo>
                  <a:lnTo>
                    <a:pt x="2562" y="1644"/>
                  </a:lnTo>
                  <a:lnTo>
                    <a:pt x="2556" y="1644"/>
                  </a:lnTo>
                  <a:lnTo>
                    <a:pt x="2550" y="1644"/>
                  </a:lnTo>
                  <a:lnTo>
                    <a:pt x="2550" y="1638"/>
                  </a:lnTo>
                  <a:lnTo>
                    <a:pt x="2544" y="1638"/>
                  </a:lnTo>
                  <a:lnTo>
                    <a:pt x="2538" y="1638"/>
                  </a:lnTo>
                  <a:lnTo>
                    <a:pt x="2532" y="1638"/>
                  </a:lnTo>
                  <a:lnTo>
                    <a:pt x="2532" y="1632"/>
                  </a:lnTo>
                  <a:lnTo>
                    <a:pt x="2526" y="1632"/>
                  </a:lnTo>
                  <a:lnTo>
                    <a:pt x="2520" y="1632"/>
                  </a:lnTo>
                  <a:lnTo>
                    <a:pt x="2520" y="1626"/>
                  </a:lnTo>
                  <a:lnTo>
                    <a:pt x="2514" y="1626"/>
                  </a:lnTo>
                  <a:lnTo>
                    <a:pt x="2514" y="1632"/>
                  </a:lnTo>
                  <a:lnTo>
                    <a:pt x="2508" y="1632"/>
                  </a:lnTo>
                  <a:lnTo>
                    <a:pt x="2508" y="1638"/>
                  </a:lnTo>
                  <a:lnTo>
                    <a:pt x="2502" y="1638"/>
                  </a:lnTo>
                  <a:lnTo>
                    <a:pt x="2496" y="1638"/>
                  </a:lnTo>
                  <a:lnTo>
                    <a:pt x="2490" y="1638"/>
                  </a:lnTo>
                  <a:lnTo>
                    <a:pt x="2484" y="1638"/>
                  </a:lnTo>
                  <a:lnTo>
                    <a:pt x="2478" y="1638"/>
                  </a:lnTo>
                  <a:lnTo>
                    <a:pt x="2472" y="1638"/>
                  </a:lnTo>
                  <a:lnTo>
                    <a:pt x="2466" y="1638"/>
                  </a:lnTo>
                  <a:lnTo>
                    <a:pt x="2460" y="1638"/>
                  </a:lnTo>
                  <a:lnTo>
                    <a:pt x="2454" y="1638"/>
                  </a:lnTo>
                  <a:lnTo>
                    <a:pt x="2448" y="1638"/>
                  </a:lnTo>
                  <a:lnTo>
                    <a:pt x="2442" y="1638"/>
                  </a:lnTo>
                  <a:lnTo>
                    <a:pt x="2436" y="1638"/>
                  </a:lnTo>
                  <a:lnTo>
                    <a:pt x="2430" y="1638"/>
                  </a:lnTo>
                  <a:lnTo>
                    <a:pt x="2424" y="1638"/>
                  </a:lnTo>
                  <a:lnTo>
                    <a:pt x="2418" y="1638"/>
                  </a:lnTo>
                  <a:lnTo>
                    <a:pt x="2412" y="1638"/>
                  </a:lnTo>
                  <a:lnTo>
                    <a:pt x="2406" y="1638"/>
                  </a:lnTo>
                  <a:lnTo>
                    <a:pt x="2400" y="1638"/>
                  </a:lnTo>
                  <a:lnTo>
                    <a:pt x="2394" y="1644"/>
                  </a:lnTo>
                  <a:lnTo>
                    <a:pt x="2388" y="1644"/>
                  </a:lnTo>
                  <a:lnTo>
                    <a:pt x="2382" y="1644"/>
                  </a:lnTo>
                  <a:lnTo>
                    <a:pt x="2376" y="1644"/>
                  </a:lnTo>
                  <a:lnTo>
                    <a:pt x="2370" y="1644"/>
                  </a:lnTo>
                  <a:lnTo>
                    <a:pt x="2364" y="1644"/>
                  </a:lnTo>
                  <a:lnTo>
                    <a:pt x="2358" y="1644"/>
                  </a:lnTo>
                  <a:lnTo>
                    <a:pt x="2352" y="1644"/>
                  </a:lnTo>
                  <a:lnTo>
                    <a:pt x="2352" y="1650"/>
                  </a:lnTo>
                  <a:lnTo>
                    <a:pt x="2346" y="1650"/>
                  </a:lnTo>
                  <a:lnTo>
                    <a:pt x="2340" y="1650"/>
                  </a:lnTo>
                  <a:lnTo>
                    <a:pt x="2340" y="1656"/>
                  </a:lnTo>
                  <a:lnTo>
                    <a:pt x="2334" y="1656"/>
                  </a:lnTo>
                  <a:lnTo>
                    <a:pt x="2328" y="1656"/>
                  </a:lnTo>
                  <a:lnTo>
                    <a:pt x="2328" y="1662"/>
                  </a:lnTo>
                  <a:lnTo>
                    <a:pt x="2322" y="1662"/>
                  </a:lnTo>
                  <a:lnTo>
                    <a:pt x="2316" y="1662"/>
                  </a:lnTo>
                  <a:lnTo>
                    <a:pt x="2310" y="1668"/>
                  </a:lnTo>
                  <a:lnTo>
                    <a:pt x="2304" y="1668"/>
                  </a:lnTo>
                  <a:lnTo>
                    <a:pt x="2298" y="1668"/>
                  </a:lnTo>
                  <a:lnTo>
                    <a:pt x="2298" y="1674"/>
                  </a:lnTo>
                  <a:lnTo>
                    <a:pt x="2292" y="1674"/>
                  </a:lnTo>
                  <a:lnTo>
                    <a:pt x="2286" y="1674"/>
                  </a:lnTo>
                  <a:lnTo>
                    <a:pt x="2280" y="1674"/>
                  </a:lnTo>
                  <a:lnTo>
                    <a:pt x="2274" y="1674"/>
                  </a:lnTo>
                  <a:lnTo>
                    <a:pt x="2274" y="1680"/>
                  </a:lnTo>
                  <a:lnTo>
                    <a:pt x="2268" y="1680"/>
                  </a:lnTo>
                  <a:lnTo>
                    <a:pt x="2262" y="1680"/>
                  </a:lnTo>
                  <a:lnTo>
                    <a:pt x="2256" y="1680"/>
                  </a:lnTo>
                  <a:lnTo>
                    <a:pt x="2250" y="1686"/>
                  </a:lnTo>
                  <a:lnTo>
                    <a:pt x="2244" y="1686"/>
                  </a:lnTo>
                  <a:lnTo>
                    <a:pt x="2238" y="1686"/>
                  </a:lnTo>
                  <a:lnTo>
                    <a:pt x="2232" y="1686"/>
                  </a:lnTo>
                  <a:lnTo>
                    <a:pt x="2232" y="1692"/>
                  </a:lnTo>
                  <a:lnTo>
                    <a:pt x="2226" y="1692"/>
                  </a:lnTo>
                  <a:lnTo>
                    <a:pt x="2220" y="1692"/>
                  </a:lnTo>
                  <a:lnTo>
                    <a:pt x="2214" y="1692"/>
                  </a:lnTo>
                  <a:lnTo>
                    <a:pt x="2208" y="1692"/>
                  </a:lnTo>
                  <a:lnTo>
                    <a:pt x="2202" y="1692"/>
                  </a:lnTo>
                  <a:lnTo>
                    <a:pt x="2196" y="1692"/>
                  </a:lnTo>
                  <a:lnTo>
                    <a:pt x="2190" y="1692"/>
                  </a:lnTo>
                  <a:lnTo>
                    <a:pt x="2184" y="1692"/>
                  </a:lnTo>
                  <a:lnTo>
                    <a:pt x="2178" y="1692"/>
                  </a:lnTo>
                  <a:lnTo>
                    <a:pt x="2172" y="1692"/>
                  </a:lnTo>
                  <a:lnTo>
                    <a:pt x="2166" y="1692"/>
                  </a:lnTo>
                  <a:lnTo>
                    <a:pt x="2160" y="1692"/>
                  </a:lnTo>
                  <a:lnTo>
                    <a:pt x="2160" y="1686"/>
                  </a:lnTo>
                  <a:lnTo>
                    <a:pt x="2154" y="1686"/>
                  </a:lnTo>
                  <a:lnTo>
                    <a:pt x="2148" y="1686"/>
                  </a:lnTo>
                  <a:lnTo>
                    <a:pt x="2142" y="1692"/>
                  </a:lnTo>
                  <a:lnTo>
                    <a:pt x="2136" y="1692"/>
                  </a:lnTo>
                  <a:lnTo>
                    <a:pt x="2130" y="1692"/>
                  </a:lnTo>
                  <a:lnTo>
                    <a:pt x="2130" y="1698"/>
                  </a:lnTo>
                  <a:lnTo>
                    <a:pt x="2124" y="1698"/>
                  </a:lnTo>
                  <a:lnTo>
                    <a:pt x="2118" y="1698"/>
                  </a:lnTo>
                  <a:lnTo>
                    <a:pt x="2118" y="1704"/>
                  </a:lnTo>
                  <a:lnTo>
                    <a:pt x="2112" y="1704"/>
                  </a:lnTo>
                  <a:lnTo>
                    <a:pt x="2106" y="1710"/>
                  </a:lnTo>
                  <a:lnTo>
                    <a:pt x="2100" y="1710"/>
                  </a:lnTo>
                  <a:lnTo>
                    <a:pt x="2094" y="1716"/>
                  </a:lnTo>
                  <a:lnTo>
                    <a:pt x="2088" y="1716"/>
                  </a:lnTo>
                  <a:lnTo>
                    <a:pt x="2082" y="1716"/>
                  </a:lnTo>
                  <a:lnTo>
                    <a:pt x="2076" y="1722"/>
                  </a:lnTo>
                  <a:lnTo>
                    <a:pt x="2070" y="1722"/>
                  </a:lnTo>
                  <a:lnTo>
                    <a:pt x="2064" y="1722"/>
                  </a:lnTo>
                  <a:lnTo>
                    <a:pt x="2064" y="1728"/>
                  </a:lnTo>
                  <a:lnTo>
                    <a:pt x="2058" y="1728"/>
                  </a:lnTo>
                  <a:lnTo>
                    <a:pt x="2058" y="1734"/>
                  </a:lnTo>
                  <a:lnTo>
                    <a:pt x="2052" y="1734"/>
                  </a:lnTo>
                  <a:lnTo>
                    <a:pt x="2046" y="1734"/>
                  </a:lnTo>
                  <a:lnTo>
                    <a:pt x="2046" y="1740"/>
                  </a:lnTo>
                  <a:lnTo>
                    <a:pt x="2040" y="1740"/>
                  </a:lnTo>
                  <a:lnTo>
                    <a:pt x="2034" y="1740"/>
                  </a:lnTo>
                  <a:lnTo>
                    <a:pt x="2028" y="1740"/>
                  </a:lnTo>
                  <a:lnTo>
                    <a:pt x="2022" y="1740"/>
                  </a:lnTo>
                  <a:lnTo>
                    <a:pt x="2016" y="1740"/>
                  </a:lnTo>
                  <a:lnTo>
                    <a:pt x="2010" y="1740"/>
                  </a:lnTo>
                  <a:lnTo>
                    <a:pt x="2010" y="1746"/>
                  </a:lnTo>
                  <a:lnTo>
                    <a:pt x="2004" y="1746"/>
                  </a:lnTo>
                  <a:lnTo>
                    <a:pt x="2004" y="1752"/>
                  </a:lnTo>
                  <a:lnTo>
                    <a:pt x="1998" y="1752"/>
                  </a:lnTo>
                  <a:lnTo>
                    <a:pt x="1992" y="1758"/>
                  </a:lnTo>
                  <a:lnTo>
                    <a:pt x="1992" y="1764"/>
                  </a:lnTo>
                  <a:lnTo>
                    <a:pt x="1992" y="1770"/>
                  </a:lnTo>
                  <a:lnTo>
                    <a:pt x="1986" y="1776"/>
                  </a:lnTo>
                  <a:lnTo>
                    <a:pt x="1986" y="1782"/>
                  </a:lnTo>
                  <a:lnTo>
                    <a:pt x="1986" y="1788"/>
                  </a:lnTo>
                  <a:lnTo>
                    <a:pt x="1980" y="1788"/>
                  </a:lnTo>
                  <a:lnTo>
                    <a:pt x="1974" y="1788"/>
                  </a:lnTo>
                  <a:lnTo>
                    <a:pt x="1974" y="1794"/>
                  </a:lnTo>
                  <a:lnTo>
                    <a:pt x="1980" y="1794"/>
                  </a:lnTo>
                  <a:lnTo>
                    <a:pt x="1974" y="1794"/>
                  </a:lnTo>
                  <a:lnTo>
                    <a:pt x="1968" y="1800"/>
                  </a:lnTo>
                  <a:lnTo>
                    <a:pt x="1968" y="1806"/>
                  </a:lnTo>
                  <a:lnTo>
                    <a:pt x="1962" y="1806"/>
                  </a:lnTo>
                  <a:lnTo>
                    <a:pt x="1962" y="1812"/>
                  </a:lnTo>
                  <a:lnTo>
                    <a:pt x="1956" y="1812"/>
                  </a:lnTo>
                  <a:lnTo>
                    <a:pt x="1950" y="1812"/>
                  </a:lnTo>
                  <a:lnTo>
                    <a:pt x="1956" y="1812"/>
                  </a:lnTo>
                  <a:lnTo>
                    <a:pt x="1950" y="1812"/>
                  </a:lnTo>
                  <a:lnTo>
                    <a:pt x="1950" y="1818"/>
                  </a:lnTo>
                  <a:lnTo>
                    <a:pt x="1950" y="1812"/>
                  </a:lnTo>
                  <a:lnTo>
                    <a:pt x="1944" y="1812"/>
                  </a:lnTo>
                  <a:lnTo>
                    <a:pt x="1938" y="1812"/>
                  </a:lnTo>
                  <a:lnTo>
                    <a:pt x="1938" y="1818"/>
                  </a:lnTo>
                  <a:lnTo>
                    <a:pt x="1932" y="1818"/>
                  </a:lnTo>
                  <a:lnTo>
                    <a:pt x="1926" y="1818"/>
                  </a:lnTo>
                  <a:lnTo>
                    <a:pt x="1926" y="1824"/>
                  </a:lnTo>
                  <a:lnTo>
                    <a:pt x="1926" y="1818"/>
                  </a:lnTo>
                  <a:lnTo>
                    <a:pt x="1920" y="1818"/>
                  </a:lnTo>
                  <a:lnTo>
                    <a:pt x="1926" y="1818"/>
                  </a:lnTo>
                  <a:lnTo>
                    <a:pt x="1926" y="1812"/>
                  </a:lnTo>
                  <a:lnTo>
                    <a:pt x="1920" y="1812"/>
                  </a:lnTo>
                  <a:lnTo>
                    <a:pt x="1926" y="1812"/>
                  </a:lnTo>
                  <a:lnTo>
                    <a:pt x="1920" y="1812"/>
                  </a:lnTo>
                  <a:lnTo>
                    <a:pt x="1914" y="1812"/>
                  </a:lnTo>
                  <a:lnTo>
                    <a:pt x="1908" y="1812"/>
                  </a:lnTo>
                  <a:lnTo>
                    <a:pt x="1902" y="1812"/>
                  </a:lnTo>
                  <a:lnTo>
                    <a:pt x="1896" y="1812"/>
                  </a:lnTo>
                  <a:lnTo>
                    <a:pt x="1890" y="1812"/>
                  </a:lnTo>
                  <a:lnTo>
                    <a:pt x="1884" y="1812"/>
                  </a:lnTo>
                  <a:lnTo>
                    <a:pt x="1884" y="1818"/>
                  </a:lnTo>
                  <a:lnTo>
                    <a:pt x="1878" y="1818"/>
                  </a:lnTo>
                  <a:lnTo>
                    <a:pt x="1884" y="1818"/>
                  </a:lnTo>
                  <a:lnTo>
                    <a:pt x="1878" y="1818"/>
                  </a:lnTo>
                  <a:lnTo>
                    <a:pt x="1872" y="1812"/>
                  </a:lnTo>
                  <a:lnTo>
                    <a:pt x="1866" y="1812"/>
                  </a:lnTo>
                  <a:lnTo>
                    <a:pt x="1860" y="1812"/>
                  </a:lnTo>
                  <a:lnTo>
                    <a:pt x="1860" y="1818"/>
                  </a:lnTo>
                  <a:lnTo>
                    <a:pt x="1854" y="1818"/>
                  </a:lnTo>
                  <a:lnTo>
                    <a:pt x="1854" y="1824"/>
                  </a:lnTo>
                  <a:lnTo>
                    <a:pt x="1854" y="1818"/>
                  </a:lnTo>
                  <a:lnTo>
                    <a:pt x="1854" y="1824"/>
                  </a:lnTo>
                  <a:lnTo>
                    <a:pt x="1854" y="1818"/>
                  </a:lnTo>
                  <a:lnTo>
                    <a:pt x="1854" y="1824"/>
                  </a:lnTo>
                  <a:lnTo>
                    <a:pt x="1848" y="1824"/>
                  </a:lnTo>
                  <a:lnTo>
                    <a:pt x="1848" y="1818"/>
                  </a:lnTo>
                  <a:lnTo>
                    <a:pt x="1848" y="1824"/>
                  </a:lnTo>
                  <a:lnTo>
                    <a:pt x="1848" y="1818"/>
                  </a:lnTo>
                  <a:lnTo>
                    <a:pt x="1848" y="1812"/>
                  </a:lnTo>
                  <a:lnTo>
                    <a:pt x="1842" y="1812"/>
                  </a:lnTo>
                  <a:lnTo>
                    <a:pt x="1842" y="1806"/>
                  </a:lnTo>
                  <a:lnTo>
                    <a:pt x="1836" y="1806"/>
                  </a:lnTo>
                  <a:lnTo>
                    <a:pt x="1830" y="1806"/>
                  </a:lnTo>
                  <a:lnTo>
                    <a:pt x="1830" y="1812"/>
                  </a:lnTo>
                  <a:lnTo>
                    <a:pt x="1824" y="1812"/>
                  </a:lnTo>
                  <a:lnTo>
                    <a:pt x="1818" y="1812"/>
                  </a:lnTo>
                  <a:lnTo>
                    <a:pt x="1812" y="1812"/>
                  </a:lnTo>
                  <a:lnTo>
                    <a:pt x="1806" y="1806"/>
                  </a:lnTo>
                  <a:lnTo>
                    <a:pt x="1800" y="1806"/>
                  </a:lnTo>
                  <a:lnTo>
                    <a:pt x="1794" y="1806"/>
                  </a:lnTo>
                  <a:lnTo>
                    <a:pt x="1788" y="1806"/>
                  </a:lnTo>
                  <a:lnTo>
                    <a:pt x="1782" y="1806"/>
                  </a:lnTo>
                  <a:lnTo>
                    <a:pt x="1782" y="1812"/>
                  </a:lnTo>
                  <a:lnTo>
                    <a:pt x="1776" y="1812"/>
                  </a:lnTo>
                  <a:lnTo>
                    <a:pt x="1776" y="1806"/>
                  </a:lnTo>
                  <a:lnTo>
                    <a:pt x="1770" y="1812"/>
                  </a:lnTo>
                  <a:lnTo>
                    <a:pt x="1764" y="1812"/>
                  </a:lnTo>
                  <a:lnTo>
                    <a:pt x="1758" y="1812"/>
                  </a:lnTo>
                  <a:lnTo>
                    <a:pt x="1752" y="1812"/>
                  </a:lnTo>
                  <a:lnTo>
                    <a:pt x="1746" y="1812"/>
                  </a:lnTo>
                  <a:lnTo>
                    <a:pt x="1740" y="1812"/>
                  </a:lnTo>
                  <a:lnTo>
                    <a:pt x="1734" y="1812"/>
                  </a:lnTo>
                  <a:lnTo>
                    <a:pt x="1734" y="1818"/>
                  </a:lnTo>
                  <a:lnTo>
                    <a:pt x="1728" y="1818"/>
                  </a:lnTo>
                  <a:lnTo>
                    <a:pt x="1722" y="1818"/>
                  </a:lnTo>
                  <a:lnTo>
                    <a:pt x="1716" y="1818"/>
                  </a:lnTo>
                  <a:lnTo>
                    <a:pt x="1710" y="1818"/>
                  </a:lnTo>
                  <a:lnTo>
                    <a:pt x="1704" y="1818"/>
                  </a:lnTo>
                  <a:lnTo>
                    <a:pt x="1698" y="1812"/>
                  </a:lnTo>
                  <a:lnTo>
                    <a:pt x="1692" y="1812"/>
                  </a:lnTo>
                  <a:lnTo>
                    <a:pt x="1692" y="1818"/>
                  </a:lnTo>
                  <a:lnTo>
                    <a:pt x="1686" y="1818"/>
                  </a:lnTo>
                  <a:lnTo>
                    <a:pt x="1680" y="1818"/>
                  </a:lnTo>
                  <a:lnTo>
                    <a:pt x="1680" y="1824"/>
                  </a:lnTo>
                  <a:lnTo>
                    <a:pt x="1674" y="1824"/>
                  </a:lnTo>
                  <a:lnTo>
                    <a:pt x="1668" y="1824"/>
                  </a:lnTo>
                  <a:lnTo>
                    <a:pt x="1668" y="1830"/>
                  </a:lnTo>
                  <a:lnTo>
                    <a:pt x="1662" y="1830"/>
                  </a:lnTo>
                  <a:lnTo>
                    <a:pt x="1662" y="1836"/>
                  </a:lnTo>
                  <a:lnTo>
                    <a:pt x="1656" y="1836"/>
                  </a:lnTo>
                  <a:lnTo>
                    <a:pt x="1656" y="1842"/>
                  </a:lnTo>
                  <a:lnTo>
                    <a:pt x="1656" y="1848"/>
                  </a:lnTo>
                  <a:lnTo>
                    <a:pt x="1662" y="1848"/>
                  </a:lnTo>
                  <a:lnTo>
                    <a:pt x="1656" y="1848"/>
                  </a:lnTo>
                  <a:lnTo>
                    <a:pt x="1656" y="1854"/>
                  </a:lnTo>
                  <a:lnTo>
                    <a:pt x="1656" y="1848"/>
                  </a:lnTo>
                  <a:lnTo>
                    <a:pt x="1650" y="1848"/>
                  </a:lnTo>
                  <a:lnTo>
                    <a:pt x="1650" y="1854"/>
                  </a:lnTo>
                  <a:lnTo>
                    <a:pt x="1644" y="1854"/>
                  </a:lnTo>
                  <a:lnTo>
                    <a:pt x="1638" y="1854"/>
                  </a:lnTo>
                  <a:lnTo>
                    <a:pt x="1638" y="1860"/>
                  </a:lnTo>
                  <a:lnTo>
                    <a:pt x="1632" y="1860"/>
                  </a:lnTo>
                  <a:lnTo>
                    <a:pt x="1632" y="1854"/>
                  </a:lnTo>
                  <a:lnTo>
                    <a:pt x="1626" y="1854"/>
                  </a:lnTo>
                  <a:lnTo>
                    <a:pt x="1620" y="1854"/>
                  </a:lnTo>
                  <a:lnTo>
                    <a:pt x="1614" y="1854"/>
                  </a:lnTo>
                  <a:lnTo>
                    <a:pt x="1614" y="1860"/>
                  </a:lnTo>
                  <a:lnTo>
                    <a:pt x="1608" y="1860"/>
                  </a:lnTo>
                  <a:lnTo>
                    <a:pt x="1602" y="1860"/>
                  </a:lnTo>
                  <a:lnTo>
                    <a:pt x="1608" y="1860"/>
                  </a:lnTo>
                  <a:lnTo>
                    <a:pt x="1602" y="1860"/>
                  </a:lnTo>
                  <a:lnTo>
                    <a:pt x="1602" y="1866"/>
                  </a:lnTo>
                  <a:lnTo>
                    <a:pt x="1596" y="1872"/>
                  </a:lnTo>
                  <a:lnTo>
                    <a:pt x="1590" y="1872"/>
                  </a:lnTo>
                  <a:lnTo>
                    <a:pt x="1584" y="1872"/>
                  </a:lnTo>
                  <a:lnTo>
                    <a:pt x="1584" y="1878"/>
                  </a:lnTo>
                  <a:lnTo>
                    <a:pt x="1578" y="1878"/>
                  </a:lnTo>
                  <a:lnTo>
                    <a:pt x="1578" y="1884"/>
                  </a:lnTo>
                  <a:lnTo>
                    <a:pt x="1572" y="1884"/>
                  </a:lnTo>
                  <a:lnTo>
                    <a:pt x="1578" y="1884"/>
                  </a:lnTo>
                  <a:lnTo>
                    <a:pt x="1578" y="1890"/>
                  </a:lnTo>
                  <a:lnTo>
                    <a:pt x="1572" y="1890"/>
                  </a:lnTo>
                  <a:lnTo>
                    <a:pt x="1566" y="1890"/>
                  </a:lnTo>
                  <a:lnTo>
                    <a:pt x="1560" y="1890"/>
                  </a:lnTo>
                  <a:lnTo>
                    <a:pt x="1560" y="1896"/>
                  </a:lnTo>
                  <a:lnTo>
                    <a:pt x="1554" y="1896"/>
                  </a:lnTo>
                  <a:lnTo>
                    <a:pt x="1548" y="1896"/>
                  </a:lnTo>
                  <a:lnTo>
                    <a:pt x="1542" y="1896"/>
                  </a:lnTo>
                  <a:lnTo>
                    <a:pt x="1536" y="1896"/>
                  </a:lnTo>
                  <a:lnTo>
                    <a:pt x="1542" y="1896"/>
                  </a:lnTo>
                  <a:lnTo>
                    <a:pt x="1536" y="1896"/>
                  </a:lnTo>
                  <a:lnTo>
                    <a:pt x="1536" y="1902"/>
                  </a:lnTo>
                  <a:lnTo>
                    <a:pt x="1542" y="1902"/>
                  </a:lnTo>
                  <a:lnTo>
                    <a:pt x="1536" y="1902"/>
                  </a:lnTo>
                  <a:lnTo>
                    <a:pt x="1536" y="1896"/>
                  </a:lnTo>
                  <a:lnTo>
                    <a:pt x="1542" y="1896"/>
                  </a:lnTo>
                  <a:lnTo>
                    <a:pt x="1536" y="1902"/>
                  </a:lnTo>
                  <a:lnTo>
                    <a:pt x="1542" y="1902"/>
                  </a:lnTo>
                  <a:lnTo>
                    <a:pt x="1548" y="1902"/>
                  </a:lnTo>
                  <a:lnTo>
                    <a:pt x="1542" y="1902"/>
                  </a:lnTo>
                  <a:lnTo>
                    <a:pt x="1542" y="1908"/>
                  </a:lnTo>
                  <a:lnTo>
                    <a:pt x="1542" y="1902"/>
                  </a:lnTo>
                  <a:lnTo>
                    <a:pt x="1536" y="1902"/>
                  </a:lnTo>
                  <a:lnTo>
                    <a:pt x="1530" y="1902"/>
                  </a:lnTo>
                  <a:lnTo>
                    <a:pt x="1524" y="1902"/>
                  </a:lnTo>
                  <a:lnTo>
                    <a:pt x="1524" y="1896"/>
                  </a:lnTo>
                  <a:lnTo>
                    <a:pt x="1524" y="1902"/>
                  </a:lnTo>
                  <a:lnTo>
                    <a:pt x="1518" y="1902"/>
                  </a:lnTo>
                  <a:lnTo>
                    <a:pt x="1518" y="1908"/>
                  </a:lnTo>
                  <a:lnTo>
                    <a:pt x="1518" y="1902"/>
                  </a:lnTo>
                  <a:lnTo>
                    <a:pt x="1512" y="1902"/>
                  </a:lnTo>
                  <a:lnTo>
                    <a:pt x="1506" y="1902"/>
                  </a:lnTo>
                  <a:lnTo>
                    <a:pt x="1500" y="1896"/>
                  </a:lnTo>
                  <a:lnTo>
                    <a:pt x="1494" y="1896"/>
                  </a:lnTo>
                  <a:lnTo>
                    <a:pt x="1500" y="1896"/>
                  </a:lnTo>
                  <a:lnTo>
                    <a:pt x="1506" y="1896"/>
                  </a:lnTo>
                  <a:lnTo>
                    <a:pt x="1500" y="1896"/>
                  </a:lnTo>
                  <a:lnTo>
                    <a:pt x="1494" y="1896"/>
                  </a:lnTo>
                  <a:lnTo>
                    <a:pt x="1488" y="1896"/>
                  </a:lnTo>
                  <a:lnTo>
                    <a:pt x="1482" y="1896"/>
                  </a:lnTo>
                  <a:lnTo>
                    <a:pt x="1482" y="1902"/>
                  </a:lnTo>
                  <a:lnTo>
                    <a:pt x="1482" y="1896"/>
                  </a:lnTo>
                  <a:lnTo>
                    <a:pt x="1476" y="1896"/>
                  </a:lnTo>
                  <a:lnTo>
                    <a:pt x="1470" y="1896"/>
                  </a:lnTo>
                  <a:lnTo>
                    <a:pt x="1464" y="1902"/>
                  </a:lnTo>
                  <a:lnTo>
                    <a:pt x="1464" y="1896"/>
                  </a:lnTo>
                  <a:lnTo>
                    <a:pt x="1458" y="1896"/>
                  </a:lnTo>
                  <a:lnTo>
                    <a:pt x="1452" y="1896"/>
                  </a:lnTo>
                  <a:lnTo>
                    <a:pt x="1446" y="1902"/>
                  </a:lnTo>
                  <a:lnTo>
                    <a:pt x="1446" y="1896"/>
                  </a:lnTo>
                  <a:lnTo>
                    <a:pt x="1440" y="1896"/>
                  </a:lnTo>
                  <a:lnTo>
                    <a:pt x="1434" y="1896"/>
                  </a:lnTo>
                  <a:lnTo>
                    <a:pt x="1428" y="1890"/>
                  </a:lnTo>
                  <a:lnTo>
                    <a:pt x="1422" y="1890"/>
                  </a:lnTo>
                  <a:lnTo>
                    <a:pt x="1416" y="1884"/>
                  </a:lnTo>
                  <a:lnTo>
                    <a:pt x="1410" y="1884"/>
                  </a:lnTo>
                  <a:lnTo>
                    <a:pt x="1404" y="1884"/>
                  </a:lnTo>
                  <a:lnTo>
                    <a:pt x="1398" y="1884"/>
                  </a:lnTo>
                  <a:lnTo>
                    <a:pt x="1398" y="1878"/>
                  </a:lnTo>
                  <a:lnTo>
                    <a:pt x="1398" y="1872"/>
                  </a:lnTo>
                  <a:lnTo>
                    <a:pt x="1392" y="1872"/>
                  </a:lnTo>
                  <a:lnTo>
                    <a:pt x="1392" y="1866"/>
                  </a:lnTo>
                  <a:lnTo>
                    <a:pt x="1386" y="1866"/>
                  </a:lnTo>
                  <a:lnTo>
                    <a:pt x="1386" y="1860"/>
                  </a:lnTo>
                  <a:lnTo>
                    <a:pt x="1380" y="1860"/>
                  </a:lnTo>
                  <a:lnTo>
                    <a:pt x="1380" y="1854"/>
                  </a:lnTo>
                  <a:lnTo>
                    <a:pt x="1374" y="1854"/>
                  </a:lnTo>
                  <a:lnTo>
                    <a:pt x="1368" y="1854"/>
                  </a:lnTo>
                  <a:lnTo>
                    <a:pt x="1368" y="1848"/>
                  </a:lnTo>
                  <a:lnTo>
                    <a:pt x="1362" y="1848"/>
                  </a:lnTo>
                  <a:lnTo>
                    <a:pt x="1356" y="1842"/>
                  </a:lnTo>
                  <a:lnTo>
                    <a:pt x="1350" y="1842"/>
                  </a:lnTo>
                  <a:lnTo>
                    <a:pt x="1344" y="1842"/>
                  </a:lnTo>
                  <a:lnTo>
                    <a:pt x="1344" y="1848"/>
                  </a:lnTo>
                  <a:lnTo>
                    <a:pt x="1338" y="1848"/>
                  </a:lnTo>
                  <a:lnTo>
                    <a:pt x="1338" y="1842"/>
                  </a:lnTo>
                  <a:lnTo>
                    <a:pt x="1332" y="1842"/>
                  </a:lnTo>
                  <a:lnTo>
                    <a:pt x="1332" y="1836"/>
                  </a:lnTo>
                  <a:lnTo>
                    <a:pt x="1332" y="1830"/>
                  </a:lnTo>
                  <a:lnTo>
                    <a:pt x="1332" y="1824"/>
                  </a:lnTo>
                  <a:lnTo>
                    <a:pt x="1332" y="1818"/>
                  </a:lnTo>
                  <a:lnTo>
                    <a:pt x="1326" y="1818"/>
                  </a:lnTo>
                  <a:lnTo>
                    <a:pt x="1332" y="1818"/>
                  </a:lnTo>
                  <a:lnTo>
                    <a:pt x="1326" y="1818"/>
                  </a:lnTo>
                  <a:lnTo>
                    <a:pt x="1332" y="1818"/>
                  </a:lnTo>
                  <a:lnTo>
                    <a:pt x="1332" y="1812"/>
                  </a:lnTo>
                  <a:lnTo>
                    <a:pt x="1326" y="1812"/>
                  </a:lnTo>
                  <a:lnTo>
                    <a:pt x="1332" y="1812"/>
                  </a:lnTo>
                  <a:lnTo>
                    <a:pt x="1332" y="1806"/>
                  </a:lnTo>
                  <a:lnTo>
                    <a:pt x="1332" y="1800"/>
                  </a:lnTo>
                  <a:lnTo>
                    <a:pt x="1326" y="1800"/>
                  </a:lnTo>
                  <a:lnTo>
                    <a:pt x="1332" y="1800"/>
                  </a:lnTo>
                  <a:lnTo>
                    <a:pt x="1332" y="1794"/>
                  </a:lnTo>
                  <a:lnTo>
                    <a:pt x="1332" y="1788"/>
                  </a:lnTo>
                  <a:lnTo>
                    <a:pt x="1332" y="1782"/>
                  </a:lnTo>
                  <a:lnTo>
                    <a:pt x="1332" y="1788"/>
                  </a:lnTo>
                  <a:lnTo>
                    <a:pt x="1332" y="1782"/>
                  </a:lnTo>
                  <a:lnTo>
                    <a:pt x="1332" y="1788"/>
                  </a:lnTo>
                  <a:lnTo>
                    <a:pt x="1338" y="1788"/>
                  </a:lnTo>
                  <a:lnTo>
                    <a:pt x="1338" y="1794"/>
                  </a:lnTo>
                  <a:lnTo>
                    <a:pt x="1344" y="1794"/>
                  </a:lnTo>
                  <a:lnTo>
                    <a:pt x="1350" y="1794"/>
                  </a:lnTo>
                  <a:lnTo>
                    <a:pt x="1356" y="1794"/>
                  </a:lnTo>
                  <a:lnTo>
                    <a:pt x="1362" y="1794"/>
                  </a:lnTo>
                  <a:lnTo>
                    <a:pt x="1362" y="1788"/>
                  </a:lnTo>
                  <a:lnTo>
                    <a:pt x="1368" y="1788"/>
                  </a:lnTo>
                  <a:lnTo>
                    <a:pt x="1368" y="1782"/>
                  </a:lnTo>
                  <a:lnTo>
                    <a:pt x="1374" y="1782"/>
                  </a:lnTo>
                  <a:lnTo>
                    <a:pt x="1374" y="1776"/>
                  </a:lnTo>
                  <a:lnTo>
                    <a:pt x="1374" y="1770"/>
                  </a:lnTo>
                  <a:lnTo>
                    <a:pt x="1380" y="1770"/>
                  </a:lnTo>
                  <a:lnTo>
                    <a:pt x="1380" y="1764"/>
                  </a:lnTo>
                  <a:lnTo>
                    <a:pt x="1380" y="1758"/>
                  </a:lnTo>
                  <a:lnTo>
                    <a:pt x="1380" y="1752"/>
                  </a:lnTo>
                  <a:lnTo>
                    <a:pt x="1380" y="1746"/>
                  </a:lnTo>
                  <a:lnTo>
                    <a:pt x="1380" y="1740"/>
                  </a:lnTo>
                  <a:lnTo>
                    <a:pt x="1380" y="1734"/>
                  </a:lnTo>
                  <a:lnTo>
                    <a:pt x="1380" y="1728"/>
                  </a:lnTo>
                  <a:lnTo>
                    <a:pt x="1380" y="1722"/>
                  </a:lnTo>
                  <a:lnTo>
                    <a:pt x="1380" y="1716"/>
                  </a:lnTo>
                  <a:lnTo>
                    <a:pt x="1380" y="1710"/>
                  </a:lnTo>
                  <a:lnTo>
                    <a:pt x="1386" y="1710"/>
                  </a:lnTo>
                  <a:lnTo>
                    <a:pt x="1386" y="1704"/>
                  </a:lnTo>
                  <a:lnTo>
                    <a:pt x="1386" y="1698"/>
                  </a:lnTo>
                  <a:lnTo>
                    <a:pt x="1386" y="1692"/>
                  </a:lnTo>
                  <a:lnTo>
                    <a:pt x="1386" y="1686"/>
                  </a:lnTo>
                  <a:lnTo>
                    <a:pt x="1386" y="1692"/>
                  </a:lnTo>
                  <a:lnTo>
                    <a:pt x="1392" y="1686"/>
                  </a:lnTo>
                  <a:lnTo>
                    <a:pt x="1392" y="1680"/>
                  </a:lnTo>
                  <a:lnTo>
                    <a:pt x="1386" y="1680"/>
                  </a:lnTo>
                  <a:lnTo>
                    <a:pt x="1392" y="1680"/>
                  </a:lnTo>
                  <a:lnTo>
                    <a:pt x="1392" y="1674"/>
                  </a:lnTo>
                  <a:lnTo>
                    <a:pt x="1386" y="1674"/>
                  </a:lnTo>
                  <a:lnTo>
                    <a:pt x="1392" y="1674"/>
                  </a:lnTo>
                  <a:lnTo>
                    <a:pt x="1392" y="1668"/>
                  </a:lnTo>
                  <a:lnTo>
                    <a:pt x="1392" y="1662"/>
                  </a:lnTo>
                  <a:lnTo>
                    <a:pt x="1392" y="1656"/>
                  </a:lnTo>
                  <a:lnTo>
                    <a:pt x="1386" y="1656"/>
                  </a:lnTo>
                  <a:lnTo>
                    <a:pt x="1386" y="1650"/>
                  </a:lnTo>
                  <a:lnTo>
                    <a:pt x="1386" y="1644"/>
                  </a:lnTo>
                  <a:lnTo>
                    <a:pt x="1386" y="1638"/>
                  </a:lnTo>
                  <a:lnTo>
                    <a:pt x="1380" y="1638"/>
                  </a:lnTo>
                  <a:lnTo>
                    <a:pt x="1380" y="1632"/>
                  </a:lnTo>
                  <a:lnTo>
                    <a:pt x="1380" y="1626"/>
                  </a:lnTo>
                  <a:lnTo>
                    <a:pt x="1374" y="1626"/>
                  </a:lnTo>
                  <a:lnTo>
                    <a:pt x="1374" y="1620"/>
                  </a:lnTo>
                  <a:lnTo>
                    <a:pt x="1368" y="1614"/>
                  </a:lnTo>
                  <a:lnTo>
                    <a:pt x="1368" y="1608"/>
                  </a:lnTo>
                  <a:lnTo>
                    <a:pt x="1368" y="1602"/>
                  </a:lnTo>
                  <a:lnTo>
                    <a:pt x="1362" y="1602"/>
                  </a:lnTo>
                  <a:lnTo>
                    <a:pt x="1362" y="1596"/>
                  </a:lnTo>
                  <a:lnTo>
                    <a:pt x="1362" y="1590"/>
                  </a:lnTo>
                  <a:lnTo>
                    <a:pt x="1356" y="1590"/>
                  </a:lnTo>
                  <a:lnTo>
                    <a:pt x="1356" y="1584"/>
                  </a:lnTo>
                  <a:lnTo>
                    <a:pt x="1356" y="1578"/>
                  </a:lnTo>
                  <a:lnTo>
                    <a:pt x="1350" y="1578"/>
                  </a:lnTo>
                  <a:lnTo>
                    <a:pt x="1350" y="1572"/>
                  </a:lnTo>
                  <a:lnTo>
                    <a:pt x="1350" y="1566"/>
                  </a:lnTo>
                  <a:lnTo>
                    <a:pt x="1344" y="1566"/>
                  </a:lnTo>
                  <a:lnTo>
                    <a:pt x="1344" y="1560"/>
                  </a:lnTo>
                  <a:lnTo>
                    <a:pt x="1344" y="1554"/>
                  </a:lnTo>
                  <a:lnTo>
                    <a:pt x="1344" y="1548"/>
                  </a:lnTo>
                  <a:lnTo>
                    <a:pt x="1344" y="1542"/>
                  </a:lnTo>
                  <a:lnTo>
                    <a:pt x="1338" y="1542"/>
                  </a:lnTo>
                  <a:lnTo>
                    <a:pt x="1344" y="1542"/>
                  </a:lnTo>
                  <a:lnTo>
                    <a:pt x="1344" y="1536"/>
                  </a:lnTo>
                  <a:lnTo>
                    <a:pt x="1338" y="1536"/>
                  </a:lnTo>
                  <a:lnTo>
                    <a:pt x="1338" y="1530"/>
                  </a:lnTo>
                  <a:lnTo>
                    <a:pt x="1338" y="1524"/>
                  </a:lnTo>
                  <a:lnTo>
                    <a:pt x="1338" y="1518"/>
                  </a:lnTo>
                  <a:lnTo>
                    <a:pt x="1338" y="1512"/>
                  </a:lnTo>
                  <a:lnTo>
                    <a:pt x="1338" y="1506"/>
                  </a:lnTo>
                  <a:lnTo>
                    <a:pt x="1338" y="1500"/>
                  </a:lnTo>
                  <a:lnTo>
                    <a:pt x="1338" y="1494"/>
                  </a:lnTo>
                  <a:lnTo>
                    <a:pt x="1338" y="1488"/>
                  </a:lnTo>
                  <a:lnTo>
                    <a:pt x="1338" y="1482"/>
                  </a:lnTo>
                  <a:lnTo>
                    <a:pt x="1338" y="1476"/>
                  </a:lnTo>
                  <a:lnTo>
                    <a:pt x="1338" y="1470"/>
                  </a:lnTo>
                  <a:lnTo>
                    <a:pt x="1338" y="1464"/>
                  </a:lnTo>
                  <a:lnTo>
                    <a:pt x="1332" y="1464"/>
                  </a:lnTo>
                  <a:lnTo>
                    <a:pt x="1338" y="1464"/>
                  </a:lnTo>
                  <a:lnTo>
                    <a:pt x="1332" y="1464"/>
                  </a:lnTo>
                  <a:lnTo>
                    <a:pt x="1332" y="1458"/>
                  </a:lnTo>
                  <a:lnTo>
                    <a:pt x="1332" y="1452"/>
                  </a:lnTo>
                  <a:lnTo>
                    <a:pt x="1326" y="1446"/>
                  </a:lnTo>
                  <a:lnTo>
                    <a:pt x="1326" y="1440"/>
                  </a:lnTo>
                  <a:lnTo>
                    <a:pt x="1320" y="1440"/>
                  </a:lnTo>
                  <a:lnTo>
                    <a:pt x="1320" y="1434"/>
                  </a:lnTo>
                  <a:lnTo>
                    <a:pt x="1314" y="1434"/>
                  </a:lnTo>
                  <a:lnTo>
                    <a:pt x="1314" y="1428"/>
                  </a:lnTo>
                  <a:lnTo>
                    <a:pt x="1308" y="1428"/>
                  </a:lnTo>
                  <a:lnTo>
                    <a:pt x="1314" y="1422"/>
                  </a:lnTo>
                  <a:lnTo>
                    <a:pt x="1314" y="1428"/>
                  </a:lnTo>
                  <a:lnTo>
                    <a:pt x="1314" y="1422"/>
                  </a:lnTo>
                  <a:lnTo>
                    <a:pt x="1314" y="1416"/>
                  </a:lnTo>
                  <a:lnTo>
                    <a:pt x="1314" y="1410"/>
                  </a:lnTo>
                  <a:lnTo>
                    <a:pt x="1308" y="1410"/>
                  </a:lnTo>
                  <a:lnTo>
                    <a:pt x="1308" y="1404"/>
                  </a:lnTo>
                  <a:lnTo>
                    <a:pt x="1302" y="1398"/>
                  </a:lnTo>
                  <a:lnTo>
                    <a:pt x="1296" y="1392"/>
                  </a:lnTo>
                  <a:lnTo>
                    <a:pt x="1296" y="1386"/>
                  </a:lnTo>
                  <a:lnTo>
                    <a:pt x="1290" y="1386"/>
                  </a:lnTo>
                  <a:lnTo>
                    <a:pt x="1290" y="1380"/>
                  </a:lnTo>
                  <a:lnTo>
                    <a:pt x="1284" y="1380"/>
                  </a:lnTo>
                  <a:lnTo>
                    <a:pt x="1284" y="1374"/>
                  </a:lnTo>
                  <a:lnTo>
                    <a:pt x="1284" y="1368"/>
                  </a:lnTo>
                  <a:lnTo>
                    <a:pt x="1278" y="1368"/>
                  </a:lnTo>
                  <a:lnTo>
                    <a:pt x="1278" y="1362"/>
                  </a:lnTo>
                  <a:lnTo>
                    <a:pt x="1278" y="1356"/>
                  </a:lnTo>
                  <a:lnTo>
                    <a:pt x="1278" y="1350"/>
                  </a:lnTo>
                  <a:lnTo>
                    <a:pt x="1278" y="1344"/>
                  </a:lnTo>
                  <a:lnTo>
                    <a:pt x="1284" y="1344"/>
                  </a:lnTo>
                  <a:lnTo>
                    <a:pt x="1284" y="1338"/>
                  </a:lnTo>
                  <a:lnTo>
                    <a:pt x="1278" y="1338"/>
                  </a:lnTo>
                  <a:lnTo>
                    <a:pt x="1278" y="1332"/>
                  </a:lnTo>
                  <a:lnTo>
                    <a:pt x="1278" y="1326"/>
                  </a:lnTo>
                  <a:lnTo>
                    <a:pt x="1272" y="1314"/>
                  </a:lnTo>
                  <a:lnTo>
                    <a:pt x="1272" y="1308"/>
                  </a:lnTo>
                  <a:lnTo>
                    <a:pt x="1266" y="1308"/>
                  </a:lnTo>
                  <a:lnTo>
                    <a:pt x="1266" y="1302"/>
                  </a:lnTo>
                  <a:lnTo>
                    <a:pt x="1260" y="1296"/>
                  </a:lnTo>
                  <a:lnTo>
                    <a:pt x="1260" y="1290"/>
                  </a:lnTo>
                  <a:lnTo>
                    <a:pt x="1254" y="1290"/>
                  </a:lnTo>
                  <a:lnTo>
                    <a:pt x="1254" y="1284"/>
                  </a:lnTo>
                  <a:lnTo>
                    <a:pt x="1254" y="1278"/>
                  </a:lnTo>
                  <a:lnTo>
                    <a:pt x="1248" y="1278"/>
                  </a:lnTo>
                  <a:lnTo>
                    <a:pt x="1248" y="1272"/>
                  </a:lnTo>
                  <a:lnTo>
                    <a:pt x="1242" y="1272"/>
                  </a:lnTo>
                  <a:lnTo>
                    <a:pt x="1242" y="1266"/>
                  </a:lnTo>
                  <a:lnTo>
                    <a:pt x="1236" y="1260"/>
                  </a:lnTo>
                  <a:lnTo>
                    <a:pt x="1230" y="1260"/>
                  </a:lnTo>
                  <a:lnTo>
                    <a:pt x="1230" y="1254"/>
                  </a:lnTo>
                  <a:lnTo>
                    <a:pt x="1224" y="1254"/>
                  </a:lnTo>
                  <a:lnTo>
                    <a:pt x="1224" y="1248"/>
                  </a:lnTo>
                  <a:lnTo>
                    <a:pt x="1218" y="1248"/>
                  </a:lnTo>
                  <a:lnTo>
                    <a:pt x="1224" y="1248"/>
                  </a:lnTo>
                  <a:lnTo>
                    <a:pt x="1224" y="1242"/>
                  </a:lnTo>
                  <a:lnTo>
                    <a:pt x="1218" y="1242"/>
                  </a:lnTo>
                  <a:lnTo>
                    <a:pt x="1218" y="1236"/>
                  </a:lnTo>
                  <a:lnTo>
                    <a:pt x="1218" y="1230"/>
                  </a:lnTo>
                  <a:lnTo>
                    <a:pt x="1212" y="1230"/>
                  </a:lnTo>
                  <a:lnTo>
                    <a:pt x="1212" y="1224"/>
                  </a:lnTo>
                  <a:lnTo>
                    <a:pt x="1212" y="1230"/>
                  </a:lnTo>
                  <a:lnTo>
                    <a:pt x="1218" y="1230"/>
                  </a:lnTo>
                  <a:lnTo>
                    <a:pt x="1218" y="1236"/>
                  </a:lnTo>
                  <a:lnTo>
                    <a:pt x="1218" y="1230"/>
                  </a:lnTo>
                  <a:lnTo>
                    <a:pt x="1218" y="1224"/>
                  </a:lnTo>
                  <a:lnTo>
                    <a:pt x="1218" y="1218"/>
                  </a:lnTo>
                  <a:lnTo>
                    <a:pt x="1224" y="1218"/>
                  </a:lnTo>
                  <a:lnTo>
                    <a:pt x="1224" y="1224"/>
                  </a:lnTo>
                  <a:lnTo>
                    <a:pt x="1224" y="1230"/>
                  </a:lnTo>
                  <a:lnTo>
                    <a:pt x="1224" y="1236"/>
                  </a:lnTo>
                  <a:lnTo>
                    <a:pt x="1224" y="1242"/>
                  </a:lnTo>
                  <a:lnTo>
                    <a:pt x="1224" y="1248"/>
                  </a:lnTo>
                  <a:lnTo>
                    <a:pt x="1230" y="1248"/>
                  </a:lnTo>
                  <a:lnTo>
                    <a:pt x="1230" y="1242"/>
                  </a:lnTo>
                  <a:lnTo>
                    <a:pt x="1224" y="1242"/>
                  </a:lnTo>
                  <a:lnTo>
                    <a:pt x="1224" y="1236"/>
                  </a:lnTo>
                  <a:lnTo>
                    <a:pt x="1224" y="1230"/>
                  </a:lnTo>
                  <a:lnTo>
                    <a:pt x="1230" y="1230"/>
                  </a:lnTo>
                  <a:lnTo>
                    <a:pt x="1224" y="1230"/>
                  </a:lnTo>
                  <a:lnTo>
                    <a:pt x="1230" y="1230"/>
                  </a:lnTo>
                  <a:lnTo>
                    <a:pt x="1224" y="1230"/>
                  </a:lnTo>
                  <a:lnTo>
                    <a:pt x="1230" y="1224"/>
                  </a:lnTo>
                  <a:lnTo>
                    <a:pt x="1224" y="1224"/>
                  </a:lnTo>
                  <a:lnTo>
                    <a:pt x="1230" y="1224"/>
                  </a:lnTo>
                  <a:lnTo>
                    <a:pt x="1224" y="1224"/>
                  </a:lnTo>
                  <a:lnTo>
                    <a:pt x="1224" y="1218"/>
                  </a:lnTo>
                  <a:lnTo>
                    <a:pt x="1230" y="1218"/>
                  </a:lnTo>
                  <a:lnTo>
                    <a:pt x="1230" y="1224"/>
                  </a:lnTo>
                  <a:lnTo>
                    <a:pt x="1230" y="1230"/>
                  </a:lnTo>
                  <a:lnTo>
                    <a:pt x="1230" y="1224"/>
                  </a:lnTo>
                  <a:lnTo>
                    <a:pt x="1230" y="1230"/>
                  </a:lnTo>
                  <a:lnTo>
                    <a:pt x="1230" y="1236"/>
                  </a:lnTo>
                  <a:lnTo>
                    <a:pt x="1236" y="1236"/>
                  </a:lnTo>
                  <a:lnTo>
                    <a:pt x="1236" y="1242"/>
                  </a:lnTo>
                  <a:lnTo>
                    <a:pt x="1236" y="1248"/>
                  </a:lnTo>
                  <a:lnTo>
                    <a:pt x="1236" y="1254"/>
                  </a:lnTo>
                  <a:lnTo>
                    <a:pt x="1236" y="1248"/>
                  </a:lnTo>
                  <a:lnTo>
                    <a:pt x="1236" y="1242"/>
                  </a:lnTo>
                  <a:lnTo>
                    <a:pt x="1236" y="1236"/>
                  </a:lnTo>
                  <a:lnTo>
                    <a:pt x="1236" y="1242"/>
                  </a:lnTo>
                  <a:lnTo>
                    <a:pt x="1242" y="1242"/>
                  </a:lnTo>
                  <a:lnTo>
                    <a:pt x="1242" y="1248"/>
                  </a:lnTo>
                  <a:lnTo>
                    <a:pt x="1242" y="1254"/>
                  </a:lnTo>
                  <a:lnTo>
                    <a:pt x="1242" y="1260"/>
                  </a:lnTo>
                  <a:lnTo>
                    <a:pt x="1236" y="1260"/>
                  </a:lnTo>
                  <a:lnTo>
                    <a:pt x="1242" y="1260"/>
                  </a:lnTo>
                  <a:lnTo>
                    <a:pt x="1242" y="1266"/>
                  </a:lnTo>
                  <a:lnTo>
                    <a:pt x="1242" y="1260"/>
                  </a:lnTo>
                  <a:lnTo>
                    <a:pt x="1242" y="1254"/>
                  </a:lnTo>
                  <a:lnTo>
                    <a:pt x="1242" y="1248"/>
                  </a:lnTo>
                  <a:lnTo>
                    <a:pt x="1248" y="1254"/>
                  </a:lnTo>
                  <a:lnTo>
                    <a:pt x="1242" y="1254"/>
                  </a:lnTo>
                  <a:lnTo>
                    <a:pt x="1248" y="1254"/>
                  </a:lnTo>
                  <a:lnTo>
                    <a:pt x="1242" y="1254"/>
                  </a:lnTo>
                  <a:lnTo>
                    <a:pt x="1242" y="1260"/>
                  </a:lnTo>
                  <a:lnTo>
                    <a:pt x="1248" y="1260"/>
                  </a:lnTo>
                  <a:lnTo>
                    <a:pt x="1242" y="1260"/>
                  </a:lnTo>
                  <a:lnTo>
                    <a:pt x="1248" y="1260"/>
                  </a:lnTo>
                  <a:lnTo>
                    <a:pt x="1242" y="1260"/>
                  </a:lnTo>
                  <a:lnTo>
                    <a:pt x="1248" y="1260"/>
                  </a:lnTo>
                  <a:lnTo>
                    <a:pt x="1248" y="1266"/>
                  </a:lnTo>
                  <a:lnTo>
                    <a:pt x="1254" y="1266"/>
                  </a:lnTo>
                  <a:lnTo>
                    <a:pt x="1248" y="1266"/>
                  </a:lnTo>
                  <a:lnTo>
                    <a:pt x="1254" y="1266"/>
                  </a:lnTo>
                  <a:lnTo>
                    <a:pt x="1248" y="1266"/>
                  </a:lnTo>
                  <a:lnTo>
                    <a:pt x="1254" y="1260"/>
                  </a:lnTo>
                  <a:lnTo>
                    <a:pt x="1248" y="1260"/>
                  </a:lnTo>
                  <a:lnTo>
                    <a:pt x="1254" y="1260"/>
                  </a:lnTo>
                  <a:lnTo>
                    <a:pt x="1254" y="1266"/>
                  </a:lnTo>
                  <a:lnTo>
                    <a:pt x="1254" y="1260"/>
                  </a:lnTo>
                  <a:lnTo>
                    <a:pt x="1260" y="1260"/>
                  </a:lnTo>
                  <a:lnTo>
                    <a:pt x="1260" y="1254"/>
                  </a:lnTo>
                  <a:lnTo>
                    <a:pt x="1266" y="1254"/>
                  </a:lnTo>
                  <a:lnTo>
                    <a:pt x="1266" y="1248"/>
                  </a:lnTo>
                  <a:lnTo>
                    <a:pt x="1260" y="1248"/>
                  </a:lnTo>
                  <a:lnTo>
                    <a:pt x="1266" y="1242"/>
                  </a:lnTo>
                  <a:lnTo>
                    <a:pt x="1260" y="1242"/>
                  </a:lnTo>
                  <a:lnTo>
                    <a:pt x="1260" y="1236"/>
                  </a:lnTo>
                  <a:lnTo>
                    <a:pt x="1254" y="1236"/>
                  </a:lnTo>
                  <a:lnTo>
                    <a:pt x="1254" y="1230"/>
                  </a:lnTo>
                  <a:lnTo>
                    <a:pt x="1248" y="1230"/>
                  </a:lnTo>
                  <a:lnTo>
                    <a:pt x="1248" y="1224"/>
                  </a:lnTo>
                  <a:lnTo>
                    <a:pt x="1242" y="1224"/>
                  </a:lnTo>
                  <a:lnTo>
                    <a:pt x="1248" y="1224"/>
                  </a:lnTo>
                  <a:lnTo>
                    <a:pt x="1242" y="1224"/>
                  </a:lnTo>
                  <a:lnTo>
                    <a:pt x="1242" y="1218"/>
                  </a:lnTo>
                  <a:lnTo>
                    <a:pt x="1242" y="1212"/>
                  </a:lnTo>
                  <a:lnTo>
                    <a:pt x="1236" y="1212"/>
                  </a:lnTo>
                  <a:lnTo>
                    <a:pt x="1236" y="1206"/>
                  </a:lnTo>
                  <a:lnTo>
                    <a:pt x="1242" y="1206"/>
                  </a:lnTo>
                  <a:lnTo>
                    <a:pt x="1236" y="1206"/>
                  </a:lnTo>
                  <a:lnTo>
                    <a:pt x="1236" y="1200"/>
                  </a:lnTo>
                  <a:lnTo>
                    <a:pt x="1236" y="1194"/>
                  </a:lnTo>
                  <a:lnTo>
                    <a:pt x="1230" y="1194"/>
                  </a:lnTo>
                  <a:lnTo>
                    <a:pt x="1236" y="1194"/>
                  </a:lnTo>
                  <a:lnTo>
                    <a:pt x="1230" y="1194"/>
                  </a:lnTo>
                  <a:lnTo>
                    <a:pt x="1236" y="1194"/>
                  </a:lnTo>
                  <a:lnTo>
                    <a:pt x="1230" y="1194"/>
                  </a:lnTo>
                  <a:lnTo>
                    <a:pt x="1236" y="1194"/>
                  </a:lnTo>
                  <a:lnTo>
                    <a:pt x="1230" y="1194"/>
                  </a:lnTo>
                  <a:lnTo>
                    <a:pt x="1236" y="1194"/>
                  </a:lnTo>
                  <a:lnTo>
                    <a:pt x="1230" y="1200"/>
                  </a:lnTo>
                  <a:lnTo>
                    <a:pt x="1236" y="1200"/>
                  </a:lnTo>
                  <a:lnTo>
                    <a:pt x="1230" y="1200"/>
                  </a:lnTo>
                  <a:lnTo>
                    <a:pt x="1230" y="1194"/>
                  </a:lnTo>
                  <a:lnTo>
                    <a:pt x="1230" y="1200"/>
                  </a:lnTo>
                  <a:lnTo>
                    <a:pt x="1230" y="1194"/>
                  </a:lnTo>
                  <a:lnTo>
                    <a:pt x="1230" y="1188"/>
                  </a:lnTo>
                  <a:lnTo>
                    <a:pt x="1236" y="1188"/>
                  </a:lnTo>
                  <a:lnTo>
                    <a:pt x="1236" y="1182"/>
                  </a:lnTo>
                  <a:lnTo>
                    <a:pt x="1236" y="1176"/>
                  </a:lnTo>
                  <a:lnTo>
                    <a:pt x="1236" y="1182"/>
                  </a:lnTo>
                  <a:lnTo>
                    <a:pt x="1236" y="1188"/>
                  </a:lnTo>
                  <a:lnTo>
                    <a:pt x="1242" y="1188"/>
                  </a:lnTo>
                  <a:lnTo>
                    <a:pt x="1242" y="1194"/>
                  </a:lnTo>
                  <a:lnTo>
                    <a:pt x="1248" y="1194"/>
                  </a:lnTo>
                  <a:lnTo>
                    <a:pt x="1248" y="1200"/>
                  </a:lnTo>
                  <a:lnTo>
                    <a:pt x="1254" y="1200"/>
                  </a:lnTo>
                  <a:lnTo>
                    <a:pt x="1254" y="1206"/>
                  </a:lnTo>
                  <a:lnTo>
                    <a:pt x="1254" y="1212"/>
                  </a:lnTo>
                  <a:lnTo>
                    <a:pt x="1254" y="1218"/>
                  </a:lnTo>
                  <a:lnTo>
                    <a:pt x="1248" y="1218"/>
                  </a:lnTo>
                  <a:lnTo>
                    <a:pt x="1254" y="1224"/>
                  </a:lnTo>
                  <a:lnTo>
                    <a:pt x="1248" y="1224"/>
                  </a:lnTo>
                  <a:lnTo>
                    <a:pt x="1254" y="1230"/>
                  </a:lnTo>
                  <a:lnTo>
                    <a:pt x="1260" y="1230"/>
                  </a:lnTo>
                  <a:lnTo>
                    <a:pt x="1260" y="1224"/>
                  </a:lnTo>
                  <a:lnTo>
                    <a:pt x="1266" y="1224"/>
                  </a:lnTo>
                  <a:lnTo>
                    <a:pt x="1266" y="1218"/>
                  </a:lnTo>
                  <a:lnTo>
                    <a:pt x="1266" y="1212"/>
                  </a:lnTo>
                  <a:lnTo>
                    <a:pt x="1266" y="1218"/>
                  </a:lnTo>
                  <a:lnTo>
                    <a:pt x="1266" y="1224"/>
                  </a:lnTo>
                  <a:lnTo>
                    <a:pt x="1272" y="1224"/>
                  </a:lnTo>
                  <a:lnTo>
                    <a:pt x="1266" y="1224"/>
                  </a:lnTo>
                  <a:lnTo>
                    <a:pt x="1266" y="1230"/>
                  </a:lnTo>
                  <a:lnTo>
                    <a:pt x="1266" y="1236"/>
                  </a:lnTo>
                  <a:lnTo>
                    <a:pt x="1266" y="1230"/>
                  </a:lnTo>
                  <a:lnTo>
                    <a:pt x="1266" y="1236"/>
                  </a:lnTo>
                  <a:lnTo>
                    <a:pt x="1272" y="1236"/>
                  </a:lnTo>
                  <a:lnTo>
                    <a:pt x="1266" y="1236"/>
                  </a:lnTo>
                  <a:lnTo>
                    <a:pt x="1272" y="1236"/>
                  </a:lnTo>
                  <a:lnTo>
                    <a:pt x="1266" y="1236"/>
                  </a:lnTo>
                  <a:lnTo>
                    <a:pt x="1272" y="1236"/>
                  </a:lnTo>
                  <a:lnTo>
                    <a:pt x="1272" y="1242"/>
                  </a:lnTo>
                  <a:lnTo>
                    <a:pt x="1278" y="1248"/>
                  </a:lnTo>
                  <a:lnTo>
                    <a:pt x="1278" y="1254"/>
                  </a:lnTo>
                  <a:lnTo>
                    <a:pt x="1278" y="1248"/>
                  </a:lnTo>
                  <a:lnTo>
                    <a:pt x="1284" y="1248"/>
                  </a:lnTo>
                  <a:lnTo>
                    <a:pt x="1284" y="1242"/>
                  </a:lnTo>
                  <a:lnTo>
                    <a:pt x="1290" y="1242"/>
                  </a:lnTo>
                  <a:lnTo>
                    <a:pt x="1290" y="1236"/>
                  </a:lnTo>
                  <a:lnTo>
                    <a:pt x="1290" y="1230"/>
                  </a:lnTo>
                  <a:lnTo>
                    <a:pt x="1284" y="1230"/>
                  </a:lnTo>
                  <a:lnTo>
                    <a:pt x="1290" y="1224"/>
                  </a:lnTo>
                  <a:lnTo>
                    <a:pt x="1290" y="1218"/>
                  </a:lnTo>
                  <a:lnTo>
                    <a:pt x="1290" y="1224"/>
                  </a:lnTo>
                  <a:lnTo>
                    <a:pt x="1290" y="1218"/>
                  </a:lnTo>
                  <a:lnTo>
                    <a:pt x="1290" y="1212"/>
                  </a:lnTo>
                  <a:lnTo>
                    <a:pt x="1290" y="1218"/>
                  </a:lnTo>
                  <a:lnTo>
                    <a:pt x="1290" y="1212"/>
                  </a:lnTo>
                  <a:lnTo>
                    <a:pt x="1290" y="1218"/>
                  </a:lnTo>
                  <a:lnTo>
                    <a:pt x="1290" y="1212"/>
                  </a:lnTo>
                  <a:lnTo>
                    <a:pt x="1290" y="1218"/>
                  </a:lnTo>
                  <a:lnTo>
                    <a:pt x="1296" y="1212"/>
                  </a:lnTo>
                  <a:lnTo>
                    <a:pt x="1296" y="1218"/>
                  </a:lnTo>
                  <a:lnTo>
                    <a:pt x="1296" y="1212"/>
                  </a:lnTo>
                  <a:lnTo>
                    <a:pt x="1290" y="1212"/>
                  </a:lnTo>
                  <a:lnTo>
                    <a:pt x="1296" y="1206"/>
                  </a:lnTo>
                  <a:lnTo>
                    <a:pt x="1290" y="1206"/>
                  </a:lnTo>
                  <a:lnTo>
                    <a:pt x="1290" y="1200"/>
                  </a:lnTo>
                  <a:lnTo>
                    <a:pt x="1290" y="1206"/>
                  </a:lnTo>
                  <a:lnTo>
                    <a:pt x="1290" y="1200"/>
                  </a:lnTo>
                  <a:lnTo>
                    <a:pt x="1284" y="1200"/>
                  </a:lnTo>
                  <a:lnTo>
                    <a:pt x="1284" y="1194"/>
                  </a:lnTo>
                  <a:lnTo>
                    <a:pt x="1278" y="1188"/>
                  </a:lnTo>
                  <a:lnTo>
                    <a:pt x="1278" y="1182"/>
                  </a:lnTo>
                  <a:lnTo>
                    <a:pt x="1272" y="1182"/>
                  </a:lnTo>
                  <a:lnTo>
                    <a:pt x="1272" y="1176"/>
                  </a:lnTo>
                  <a:lnTo>
                    <a:pt x="1272" y="1170"/>
                  </a:lnTo>
                  <a:lnTo>
                    <a:pt x="1266" y="1170"/>
                  </a:lnTo>
                  <a:lnTo>
                    <a:pt x="1266" y="1164"/>
                  </a:lnTo>
                  <a:lnTo>
                    <a:pt x="1266" y="1158"/>
                  </a:lnTo>
                  <a:lnTo>
                    <a:pt x="1260" y="1158"/>
                  </a:lnTo>
                  <a:lnTo>
                    <a:pt x="1266" y="1158"/>
                  </a:lnTo>
                  <a:lnTo>
                    <a:pt x="1260" y="1158"/>
                  </a:lnTo>
                  <a:lnTo>
                    <a:pt x="1266" y="1158"/>
                  </a:lnTo>
                  <a:lnTo>
                    <a:pt x="1260" y="1158"/>
                  </a:lnTo>
                  <a:lnTo>
                    <a:pt x="1260" y="1152"/>
                  </a:lnTo>
                  <a:lnTo>
                    <a:pt x="1254" y="1152"/>
                  </a:lnTo>
                  <a:lnTo>
                    <a:pt x="1254" y="1146"/>
                  </a:lnTo>
                  <a:lnTo>
                    <a:pt x="1248" y="1140"/>
                  </a:lnTo>
                  <a:lnTo>
                    <a:pt x="1248" y="1134"/>
                  </a:lnTo>
                  <a:lnTo>
                    <a:pt x="1254" y="1134"/>
                  </a:lnTo>
                  <a:lnTo>
                    <a:pt x="1248" y="1134"/>
                  </a:lnTo>
                  <a:lnTo>
                    <a:pt x="1248" y="1128"/>
                  </a:lnTo>
                  <a:lnTo>
                    <a:pt x="1248" y="1122"/>
                  </a:lnTo>
                  <a:lnTo>
                    <a:pt x="1248" y="1116"/>
                  </a:lnTo>
                  <a:lnTo>
                    <a:pt x="1242" y="1116"/>
                  </a:lnTo>
                  <a:lnTo>
                    <a:pt x="1242" y="1110"/>
                  </a:lnTo>
                  <a:lnTo>
                    <a:pt x="1236" y="1110"/>
                  </a:lnTo>
                  <a:lnTo>
                    <a:pt x="1236" y="1104"/>
                  </a:lnTo>
                  <a:lnTo>
                    <a:pt x="1230" y="1104"/>
                  </a:lnTo>
                  <a:lnTo>
                    <a:pt x="1230" y="1098"/>
                  </a:lnTo>
                  <a:lnTo>
                    <a:pt x="1230" y="1092"/>
                  </a:lnTo>
                  <a:lnTo>
                    <a:pt x="1230" y="1086"/>
                  </a:lnTo>
                  <a:lnTo>
                    <a:pt x="1230" y="1080"/>
                  </a:lnTo>
                  <a:lnTo>
                    <a:pt x="1236" y="1080"/>
                  </a:lnTo>
                  <a:lnTo>
                    <a:pt x="1236" y="1074"/>
                  </a:lnTo>
                  <a:lnTo>
                    <a:pt x="1236" y="1068"/>
                  </a:lnTo>
                  <a:lnTo>
                    <a:pt x="1236" y="1062"/>
                  </a:lnTo>
                  <a:lnTo>
                    <a:pt x="1236" y="1056"/>
                  </a:lnTo>
                  <a:lnTo>
                    <a:pt x="1242" y="1056"/>
                  </a:lnTo>
                  <a:lnTo>
                    <a:pt x="1242" y="1050"/>
                  </a:lnTo>
                  <a:lnTo>
                    <a:pt x="1242" y="1044"/>
                  </a:lnTo>
                  <a:lnTo>
                    <a:pt x="1248" y="1044"/>
                  </a:lnTo>
                  <a:lnTo>
                    <a:pt x="1248" y="1038"/>
                  </a:lnTo>
                  <a:lnTo>
                    <a:pt x="1254" y="1038"/>
                  </a:lnTo>
                  <a:lnTo>
                    <a:pt x="1254" y="1032"/>
                  </a:lnTo>
                  <a:lnTo>
                    <a:pt x="1260" y="1032"/>
                  </a:lnTo>
                  <a:lnTo>
                    <a:pt x="1260" y="1026"/>
                  </a:lnTo>
                  <a:lnTo>
                    <a:pt x="1260" y="1020"/>
                  </a:lnTo>
                  <a:lnTo>
                    <a:pt x="1260" y="1014"/>
                  </a:lnTo>
                  <a:lnTo>
                    <a:pt x="1266" y="1014"/>
                  </a:lnTo>
                  <a:lnTo>
                    <a:pt x="1266" y="1008"/>
                  </a:lnTo>
                  <a:lnTo>
                    <a:pt x="1260" y="1008"/>
                  </a:lnTo>
                  <a:lnTo>
                    <a:pt x="1260" y="1002"/>
                  </a:lnTo>
                  <a:lnTo>
                    <a:pt x="1260" y="996"/>
                  </a:lnTo>
                  <a:lnTo>
                    <a:pt x="1266" y="996"/>
                  </a:lnTo>
                  <a:lnTo>
                    <a:pt x="1266" y="990"/>
                  </a:lnTo>
                  <a:lnTo>
                    <a:pt x="1266" y="984"/>
                  </a:lnTo>
                  <a:lnTo>
                    <a:pt x="1266" y="978"/>
                  </a:lnTo>
                  <a:lnTo>
                    <a:pt x="1260" y="972"/>
                  </a:lnTo>
                  <a:lnTo>
                    <a:pt x="1260" y="966"/>
                  </a:lnTo>
                  <a:lnTo>
                    <a:pt x="1254" y="966"/>
                  </a:lnTo>
                  <a:lnTo>
                    <a:pt x="1254" y="960"/>
                  </a:lnTo>
                  <a:lnTo>
                    <a:pt x="1254" y="954"/>
                  </a:lnTo>
                  <a:lnTo>
                    <a:pt x="1260" y="954"/>
                  </a:lnTo>
                  <a:lnTo>
                    <a:pt x="1260" y="948"/>
                  </a:lnTo>
                  <a:lnTo>
                    <a:pt x="1260" y="942"/>
                  </a:lnTo>
                  <a:lnTo>
                    <a:pt x="1266" y="942"/>
                  </a:lnTo>
                  <a:lnTo>
                    <a:pt x="1266" y="936"/>
                  </a:lnTo>
                  <a:lnTo>
                    <a:pt x="1266" y="930"/>
                  </a:lnTo>
                  <a:lnTo>
                    <a:pt x="1272" y="930"/>
                  </a:lnTo>
                  <a:lnTo>
                    <a:pt x="1272" y="924"/>
                  </a:lnTo>
                  <a:lnTo>
                    <a:pt x="1272" y="918"/>
                  </a:lnTo>
                  <a:lnTo>
                    <a:pt x="1272" y="912"/>
                  </a:lnTo>
                  <a:lnTo>
                    <a:pt x="1278" y="912"/>
                  </a:lnTo>
                  <a:lnTo>
                    <a:pt x="1278" y="906"/>
                  </a:lnTo>
                  <a:lnTo>
                    <a:pt x="1284" y="906"/>
                  </a:lnTo>
                  <a:lnTo>
                    <a:pt x="1284" y="900"/>
                  </a:lnTo>
                  <a:lnTo>
                    <a:pt x="1290" y="900"/>
                  </a:lnTo>
                  <a:lnTo>
                    <a:pt x="1296" y="900"/>
                  </a:lnTo>
                  <a:lnTo>
                    <a:pt x="1290" y="900"/>
                  </a:lnTo>
                  <a:lnTo>
                    <a:pt x="1290" y="906"/>
                  </a:lnTo>
                  <a:lnTo>
                    <a:pt x="1290" y="912"/>
                  </a:lnTo>
                  <a:lnTo>
                    <a:pt x="1290" y="918"/>
                  </a:lnTo>
                  <a:lnTo>
                    <a:pt x="1290" y="924"/>
                  </a:lnTo>
                  <a:lnTo>
                    <a:pt x="1284" y="924"/>
                  </a:lnTo>
                  <a:lnTo>
                    <a:pt x="1284" y="930"/>
                  </a:lnTo>
                  <a:lnTo>
                    <a:pt x="1290" y="930"/>
                  </a:lnTo>
                  <a:lnTo>
                    <a:pt x="1290" y="936"/>
                  </a:lnTo>
                  <a:lnTo>
                    <a:pt x="1296" y="936"/>
                  </a:lnTo>
                  <a:lnTo>
                    <a:pt x="1290" y="936"/>
                  </a:lnTo>
                  <a:lnTo>
                    <a:pt x="1296" y="936"/>
                  </a:lnTo>
                  <a:lnTo>
                    <a:pt x="1296" y="942"/>
                  </a:lnTo>
                  <a:lnTo>
                    <a:pt x="1290" y="942"/>
                  </a:lnTo>
                  <a:lnTo>
                    <a:pt x="1290" y="948"/>
                  </a:lnTo>
                  <a:lnTo>
                    <a:pt x="1290" y="954"/>
                  </a:lnTo>
                  <a:lnTo>
                    <a:pt x="1296" y="954"/>
                  </a:lnTo>
                  <a:lnTo>
                    <a:pt x="1296" y="948"/>
                  </a:lnTo>
                  <a:lnTo>
                    <a:pt x="1302" y="948"/>
                  </a:lnTo>
                  <a:lnTo>
                    <a:pt x="1308" y="948"/>
                  </a:lnTo>
                  <a:lnTo>
                    <a:pt x="1308" y="942"/>
                  </a:lnTo>
                  <a:lnTo>
                    <a:pt x="1314" y="942"/>
                  </a:lnTo>
                  <a:lnTo>
                    <a:pt x="1308" y="936"/>
                  </a:lnTo>
                  <a:lnTo>
                    <a:pt x="1314" y="936"/>
                  </a:lnTo>
                  <a:lnTo>
                    <a:pt x="1314" y="930"/>
                  </a:lnTo>
                  <a:lnTo>
                    <a:pt x="1320" y="930"/>
                  </a:lnTo>
                  <a:lnTo>
                    <a:pt x="1314" y="930"/>
                  </a:lnTo>
                  <a:lnTo>
                    <a:pt x="1314" y="924"/>
                  </a:lnTo>
                  <a:lnTo>
                    <a:pt x="1320" y="924"/>
                  </a:lnTo>
                  <a:lnTo>
                    <a:pt x="1320" y="918"/>
                  </a:lnTo>
                  <a:lnTo>
                    <a:pt x="1320" y="912"/>
                  </a:lnTo>
                  <a:lnTo>
                    <a:pt x="1320" y="918"/>
                  </a:lnTo>
                  <a:lnTo>
                    <a:pt x="1320" y="912"/>
                  </a:lnTo>
                  <a:lnTo>
                    <a:pt x="1326" y="912"/>
                  </a:lnTo>
                  <a:lnTo>
                    <a:pt x="1320" y="912"/>
                  </a:lnTo>
                  <a:lnTo>
                    <a:pt x="1326" y="912"/>
                  </a:lnTo>
                  <a:lnTo>
                    <a:pt x="1326" y="906"/>
                  </a:lnTo>
                  <a:lnTo>
                    <a:pt x="1326" y="900"/>
                  </a:lnTo>
                  <a:lnTo>
                    <a:pt x="1332" y="900"/>
                  </a:lnTo>
                  <a:lnTo>
                    <a:pt x="1338" y="900"/>
                  </a:lnTo>
                  <a:lnTo>
                    <a:pt x="1338" y="894"/>
                  </a:lnTo>
                  <a:lnTo>
                    <a:pt x="1344" y="894"/>
                  </a:lnTo>
                  <a:lnTo>
                    <a:pt x="1350" y="894"/>
                  </a:lnTo>
                  <a:lnTo>
                    <a:pt x="1350" y="888"/>
                  </a:lnTo>
                  <a:lnTo>
                    <a:pt x="1350" y="894"/>
                  </a:lnTo>
                  <a:lnTo>
                    <a:pt x="1350" y="888"/>
                  </a:lnTo>
                  <a:lnTo>
                    <a:pt x="1356" y="888"/>
                  </a:lnTo>
                  <a:lnTo>
                    <a:pt x="1362" y="888"/>
                  </a:lnTo>
                  <a:lnTo>
                    <a:pt x="1368" y="888"/>
                  </a:lnTo>
                  <a:lnTo>
                    <a:pt x="1368" y="882"/>
                  </a:lnTo>
                  <a:lnTo>
                    <a:pt x="1374" y="882"/>
                  </a:lnTo>
                  <a:lnTo>
                    <a:pt x="1380" y="882"/>
                  </a:lnTo>
                  <a:lnTo>
                    <a:pt x="1386" y="882"/>
                  </a:lnTo>
                  <a:lnTo>
                    <a:pt x="1386" y="876"/>
                  </a:lnTo>
                  <a:lnTo>
                    <a:pt x="1392" y="876"/>
                  </a:lnTo>
                  <a:lnTo>
                    <a:pt x="1392" y="870"/>
                  </a:lnTo>
                  <a:lnTo>
                    <a:pt x="1398" y="870"/>
                  </a:lnTo>
                  <a:lnTo>
                    <a:pt x="1398" y="864"/>
                  </a:lnTo>
                  <a:lnTo>
                    <a:pt x="1404" y="864"/>
                  </a:lnTo>
                  <a:lnTo>
                    <a:pt x="1404" y="858"/>
                  </a:lnTo>
                  <a:lnTo>
                    <a:pt x="1410" y="858"/>
                  </a:lnTo>
                  <a:lnTo>
                    <a:pt x="1416" y="858"/>
                  </a:lnTo>
                  <a:lnTo>
                    <a:pt x="1416" y="852"/>
                  </a:lnTo>
                  <a:lnTo>
                    <a:pt x="1422" y="852"/>
                  </a:lnTo>
                  <a:lnTo>
                    <a:pt x="1422" y="846"/>
                  </a:lnTo>
                  <a:lnTo>
                    <a:pt x="1428" y="846"/>
                  </a:lnTo>
                  <a:lnTo>
                    <a:pt x="1428" y="840"/>
                  </a:lnTo>
                  <a:lnTo>
                    <a:pt x="1434" y="840"/>
                  </a:lnTo>
                  <a:lnTo>
                    <a:pt x="1440" y="840"/>
                  </a:lnTo>
                  <a:lnTo>
                    <a:pt x="1440" y="834"/>
                  </a:lnTo>
                  <a:lnTo>
                    <a:pt x="1446" y="834"/>
                  </a:lnTo>
                  <a:lnTo>
                    <a:pt x="1446" y="828"/>
                  </a:lnTo>
                  <a:lnTo>
                    <a:pt x="1452" y="828"/>
                  </a:lnTo>
                  <a:lnTo>
                    <a:pt x="1458" y="828"/>
                  </a:lnTo>
                  <a:lnTo>
                    <a:pt x="1458" y="822"/>
                  </a:lnTo>
                  <a:lnTo>
                    <a:pt x="1464" y="822"/>
                  </a:lnTo>
                  <a:lnTo>
                    <a:pt x="1464" y="828"/>
                  </a:lnTo>
                  <a:lnTo>
                    <a:pt x="1464" y="822"/>
                  </a:lnTo>
                  <a:lnTo>
                    <a:pt x="1470" y="822"/>
                  </a:lnTo>
                  <a:lnTo>
                    <a:pt x="1470" y="816"/>
                  </a:lnTo>
                  <a:lnTo>
                    <a:pt x="1476" y="816"/>
                  </a:lnTo>
                  <a:lnTo>
                    <a:pt x="1482" y="816"/>
                  </a:lnTo>
                  <a:lnTo>
                    <a:pt x="1482" y="810"/>
                  </a:lnTo>
                  <a:lnTo>
                    <a:pt x="1488" y="810"/>
                  </a:lnTo>
                  <a:lnTo>
                    <a:pt x="1488" y="804"/>
                  </a:lnTo>
                  <a:lnTo>
                    <a:pt x="1494" y="804"/>
                  </a:lnTo>
                  <a:lnTo>
                    <a:pt x="1494" y="810"/>
                  </a:lnTo>
                  <a:lnTo>
                    <a:pt x="1488" y="810"/>
                  </a:lnTo>
                  <a:lnTo>
                    <a:pt x="1494" y="816"/>
                  </a:lnTo>
                  <a:lnTo>
                    <a:pt x="1500" y="816"/>
                  </a:lnTo>
                  <a:lnTo>
                    <a:pt x="1506" y="816"/>
                  </a:lnTo>
                  <a:lnTo>
                    <a:pt x="1506" y="810"/>
                  </a:lnTo>
                  <a:lnTo>
                    <a:pt x="1512" y="810"/>
                  </a:lnTo>
                  <a:lnTo>
                    <a:pt x="1518" y="810"/>
                  </a:lnTo>
                  <a:lnTo>
                    <a:pt x="1518" y="816"/>
                  </a:lnTo>
                  <a:lnTo>
                    <a:pt x="1518" y="810"/>
                  </a:lnTo>
                  <a:lnTo>
                    <a:pt x="1518" y="816"/>
                  </a:lnTo>
                  <a:lnTo>
                    <a:pt x="1524" y="816"/>
                  </a:lnTo>
                  <a:lnTo>
                    <a:pt x="1530" y="816"/>
                  </a:lnTo>
                  <a:lnTo>
                    <a:pt x="1530" y="822"/>
                  </a:lnTo>
                  <a:lnTo>
                    <a:pt x="1530" y="816"/>
                  </a:lnTo>
                  <a:lnTo>
                    <a:pt x="1536" y="816"/>
                  </a:lnTo>
                  <a:lnTo>
                    <a:pt x="1530" y="816"/>
                  </a:lnTo>
                  <a:lnTo>
                    <a:pt x="1536" y="816"/>
                  </a:lnTo>
                  <a:lnTo>
                    <a:pt x="1536" y="822"/>
                  </a:lnTo>
                  <a:lnTo>
                    <a:pt x="1536" y="816"/>
                  </a:lnTo>
                  <a:lnTo>
                    <a:pt x="1542" y="816"/>
                  </a:lnTo>
                  <a:lnTo>
                    <a:pt x="1548" y="816"/>
                  </a:lnTo>
                  <a:lnTo>
                    <a:pt x="1554" y="816"/>
                  </a:lnTo>
                  <a:lnTo>
                    <a:pt x="1554" y="810"/>
                  </a:lnTo>
                  <a:lnTo>
                    <a:pt x="1554" y="816"/>
                  </a:lnTo>
                  <a:lnTo>
                    <a:pt x="1554" y="810"/>
                  </a:lnTo>
                  <a:lnTo>
                    <a:pt x="1560" y="810"/>
                  </a:lnTo>
                  <a:lnTo>
                    <a:pt x="1560" y="816"/>
                  </a:lnTo>
                  <a:lnTo>
                    <a:pt x="1560" y="810"/>
                  </a:lnTo>
                  <a:lnTo>
                    <a:pt x="1566" y="810"/>
                  </a:lnTo>
                  <a:lnTo>
                    <a:pt x="1566" y="816"/>
                  </a:lnTo>
                  <a:lnTo>
                    <a:pt x="1566" y="810"/>
                  </a:lnTo>
                  <a:lnTo>
                    <a:pt x="1572" y="810"/>
                  </a:lnTo>
                  <a:lnTo>
                    <a:pt x="1572" y="804"/>
                  </a:lnTo>
                  <a:lnTo>
                    <a:pt x="1578" y="804"/>
                  </a:lnTo>
                  <a:lnTo>
                    <a:pt x="1572" y="804"/>
                  </a:lnTo>
                  <a:lnTo>
                    <a:pt x="1578" y="804"/>
                  </a:lnTo>
                  <a:lnTo>
                    <a:pt x="1578" y="798"/>
                  </a:lnTo>
                  <a:lnTo>
                    <a:pt x="1584" y="798"/>
                  </a:lnTo>
                  <a:lnTo>
                    <a:pt x="1584" y="792"/>
                  </a:lnTo>
                  <a:lnTo>
                    <a:pt x="1590" y="792"/>
                  </a:lnTo>
                  <a:lnTo>
                    <a:pt x="1596" y="792"/>
                  </a:lnTo>
                  <a:lnTo>
                    <a:pt x="1596" y="786"/>
                  </a:lnTo>
                  <a:lnTo>
                    <a:pt x="1596" y="792"/>
                  </a:lnTo>
                  <a:lnTo>
                    <a:pt x="1602" y="792"/>
                  </a:lnTo>
                  <a:lnTo>
                    <a:pt x="1602" y="786"/>
                  </a:lnTo>
                  <a:lnTo>
                    <a:pt x="1602" y="792"/>
                  </a:lnTo>
                  <a:lnTo>
                    <a:pt x="1602" y="786"/>
                  </a:lnTo>
                  <a:lnTo>
                    <a:pt x="1608" y="786"/>
                  </a:lnTo>
                  <a:lnTo>
                    <a:pt x="1608" y="792"/>
                  </a:lnTo>
                  <a:lnTo>
                    <a:pt x="1608" y="786"/>
                  </a:lnTo>
                  <a:lnTo>
                    <a:pt x="1614" y="792"/>
                  </a:lnTo>
                  <a:lnTo>
                    <a:pt x="1614" y="786"/>
                  </a:lnTo>
                  <a:lnTo>
                    <a:pt x="1620" y="786"/>
                  </a:lnTo>
                  <a:lnTo>
                    <a:pt x="1614" y="786"/>
                  </a:lnTo>
                  <a:lnTo>
                    <a:pt x="1620" y="786"/>
                  </a:lnTo>
                  <a:lnTo>
                    <a:pt x="1626" y="786"/>
                  </a:lnTo>
                  <a:lnTo>
                    <a:pt x="1620" y="786"/>
                  </a:lnTo>
                  <a:lnTo>
                    <a:pt x="1626" y="786"/>
                  </a:lnTo>
                  <a:lnTo>
                    <a:pt x="1632" y="786"/>
                  </a:lnTo>
                  <a:lnTo>
                    <a:pt x="1638" y="786"/>
                  </a:lnTo>
                  <a:lnTo>
                    <a:pt x="1644" y="786"/>
                  </a:lnTo>
                  <a:lnTo>
                    <a:pt x="1644" y="780"/>
                  </a:lnTo>
                  <a:lnTo>
                    <a:pt x="1650" y="774"/>
                  </a:lnTo>
                  <a:lnTo>
                    <a:pt x="1656" y="774"/>
                  </a:lnTo>
                  <a:lnTo>
                    <a:pt x="1656" y="768"/>
                  </a:lnTo>
                  <a:lnTo>
                    <a:pt x="1656" y="762"/>
                  </a:lnTo>
                  <a:lnTo>
                    <a:pt x="1662" y="762"/>
                  </a:lnTo>
                  <a:lnTo>
                    <a:pt x="1668" y="762"/>
                  </a:lnTo>
                  <a:lnTo>
                    <a:pt x="1674" y="762"/>
                  </a:lnTo>
                  <a:lnTo>
                    <a:pt x="1668" y="762"/>
                  </a:lnTo>
                  <a:lnTo>
                    <a:pt x="1668" y="756"/>
                  </a:lnTo>
                  <a:lnTo>
                    <a:pt x="1674" y="756"/>
                  </a:lnTo>
                  <a:lnTo>
                    <a:pt x="1674" y="762"/>
                  </a:lnTo>
                  <a:lnTo>
                    <a:pt x="1680" y="762"/>
                  </a:lnTo>
                  <a:lnTo>
                    <a:pt x="1686" y="762"/>
                  </a:lnTo>
                  <a:lnTo>
                    <a:pt x="1692" y="762"/>
                  </a:lnTo>
                  <a:lnTo>
                    <a:pt x="1692" y="768"/>
                  </a:lnTo>
                  <a:lnTo>
                    <a:pt x="1698" y="768"/>
                  </a:lnTo>
                  <a:lnTo>
                    <a:pt x="1704" y="768"/>
                  </a:lnTo>
                  <a:lnTo>
                    <a:pt x="1704" y="762"/>
                  </a:lnTo>
                  <a:lnTo>
                    <a:pt x="1710" y="762"/>
                  </a:lnTo>
                  <a:lnTo>
                    <a:pt x="1716" y="762"/>
                  </a:lnTo>
                  <a:lnTo>
                    <a:pt x="1722" y="762"/>
                  </a:lnTo>
                  <a:lnTo>
                    <a:pt x="1722" y="756"/>
                  </a:lnTo>
                  <a:lnTo>
                    <a:pt x="1728" y="756"/>
                  </a:lnTo>
                  <a:lnTo>
                    <a:pt x="1734" y="756"/>
                  </a:lnTo>
                  <a:lnTo>
                    <a:pt x="1740" y="756"/>
                  </a:lnTo>
                  <a:lnTo>
                    <a:pt x="1746" y="756"/>
                  </a:lnTo>
                  <a:lnTo>
                    <a:pt x="1752" y="756"/>
                  </a:lnTo>
                  <a:lnTo>
                    <a:pt x="1758" y="750"/>
                  </a:lnTo>
                  <a:lnTo>
                    <a:pt x="1764" y="750"/>
                  </a:lnTo>
                  <a:lnTo>
                    <a:pt x="1770" y="750"/>
                  </a:lnTo>
                  <a:lnTo>
                    <a:pt x="1770" y="744"/>
                  </a:lnTo>
                  <a:lnTo>
                    <a:pt x="1776" y="744"/>
                  </a:lnTo>
                  <a:lnTo>
                    <a:pt x="1782" y="744"/>
                  </a:lnTo>
                  <a:lnTo>
                    <a:pt x="1788" y="738"/>
                  </a:lnTo>
                  <a:lnTo>
                    <a:pt x="1794" y="738"/>
                  </a:lnTo>
                  <a:lnTo>
                    <a:pt x="1800" y="738"/>
                  </a:lnTo>
                  <a:lnTo>
                    <a:pt x="1800" y="732"/>
                  </a:lnTo>
                  <a:lnTo>
                    <a:pt x="1806" y="732"/>
                  </a:lnTo>
                  <a:lnTo>
                    <a:pt x="1812" y="732"/>
                  </a:lnTo>
                  <a:lnTo>
                    <a:pt x="1812" y="726"/>
                  </a:lnTo>
                  <a:lnTo>
                    <a:pt x="1818" y="726"/>
                  </a:lnTo>
                  <a:lnTo>
                    <a:pt x="1824" y="720"/>
                  </a:lnTo>
                  <a:lnTo>
                    <a:pt x="1830" y="714"/>
                  </a:lnTo>
                  <a:lnTo>
                    <a:pt x="1836" y="708"/>
                  </a:lnTo>
                  <a:lnTo>
                    <a:pt x="1842" y="702"/>
                  </a:lnTo>
                  <a:lnTo>
                    <a:pt x="1842" y="696"/>
                  </a:lnTo>
                  <a:lnTo>
                    <a:pt x="1848" y="696"/>
                  </a:lnTo>
                  <a:lnTo>
                    <a:pt x="1848" y="690"/>
                  </a:lnTo>
                  <a:lnTo>
                    <a:pt x="1848" y="684"/>
                  </a:lnTo>
                  <a:lnTo>
                    <a:pt x="1854" y="684"/>
                  </a:lnTo>
                  <a:lnTo>
                    <a:pt x="1848" y="684"/>
                  </a:lnTo>
                  <a:lnTo>
                    <a:pt x="1854" y="678"/>
                  </a:lnTo>
                  <a:lnTo>
                    <a:pt x="1854" y="672"/>
                  </a:lnTo>
                  <a:lnTo>
                    <a:pt x="1854" y="666"/>
                  </a:lnTo>
                  <a:lnTo>
                    <a:pt x="1860" y="666"/>
                  </a:lnTo>
                  <a:lnTo>
                    <a:pt x="1866" y="666"/>
                  </a:lnTo>
                  <a:lnTo>
                    <a:pt x="1866" y="660"/>
                  </a:lnTo>
                  <a:lnTo>
                    <a:pt x="1866" y="654"/>
                  </a:lnTo>
                  <a:lnTo>
                    <a:pt x="1860" y="654"/>
                  </a:lnTo>
                  <a:lnTo>
                    <a:pt x="1866" y="654"/>
                  </a:lnTo>
                  <a:lnTo>
                    <a:pt x="1866" y="648"/>
                  </a:lnTo>
                  <a:lnTo>
                    <a:pt x="1872" y="648"/>
                  </a:lnTo>
                  <a:lnTo>
                    <a:pt x="1866" y="648"/>
                  </a:lnTo>
                  <a:lnTo>
                    <a:pt x="1872" y="648"/>
                  </a:lnTo>
                  <a:lnTo>
                    <a:pt x="1872" y="642"/>
                  </a:lnTo>
                  <a:lnTo>
                    <a:pt x="1872" y="648"/>
                  </a:lnTo>
                  <a:lnTo>
                    <a:pt x="1878" y="648"/>
                  </a:lnTo>
                  <a:lnTo>
                    <a:pt x="1878" y="642"/>
                  </a:lnTo>
                  <a:lnTo>
                    <a:pt x="1884" y="642"/>
                  </a:lnTo>
                  <a:lnTo>
                    <a:pt x="1884" y="636"/>
                  </a:lnTo>
                  <a:lnTo>
                    <a:pt x="1890" y="636"/>
                  </a:lnTo>
                  <a:lnTo>
                    <a:pt x="1896" y="636"/>
                  </a:lnTo>
                  <a:lnTo>
                    <a:pt x="1896" y="630"/>
                  </a:lnTo>
                  <a:lnTo>
                    <a:pt x="1902" y="630"/>
                  </a:lnTo>
                  <a:lnTo>
                    <a:pt x="1896" y="630"/>
                  </a:lnTo>
                  <a:lnTo>
                    <a:pt x="1902" y="630"/>
                  </a:lnTo>
                  <a:lnTo>
                    <a:pt x="1902" y="624"/>
                  </a:lnTo>
                  <a:lnTo>
                    <a:pt x="1908" y="624"/>
                  </a:lnTo>
                  <a:lnTo>
                    <a:pt x="1908" y="618"/>
                  </a:lnTo>
                  <a:lnTo>
                    <a:pt x="1914" y="618"/>
                  </a:lnTo>
                  <a:lnTo>
                    <a:pt x="1914" y="612"/>
                  </a:lnTo>
                  <a:lnTo>
                    <a:pt x="1908" y="612"/>
                  </a:lnTo>
                  <a:lnTo>
                    <a:pt x="1902" y="606"/>
                  </a:lnTo>
                  <a:lnTo>
                    <a:pt x="1902" y="612"/>
                  </a:lnTo>
                  <a:lnTo>
                    <a:pt x="1896" y="612"/>
                  </a:lnTo>
                  <a:lnTo>
                    <a:pt x="1896" y="606"/>
                  </a:lnTo>
                  <a:lnTo>
                    <a:pt x="1902" y="606"/>
                  </a:lnTo>
                  <a:lnTo>
                    <a:pt x="1902" y="600"/>
                  </a:lnTo>
                  <a:lnTo>
                    <a:pt x="1902" y="594"/>
                  </a:lnTo>
                  <a:lnTo>
                    <a:pt x="1902" y="588"/>
                  </a:lnTo>
                  <a:lnTo>
                    <a:pt x="1896" y="588"/>
                  </a:lnTo>
                  <a:lnTo>
                    <a:pt x="1896" y="582"/>
                  </a:lnTo>
                  <a:lnTo>
                    <a:pt x="1896" y="576"/>
                  </a:lnTo>
                  <a:lnTo>
                    <a:pt x="1896" y="570"/>
                  </a:lnTo>
                  <a:lnTo>
                    <a:pt x="1896" y="564"/>
                  </a:lnTo>
                  <a:lnTo>
                    <a:pt x="1896" y="558"/>
                  </a:lnTo>
                  <a:lnTo>
                    <a:pt x="1896" y="552"/>
                  </a:lnTo>
                  <a:lnTo>
                    <a:pt x="1902" y="552"/>
                  </a:lnTo>
                  <a:lnTo>
                    <a:pt x="1902" y="546"/>
                  </a:lnTo>
                  <a:lnTo>
                    <a:pt x="1908" y="546"/>
                  </a:lnTo>
                  <a:lnTo>
                    <a:pt x="1902" y="546"/>
                  </a:lnTo>
                  <a:lnTo>
                    <a:pt x="1908" y="540"/>
                  </a:lnTo>
                  <a:lnTo>
                    <a:pt x="1914" y="540"/>
                  </a:lnTo>
                  <a:lnTo>
                    <a:pt x="1914" y="534"/>
                  </a:lnTo>
                  <a:lnTo>
                    <a:pt x="1914" y="540"/>
                  </a:lnTo>
                  <a:lnTo>
                    <a:pt x="1914" y="534"/>
                  </a:lnTo>
                  <a:lnTo>
                    <a:pt x="1920" y="534"/>
                  </a:lnTo>
                  <a:lnTo>
                    <a:pt x="1920" y="528"/>
                  </a:lnTo>
                  <a:lnTo>
                    <a:pt x="1920" y="534"/>
                  </a:lnTo>
                  <a:lnTo>
                    <a:pt x="1920" y="528"/>
                  </a:lnTo>
                  <a:lnTo>
                    <a:pt x="1926" y="528"/>
                  </a:lnTo>
                  <a:lnTo>
                    <a:pt x="1926" y="534"/>
                  </a:lnTo>
                  <a:lnTo>
                    <a:pt x="1932" y="534"/>
                  </a:lnTo>
                  <a:lnTo>
                    <a:pt x="1932" y="528"/>
                  </a:lnTo>
                  <a:lnTo>
                    <a:pt x="1926" y="528"/>
                  </a:lnTo>
                  <a:lnTo>
                    <a:pt x="1926" y="522"/>
                  </a:lnTo>
                  <a:lnTo>
                    <a:pt x="1932" y="522"/>
                  </a:lnTo>
                  <a:lnTo>
                    <a:pt x="1926" y="516"/>
                  </a:lnTo>
                  <a:lnTo>
                    <a:pt x="1932" y="516"/>
                  </a:lnTo>
                  <a:lnTo>
                    <a:pt x="1932" y="522"/>
                  </a:lnTo>
                  <a:lnTo>
                    <a:pt x="1938" y="522"/>
                  </a:lnTo>
                  <a:lnTo>
                    <a:pt x="1938" y="516"/>
                  </a:lnTo>
                  <a:lnTo>
                    <a:pt x="1938" y="522"/>
                  </a:lnTo>
                  <a:lnTo>
                    <a:pt x="1944" y="516"/>
                  </a:lnTo>
                  <a:lnTo>
                    <a:pt x="1950" y="516"/>
                  </a:lnTo>
                  <a:lnTo>
                    <a:pt x="1950" y="522"/>
                  </a:lnTo>
                  <a:lnTo>
                    <a:pt x="1950" y="516"/>
                  </a:lnTo>
                  <a:lnTo>
                    <a:pt x="1944" y="516"/>
                  </a:lnTo>
                  <a:lnTo>
                    <a:pt x="1944" y="510"/>
                  </a:lnTo>
                  <a:lnTo>
                    <a:pt x="1944" y="516"/>
                  </a:lnTo>
                  <a:lnTo>
                    <a:pt x="1944" y="510"/>
                  </a:lnTo>
                  <a:lnTo>
                    <a:pt x="1944" y="504"/>
                  </a:lnTo>
                  <a:lnTo>
                    <a:pt x="1950" y="504"/>
                  </a:lnTo>
                  <a:lnTo>
                    <a:pt x="1944" y="504"/>
                  </a:lnTo>
                  <a:lnTo>
                    <a:pt x="1950" y="504"/>
                  </a:lnTo>
                  <a:lnTo>
                    <a:pt x="1950" y="498"/>
                  </a:lnTo>
                  <a:lnTo>
                    <a:pt x="1956" y="498"/>
                  </a:lnTo>
                  <a:lnTo>
                    <a:pt x="1956" y="492"/>
                  </a:lnTo>
                  <a:lnTo>
                    <a:pt x="1962" y="492"/>
                  </a:lnTo>
                  <a:lnTo>
                    <a:pt x="1962" y="486"/>
                  </a:lnTo>
                  <a:lnTo>
                    <a:pt x="1962" y="492"/>
                  </a:lnTo>
                  <a:lnTo>
                    <a:pt x="1968" y="492"/>
                  </a:lnTo>
                  <a:lnTo>
                    <a:pt x="1968" y="498"/>
                  </a:lnTo>
                  <a:lnTo>
                    <a:pt x="1962" y="498"/>
                  </a:lnTo>
                  <a:lnTo>
                    <a:pt x="1962" y="492"/>
                  </a:lnTo>
                  <a:lnTo>
                    <a:pt x="1962" y="498"/>
                  </a:lnTo>
                  <a:lnTo>
                    <a:pt x="1962" y="492"/>
                  </a:lnTo>
                  <a:lnTo>
                    <a:pt x="1962" y="498"/>
                  </a:lnTo>
                  <a:lnTo>
                    <a:pt x="1962" y="504"/>
                  </a:lnTo>
                  <a:lnTo>
                    <a:pt x="1956" y="504"/>
                  </a:lnTo>
                  <a:lnTo>
                    <a:pt x="1962" y="504"/>
                  </a:lnTo>
                  <a:lnTo>
                    <a:pt x="1962" y="510"/>
                  </a:lnTo>
                  <a:lnTo>
                    <a:pt x="1962" y="504"/>
                  </a:lnTo>
                  <a:lnTo>
                    <a:pt x="1962" y="510"/>
                  </a:lnTo>
                  <a:lnTo>
                    <a:pt x="1968" y="510"/>
                  </a:lnTo>
                  <a:lnTo>
                    <a:pt x="1968" y="516"/>
                  </a:lnTo>
                  <a:lnTo>
                    <a:pt x="1974" y="516"/>
                  </a:lnTo>
                  <a:lnTo>
                    <a:pt x="1974" y="510"/>
                  </a:lnTo>
                  <a:lnTo>
                    <a:pt x="1974" y="516"/>
                  </a:lnTo>
                  <a:lnTo>
                    <a:pt x="1968" y="516"/>
                  </a:lnTo>
                  <a:lnTo>
                    <a:pt x="1968" y="522"/>
                  </a:lnTo>
                  <a:lnTo>
                    <a:pt x="1974" y="522"/>
                  </a:lnTo>
                  <a:lnTo>
                    <a:pt x="1974" y="528"/>
                  </a:lnTo>
                  <a:lnTo>
                    <a:pt x="1974" y="534"/>
                  </a:lnTo>
                  <a:lnTo>
                    <a:pt x="1980" y="534"/>
                  </a:lnTo>
                  <a:lnTo>
                    <a:pt x="1980" y="540"/>
                  </a:lnTo>
                  <a:lnTo>
                    <a:pt x="1980" y="546"/>
                  </a:lnTo>
                  <a:lnTo>
                    <a:pt x="1986" y="546"/>
                  </a:lnTo>
                  <a:lnTo>
                    <a:pt x="1986" y="552"/>
                  </a:lnTo>
                  <a:lnTo>
                    <a:pt x="1992" y="558"/>
                  </a:lnTo>
                  <a:lnTo>
                    <a:pt x="1992" y="564"/>
                  </a:lnTo>
                  <a:lnTo>
                    <a:pt x="1998" y="564"/>
                  </a:lnTo>
                  <a:lnTo>
                    <a:pt x="1998" y="570"/>
                  </a:lnTo>
                  <a:lnTo>
                    <a:pt x="1998" y="576"/>
                  </a:lnTo>
                  <a:lnTo>
                    <a:pt x="2004" y="576"/>
                  </a:lnTo>
                  <a:lnTo>
                    <a:pt x="2004" y="582"/>
                  </a:lnTo>
                  <a:lnTo>
                    <a:pt x="2004" y="576"/>
                  </a:lnTo>
                  <a:lnTo>
                    <a:pt x="2004" y="570"/>
                  </a:lnTo>
                  <a:lnTo>
                    <a:pt x="2004" y="564"/>
                  </a:lnTo>
                  <a:lnTo>
                    <a:pt x="2004" y="558"/>
                  </a:lnTo>
                  <a:lnTo>
                    <a:pt x="2004" y="552"/>
                  </a:lnTo>
                  <a:lnTo>
                    <a:pt x="2010" y="552"/>
                  </a:lnTo>
                  <a:lnTo>
                    <a:pt x="2010" y="558"/>
                  </a:lnTo>
                  <a:lnTo>
                    <a:pt x="2010" y="552"/>
                  </a:lnTo>
                  <a:lnTo>
                    <a:pt x="2010" y="558"/>
                  </a:lnTo>
                  <a:lnTo>
                    <a:pt x="2010" y="552"/>
                  </a:lnTo>
                  <a:lnTo>
                    <a:pt x="2010" y="546"/>
                  </a:lnTo>
                  <a:lnTo>
                    <a:pt x="2004" y="546"/>
                  </a:lnTo>
                  <a:lnTo>
                    <a:pt x="2004" y="540"/>
                  </a:lnTo>
                  <a:lnTo>
                    <a:pt x="2004" y="534"/>
                  </a:lnTo>
                  <a:lnTo>
                    <a:pt x="2004" y="540"/>
                  </a:lnTo>
                  <a:lnTo>
                    <a:pt x="2010" y="540"/>
                  </a:lnTo>
                  <a:lnTo>
                    <a:pt x="2004" y="534"/>
                  </a:lnTo>
                  <a:lnTo>
                    <a:pt x="2010" y="534"/>
                  </a:lnTo>
                  <a:lnTo>
                    <a:pt x="2010" y="540"/>
                  </a:lnTo>
                  <a:lnTo>
                    <a:pt x="2010" y="546"/>
                  </a:lnTo>
                  <a:lnTo>
                    <a:pt x="2016" y="546"/>
                  </a:lnTo>
                  <a:lnTo>
                    <a:pt x="2016" y="540"/>
                  </a:lnTo>
                  <a:lnTo>
                    <a:pt x="2010" y="540"/>
                  </a:lnTo>
                  <a:lnTo>
                    <a:pt x="2016" y="540"/>
                  </a:lnTo>
                  <a:lnTo>
                    <a:pt x="2016" y="546"/>
                  </a:lnTo>
                  <a:lnTo>
                    <a:pt x="2022" y="546"/>
                  </a:lnTo>
                  <a:lnTo>
                    <a:pt x="2022" y="552"/>
                  </a:lnTo>
                  <a:lnTo>
                    <a:pt x="2028" y="552"/>
                  </a:lnTo>
                  <a:lnTo>
                    <a:pt x="2028" y="558"/>
                  </a:lnTo>
                  <a:lnTo>
                    <a:pt x="2028" y="552"/>
                  </a:lnTo>
                  <a:lnTo>
                    <a:pt x="2022" y="546"/>
                  </a:lnTo>
                  <a:lnTo>
                    <a:pt x="2022" y="540"/>
                  </a:lnTo>
                  <a:lnTo>
                    <a:pt x="2022" y="534"/>
                  </a:lnTo>
                  <a:lnTo>
                    <a:pt x="2022" y="540"/>
                  </a:lnTo>
                  <a:lnTo>
                    <a:pt x="2028" y="540"/>
                  </a:lnTo>
                  <a:lnTo>
                    <a:pt x="2028" y="546"/>
                  </a:lnTo>
                  <a:lnTo>
                    <a:pt x="2028" y="540"/>
                  </a:lnTo>
                  <a:lnTo>
                    <a:pt x="2028" y="534"/>
                  </a:lnTo>
                  <a:lnTo>
                    <a:pt x="2022" y="534"/>
                  </a:lnTo>
                  <a:lnTo>
                    <a:pt x="2022" y="528"/>
                  </a:lnTo>
                  <a:lnTo>
                    <a:pt x="2028" y="528"/>
                  </a:lnTo>
                  <a:lnTo>
                    <a:pt x="2034" y="528"/>
                  </a:lnTo>
                  <a:lnTo>
                    <a:pt x="2034" y="522"/>
                  </a:lnTo>
                  <a:lnTo>
                    <a:pt x="2028" y="522"/>
                  </a:lnTo>
                  <a:lnTo>
                    <a:pt x="2028" y="528"/>
                  </a:lnTo>
                  <a:lnTo>
                    <a:pt x="2022" y="528"/>
                  </a:lnTo>
                  <a:lnTo>
                    <a:pt x="2016" y="528"/>
                  </a:lnTo>
                  <a:lnTo>
                    <a:pt x="2016" y="522"/>
                  </a:lnTo>
                  <a:lnTo>
                    <a:pt x="2016" y="516"/>
                  </a:lnTo>
                  <a:lnTo>
                    <a:pt x="2010" y="516"/>
                  </a:lnTo>
                  <a:lnTo>
                    <a:pt x="2010" y="510"/>
                  </a:lnTo>
                  <a:lnTo>
                    <a:pt x="2004" y="510"/>
                  </a:lnTo>
                  <a:lnTo>
                    <a:pt x="1998" y="510"/>
                  </a:lnTo>
                  <a:lnTo>
                    <a:pt x="2004" y="510"/>
                  </a:lnTo>
                  <a:lnTo>
                    <a:pt x="2004" y="504"/>
                  </a:lnTo>
                  <a:lnTo>
                    <a:pt x="2010" y="504"/>
                  </a:lnTo>
                  <a:lnTo>
                    <a:pt x="2004" y="504"/>
                  </a:lnTo>
                  <a:lnTo>
                    <a:pt x="2004" y="498"/>
                  </a:lnTo>
                  <a:lnTo>
                    <a:pt x="2004" y="504"/>
                  </a:lnTo>
                  <a:lnTo>
                    <a:pt x="1998" y="504"/>
                  </a:lnTo>
                  <a:lnTo>
                    <a:pt x="2004" y="504"/>
                  </a:lnTo>
                  <a:lnTo>
                    <a:pt x="1998" y="504"/>
                  </a:lnTo>
                  <a:lnTo>
                    <a:pt x="1998" y="498"/>
                  </a:lnTo>
                  <a:lnTo>
                    <a:pt x="1992" y="498"/>
                  </a:lnTo>
                  <a:lnTo>
                    <a:pt x="1998" y="498"/>
                  </a:lnTo>
                  <a:lnTo>
                    <a:pt x="2004" y="498"/>
                  </a:lnTo>
                  <a:lnTo>
                    <a:pt x="2010" y="498"/>
                  </a:lnTo>
                  <a:lnTo>
                    <a:pt x="2004" y="498"/>
                  </a:lnTo>
                  <a:lnTo>
                    <a:pt x="2010" y="498"/>
                  </a:lnTo>
                  <a:lnTo>
                    <a:pt x="2010" y="492"/>
                  </a:lnTo>
                  <a:lnTo>
                    <a:pt x="2004" y="492"/>
                  </a:lnTo>
                  <a:lnTo>
                    <a:pt x="1998" y="492"/>
                  </a:lnTo>
                  <a:lnTo>
                    <a:pt x="2004" y="492"/>
                  </a:lnTo>
                  <a:lnTo>
                    <a:pt x="1998" y="492"/>
                  </a:lnTo>
                  <a:lnTo>
                    <a:pt x="1998" y="486"/>
                  </a:lnTo>
                  <a:lnTo>
                    <a:pt x="1998" y="492"/>
                  </a:lnTo>
                  <a:lnTo>
                    <a:pt x="2004" y="492"/>
                  </a:lnTo>
                  <a:lnTo>
                    <a:pt x="2010" y="492"/>
                  </a:lnTo>
                  <a:lnTo>
                    <a:pt x="2016" y="492"/>
                  </a:lnTo>
                  <a:lnTo>
                    <a:pt x="2010" y="492"/>
                  </a:lnTo>
                  <a:lnTo>
                    <a:pt x="2010" y="486"/>
                  </a:lnTo>
                  <a:lnTo>
                    <a:pt x="2010" y="492"/>
                  </a:lnTo>
                  <a:lnTo>
                    <a:pt x="2010" y="486"/>
                  </a:lnTo>
                  <a:lnTo>
                    <a:pt x="2016" y="486"/>
                  </a:lnTo>
                  <a:lnTo>
                    <a:pt x="2010" y="486"/>
                  </a:lnTo>
                  <a:lnTo>
                    <a:pt x="2010" y="480"/>
                  </a:lnTo>
                  <a:lnTo>
                    <a:pt x="2010" y="486"/>
                  </a:lnTo>
                  <a:lnTo>
                    <a:pt x="2004" y="486"/>
                  </a:lnTo>
                  <a:lnTo>
                    <a:pt x="2004" y="480"/>
                  </a:lnTo>
                  <a:lnTo>
                    <a:pt x="2010" y="480"/>
                  </a:lnTo>
                  <a:lnTo>
                    <a:pt x="2004" y="480"/>
                  </a:lnTo>
                  <a:lnTo>
                    <a:pt x="2004" y="474"/>
                  </a:lnTo>
                  <a:lnTo>
                    <a:pt x="2010" y="474"/>
                  </a:lnTo>
                  <a:lnTo>
                    <a:pt x="2010" y="480"/>
                  </a:lnTo>
                  <a:lnTo>
                    <a:pt x="2010" y="474"/>
                  </a:lnTo>
                  <a:lnTo>
                    <a:pt x="2004" y="474"/>
                  </a:lnTo>
                  <a:lnTo>
                    <a:pt x="2010" y="474"/>
                  </a:lnTo>
                  <a:lnTo>
                    <a:pt x="2016" y="474"/>
                  </a:lnTo>
                  <a:lnTo>
                    <a:pt x="2016" y="468"/>
                  </a:lnTo>
                  <a:lnTo>
                    <a:pt x="2016" y="474"/>
                  </a:lnTo>
                  <a:lnTo>
                    <a:pt x="2022" y="474"/>
                  </a:lnTo>
                  <a:lnTo>
                    <a:pt x="2016" y="474"/>
                  </a:lnTo>
                  <a:lnTo>
                    <a:pt x="2022" y="474"/>
                  </a:lnTo>
                  <a:lnTo>
                    <a:pt x="2022" y="480"/>
                  </a:lnTo>
                  <a:lnTo>
                    <a:pt x="2016" y="480"/>
                  </a:lnTo>
                  <a:lnTo>
                    <a:pt x="2022" y="480"/>
                  </a:lnTo>
                  <a:lnTo>
                    <a:pt x="2016" y="480"/>
                  </a:lnTo>
                  <a:lnTo>
                    <a:pt x="2022" y="480"/>
                  </a:lnTo>
                  <a:lnTo>
                    <a:pt x="2022" y="486"/>
                  </a:lnTo>
                  <a:lnTo>
                    <a:pt x="2022" y="480"/>
                  </a:lnTo>
                  <a:lnTo>
                    <a:pt x="2022" y="486"/>
                  </a:lnTo>
                  <a:lnTo>
                    <a:pt x="2028" y="486"/>
                  </a:lnTo>
                  <a:lnTo>
                    <a:pt x="2022" y="486"/>
                  </a:lnTo>
                  <a:lnTo>
                    <a:pt x="2028" y="486"/>
                  </a:lnTo>
                  <a:lnTo>
                    <a:pt x="2022" y="492"/>
                  </a:lnTo>
                  <a:lnTo>
                    <a:pt x="2028" y="492"/>
                  </a:lnTo>
                  <a:lnTo>
                    <a:pt x="2028" y="486"/>
                  </a:lnTo>
                  <a:lnTo>
                    <a:pt x="2034" y="486"/>
                  </a:lnTo>
                  <a:lnTo>
                    <a:pt x="2034" y="492"/>
                  </a:lnTo>
                  <a:lnTo>
                    <a:pt x="2034" y="486"/>
                  </a:lnTo>
                  <a:lnTo>
                    <a:pt x="2034" y="492"/>
                  </a:lnTo>
                  <a:lnTo>
                    <a:pt x="2034" y="486"/>
                  </a:lnTo>
                  <a:lnTo>
                    <a:pt x="2034" y="480"/>
                  </a:lnTo>
                  <a:lnTo>
                    <a:pt x="2034" y="486"/>
                  </a:lnTo>
                  <a:lnTo>
                    <a:pt x="2034" y="480"/>
                  </a:lnTo>
                  <a:lnTo>
                    <a:pt x="2034" y="486"/>
                  </a:lnTo>
                  <a:lnTo>
                    <a:pt x="2034" y="480"/>
                  </a:lnTo>
                  <a:lnTo>
                    <a:pt x="2028" y="480"/>
                  </a:lnTo>
                  <a:lnTo>
                    <a:pt x="2028" y="474"/>
                  </a:lnTo>
                  <a:lnTo>
                    <a:pt x="2034" y="474"/>
                  </a:lnTo>
                  <a:lnTo>
                    <a:pt x="2034" y="480"/>
                  </a:lnTo>
                  <a:lnTo>
                    <a:pt x="2040" y="480"/>
                  </a:lnTo>
                  <a:lnTo>
                    <a:pt x="2046" y="480"/>
                  </a:lnTo>
                  <a:lnTo>
                    <a:pt x="2052" y="486"/>
                  </a:lnTo>
                  <a:lnTo>
                    <a:pt x="2052" y="492"/>
                  </a:lnTo>
                  <a:lnTo>
                    <a:pt x="2058" y="492"/>
                  </a:lnTo>
                  <a:lnTo>
                    <a:pt x="2064" y="492"/>
                  </a:lnTo>
                  <a:lnTo>
                    <a:pt x="2058" y="492"/>
                  </a:lnTo>
                  <a:lnTo>
                    <a:pt x="2058" y="498"/>
                  </a:lnTo>
                  <a:lnTo>
                    <a:pt x="2058" y="492"/>
                  </a:lnTo>
                  <a:lnTo>
                    <a:pt x="2052" y="492"/>
                  </a:lnTo>
                  <a:lnTo>
                    <a:pt x="2058" y="498"/>
                  </a:lnTo>
                  <a:lnTo>
                    <a:pt x="2064" y="492"/>
                  </a:lnTo>
                  <a:lnTo>
                    <a:pt x="2064" y="498"/>
                  </a:lnTo>
                  <a:lnTo>
                    <a:pt x="2064" y="492"/>
                  </a:lnTo>
                  <a:lnTo>
                    <a:pt x="2064" y="498"/>
                  </a:lnTo>
                  <a:lnTo>
                    <a:pt x="2070" y="498"/>
                  </a:lnTo>
                  <a:lnTo>
                    <a:pt x="2064" y="498"/>
                  </a:lnTo>
                  <a:lnTo>
                    <a:pt x="2064" y="504"/>
                  </a:lnTo>
                  <a:lnTo>
                    <a:pt x="2070" y="504"/>
                  </a:lnTo>
                  <a:lnTo>
                    <a:pt x="2070" y="498"/>
                  </a:lnTo>
                  <a:lnTo>
                    <a:pt x="2064" y="498"/>
                  </a:lnTo>
                  <a:lnTo>
                    <a:pt x="2064" y="492"/>
                  </a:lnTo>
                  <a:lnTo>
                    <a:pt x="2064" y="486"/>
                  </a:lnTo>
                  <a:lnTo>
                    <a:pt x="2070" y="486"/>
                  </a:lnTo>
                  <a:lnTo>
                    <a:pt x="2070" y="492"/>
                  </a:lnTo>
                  <a:lnTo>
                    <a:pt x="2076" y="492"/>
                  </a:lnTo>
                  <a:lnTo>
                    <a:pt x="2082" y="492"/>
                  </a:lnTo>
                  <a:lnTo>
                    <a:pt x="2088" y="492"/>
                  </a:lnTo>
                  <a:lnTo>
                    <a:pt x="2094" y="492"/>
                  </a:lnTo>
                  <a:lnTo>
                    <a:pt x="2100" y="492"/>
                  </a:lnTo>
                  <a:lnTo>
                    <a:pt x="2106" y="492"/>
                  </a:lnTo>
                  <a:lnTo>
                    <a:pt x="2106" y="486"/>
                  </a:lnTo>
                  <a:lnTo>
                    <a:pt x="2106" y="492"/>
                  </a:lnTo>
                  <a:lnTo>
                    <a:pt x="2100" y="492"/>
                  </a:lnTo>
                  <a:lnTo>
                    <a:pt x="2094" y="492"/>
                  </a:lnTo>
                  <a:lnTo>
                    <a:pt x="2094" y="486"/>
                  </a:lnTo>
                  <a:lnTo>
                    <a:pt x="2088" y="486"/>
                  </a:lnTo>
                  <a:lnTo>
                    <a:pt x="2082" y="486"/>
                  </a:lnTo>
                  <a:lnTo>
                    <a:pt x="2076" y="486"/>
                  </a:lnTo>
                  <a:lnTo>
                    <a:pt x="2070" y="486"/>
                  </a:lnTo>
                  <a:lnTo>
                    <a:pt x="2064" y="486"/>
                  </a:lnTo>
                  <a:lnTo>
                    <a:pt x="2064" y="480"/>
                  </a:lnTo>
                  <a:lnTo>
                    <a:pt x="2070" y="480"/>
                  </a:lnTo>
                  <a:lnTo>
                    <a:pt x="2064" y="480"/>
                  </a:lnTo>
                  <a:lnTo>
                    <a:pt x="2064" y="474"/>
                  </a:lnTo>
                  <a:lnTo>
                    <a:pt x="2070" y="474"/>
                  </a:lnTo>
                  <a:lnTo>
                    <a:pt x="2070" y="468"/>
                  </a:lnTo>
                  <a:lnTo>
                    <a:pt x="2070" y="462"/>
                  </a:lnTo>
                  <a:lnTo>
                    <a:pt x="2070" y="468"/>
                  </a:lnTo>
                  <a:lnTo>
                    <a:pt x="2076" y="468"/>
                  </a:lnTo>
                  <a:lnTo>
                    <a:pt x="2076" y="474"/>
                  </a:lnTo>
                  <a:lnTo>
                    <a:pt x="2076" y="468"/>
                  </a:lnTo>
                  <a:lnTo>
                    <a:pt x="2082" y="468"/>
                  </a:lnTo>
                  <a:lnTo>
                    <a:pt x="2082" y="462"/>
                  </a:lnTo>
                  <a:lnTo>
                    <a:pt x="2082" y="456"/>
                  </a:lnTo>
                  <a:lnTo>
                    <a:pt x="2088" y="456"/>
                  </a:lnTo>
                  <a:lnTo>
                    <a:pt x="2088" y="462"/>
                  </a:lnTo>
                  <a:lnTo>
                    <a:pt x="2088" y="456"/>
                  </a:lnTo>
                  <a:lnTo>
                    <a:pt x="2082" y="456"/>
                  </a:lnTo>
                  <a:lnTo>
                    <a:pt x="2082" y="450"/>
                  </a:lnTo>
                  <a:lnTo>
                    <a:pt x="2088" y="450"/>
                  </a:lnTo>
                  <a:lnTo>
                    <a:pt x="2088" y="444"/>
                  </a:lnTo>
                  <a:lnTo>
                    <a:pt x="2094" y="444"/>
                  </a:lnTo>
                  <a:lnTo>
                    <a:pt x="2094" y="438"/>
                  </a:lnTo>
                  <a:lnTo>
                    <a:pt x="2100" y="438"/>
                  </a:lnTo>
                  <a:lnTo>
                    <a:pt x="2094" y="438"/>
                  </a:lnTo>
                  <a:lnTo>
                    <a:pt x="2100" y="432"/>
                  </a:lnTo>
                  <a:lnTo>
                    <a:pt x="2094" y="432"/>
                  </a:lnTo>
                  <a:lnTo>
                    <a:pt x="2094" y="438"/>
                  </a:lnTo>
                  <a:lnTo>
                    <a:pt x="2094" y="432"/>
                  </a:lnTo>
                  <a:lnTo>
                    <a:pt x="2094" y="438"/>
                  </a:lnTo>
                  <a:lnTo>
                    <a:pt x="2094" y="444"/>
                  </a:lnTo>
                  <a:lnTo>
                    <a:pt x="2088" y="444"/>
                  </a:lnTo>
                  <a:lnTo>
                    <a:pt x="2094" y="444"/>
                  </a:lnTo>
                  <a:lnTo>
                    <a:pt x="2088" y="444"/>
                  </a:lnTo>
                  <a:lnTo>
                    <a:pt x="2088" y="438"/>
                  </a:lnTo>
                  <a:lnTo>
                    <a:pt x="2088" y="444"/>
                  </a:lnTo>
                  <a:lnTo>
                    <a:pt x="2082" y="444"/>
                  </a:lnTo>
                  <a:lnTo>
                    <a:pt x="2082" y="450"/>
                  </a:lnTo>
                  <a:lnTo>
                    <a:pt x="2076" y="456"/>
                  </a:lnTo>
                  <a:lnTo>
                    <a:pt x="2076" y="462"/>
                  </a:lnTo>
                  <a:lnTo>
                    <a:pt x="2076" y="456"/>
                  </a:lnTo>
                  <a:lnTo>
                    <a:pt x="2076" y="450"/>
                  </a:lnTo>
                  <a:lnTo>
                    <a:pt x="2070" y="450"/>
                  </a:lnTo>
                  <a:lnTo>
                    <a:pt x="2076" y="450"/>
                  </a:lnTo>
                  <a:lnTo>
                    <a:pt x="2070" y="450"/>
                  </a:lnTo>
                  <a:lnTo>
                    <a:pt x="2070" y="444"/>
                  </a:lnTo>
                  <a:lnTo>
                    <a:pt x="2070" y="450"/>
                  </a:lnTo>
                  <a:lnTo>
                    <a:pt x="2070" y="444"/>
                  </a:lnTo>
                  <a:lnTo>
                    <a:pt x="2064" y="438"/>
                  </a:lnTo>
                  <a:lnTo>
                    <a:pt x="2070" y="438"/>
                  </a:lnTo>
                  <a:lnTo>
                    <a:pt x="2064" y="438"/>
                  </a:lnTo>
                  <a:lnTo>
                    <a:pt x="2070" y="438"/>
                  </a:lnTo>
                  <a:lnTo>
                    <a:pt x="2064" y="438"/>
                  </a:lnTo>
                  <a:lnTo>
                    <a:pt x="2064" y="432"/>
                  </a:lnTo>
                  <a:lnTo>
                    <a:pt x="2070" y="432"/>
                  </a:lnTo>
                  <a:lnTo>
                    <a:pt x="2070" y="438"/>
                  </a:lnTo>
                  <a:lnTo>
                    <a:pt x="2070" y="432"/>
                  </a:lnTo>
                  <a:lnTo>
                    <a:pt x="2070" y="438"/>
                  </a:lnTo>
                  <a:lnTo>
                    <a:pt x="2070" y="432"/>
                  </a:lnTo>
                  <a:lnTo>
                    <a:pt x="2070" y="426"/>
                  </a:lnTo>
                  <a:lnTo>
                    <a:pt x="2076" y="426"/>
                  </a:lnTo>
                  <a:lnTo>
                    <a:pt x="2070" y="426"/>
                  </a:lnTo>
                  <a:lnTo>
                    <a:pt x="2070" y="420"/>
                  </a:lnTo>
                  <a:lnTo>
                    <a:pt x="2076" y="420"/>
                  </a:lnTo>
                  <a:lnTo>
                    <a:pt x="2076" y="426"/>
                  </a:lnTo>
                  <a:lnTo>
                    <a:pt x="2076" y="420"/>
                  </a:lnTo>
                  <a:lnTo>
                    <a:pt x="2070" y="420"/>
                  </a:lnTo>
                  <a:lnTo>
                    <a:pt x="2076" y="420"/>
                  </a:lnTo>
                  <a:lnTo>
                    <a:pt x="2082" y="420"/>
                  </a:lnTo>
                  <a:lnTo>
                    <a:pt x="2082" y="426"/>
                  </a:lnTo>
                  <a:lnTo>
                    <a:pt x="2082" y="420"/>
                  </a:lnTo>
                  <a:lnTo>
                    <a:pt x="2082" y="426"/>
                  </a:lnTo>
                  <a:lnTo>
                    <a:pt x="2088" y="426"/>
                  </a:lnTo>
                  <a:lnTo>
                    <a:pt x="2088" y="420"/>
                  </a:lnTo>
                  <a:lnTo>
                    <a:pt x="2088" y="414"/>
                  </a:lnTo>
                  <a:lnTo>
                    <a:pt x="2088" y="420"/>
                  </a:lnTo>
                  <a:lnTo>
                    <a:pt x="2088" y="414"/>
                  </a:lnTo>
                  <a:lnTo>
                    <a:pt x="2094" y="414"/>
                  </a:lnTo>
                  <a:lnTo>
                    <a:pt x="2094" y="408"/>
                  </a:lnTo>
                  <a:lnTo>
                    <a:pt x="2094" y="414"/>
                  </a:lnTo>
                  <a:lnTo>
                    <a:pt x="2094" y="408"/>
                  </a:lnTo>
                  <a:lnTo>
                    <a:pt x="2088" y="408"/>
                  </a:lnTo>
                  <a:lnTo>
                    <a:pt x="2088" y="414"/>
                  </a:lnTo>
                  <a:lnTo>
                    <a:pt x="2088" y="408"/>
                  </a:lnTo>
                  <a:lnTo>
                    <a:pt x="2094" y="408"/>
                  </a:lnTo>
                  <a:lnTo>
                    <a:pt x="2088" y="408"/>
                  </a:lnTo>
                  <a:lnTo>
                    <a:pt x="2094" y="408"/>
                  </a:lnTo>
                  <a:lnTo>
                    <a:pt x="2088" y="408"/>
                  </a:lnTo>
                  <a:lnTo>
                    <a:pt x="2088" y="402"/>
                  </a:lnTo>
                  <a:lnTo>
                    <a:pt x="2088" y="408"/>
                  </a:lnTo>
                  <a:lnTo>
                    <a:pt x="2094" y="408"/>
                  </a:lnTo>
                  <a:lnTo>
                    <a:pt x="2094" y="402"/>
                  </a:lnTo>
                  <a:lnTo>
                    <a:pt x="2094" y="408"/>
                  </a:lnTo>
                  <a:lnTo>
                    <a:pt x="2094" y="414"/>
                  </a:lnTo>
                  <a:lnTo>
                    <a:pt x="2094" y="408"/>
                  </a:lnTo>
                  <a:lnTo>
                    <a:pt x="2100" y="408"/>
                  </a:lnTo>
                  <a:lnTo>
                    <a:pt x="2094" y="408"/>
                  </a:lnTo>
                  <a:lnTo>
                    <a:pt x="2100" y="408"/>
                  </a:lnTo>
                  <a:lnTo>
                    <a:pt x="2100" y="414"/>
                  </a:lnTo>
                  <a:lnTo>
                    <a:pt x="2100" y="408"/>
                  </a:lnTo>
                  <a:lnTo>
                    <a:pt x="2106" y="408"/>
                  </a:lnTo>
                  <a:lnTo>
                    <a:pt x="2106" y="414"/>
                  </a:lnTo>
                  <a:lnTo>
                    <a:pt x="2106" y="408"/>
                  </a:lnTo>
                  <a:lnTo>
                    <a:pt x="2106" y="414"/>
                  </a:lnTo>
                  <a:lnTo>
                    <a:pt x="2112" y="414"/>
                  </a:lnTo>
                  <a:lnTo>
                    <a:pt x="2112" y="420"/>
                  </a:lnTo>
                  <a:lnTo>
                    <a:pt x="2118" y="420"/>
                  </a:lnTo>
                  <a:lnTo>
                    <a:pt x="2112" y="426"/>
                  </a:lnTo>
                  <a:lnTo>
                    <a:pt x="2118" y="426"/>
                  </a:lnTo>
                  <a:lnTo>
                    <a:pt x="2118" y="420"/>
                  </a:lnTo>
                  <a:lnTo>
                    <a:pt x="2118" y="426"/>
                  </a:lnTo>
                  <a:lnTo>
                    <a:pt x="2118" y="420"/>
                  </a:lnTo>
                  <a:lnTo>
                    <a:pt x="2124" y="420"/>
                  </a:lnTo>
                  <a:lnTo>
                    <a:pt x="2124" y="426"/>
                  </a:lnTo>
                  <a:lnTo>
                    <a:pt x="2130" y="426"/>
                  </a:lnTo>
                  <a:lnTo>
                    <a:pt x="2136" y="432"/>
                  </a:lnTo>
                  <a:lnTo>
                    <a:pt x="2136" y="426"/>
                  </a:lnTo>
                  <a:lnTo>
                    <a:pt x="2130" y="426"/>
                  </a:lnTo>
                  <a:lnTo>
                    <a:pt x="2124" y="420"/>
                  </a:lnTo>
                  <a:lnTo>
                    <a:pt x="2118" y="420"/>
                  </a:lnTo>
                  <a:lnTo>
                    <a:pt x="2118" y="414"/>
                  </a:lnTo>
                  <a:lnTo>
                    <a:pt x="2124" y="408"/>
                  </a:lnTo>
                  <a:lnTo>
                    <a:pt x="2118" y="408"/>
                  </a:lnTo>
                  <a:lnTo>
                    <a:pt x="2124" y="408"/>
                  </a:lnTo>
                  <a:lnTo>
                    <a:pt x="2124" y="402"/>
                  </a:lnTo>
                  <a:lnTo>
                    <a:pt x="2124" y="408"/>
                  </a:lnTo>
                  <a:lnTo>
                    <a:pt x="2118" y="408"/>
                  </a:lnTo>
                  <a:lnTo>
                    <a:pt x="2118" y="402"/>
                  </a:lnTo>
                  <a:lnTo>
                    <a:pt x="2118" y="408"/>
                  </a:lnTo>
                  <a:lnTo>
                    <a:pt x="2112" y="408"/>
                  </a:lnTo>
                  <a:lnTo>
                    <a:pt x="2106" y="408"/>
                  </a:lnTo>
                  <a:lnTo>
                    <a:pt x="2106" y="414"/>
                  </a:lnTo>
                  <a:lnTo>
                    <a:pt x="2106" y="408"/>
                  </a:lnTo>
                  <a:lnTo>
                    <a:pt x="2106" y="402"/>
                  </a:lnTo>
                  <a:lnTo>
                    <a:pt x="2106" y="408"/>
                  </a:lnTo>
                  <a:lnTo>
                    <a:pt x="2106" y="402"/>
                  </a:lnTo>
                  <a:lnTo>
                    <a:pt x="2112" y="402"/>
                  </a:lnTo>
                  <a:lnTo>
                    <a:pt x="2106" y="402"/>
                  </a:lnTo>
                  <a:lnTo>
                    <a:pt x="2112" y="402"/>
                  </a:lnTo>
                  <a:lnTo>
                    <a:pt x="2118" y="402"/>
                  </a:lnTo>
                  <a:lnTo>
                    <a:pt x="2118" y="396"/>
                  </a:lnTo>
                  <a:lnTo>
                    <a:pt x="2112" y="396"/>
                  </a:lnTo>
                  <a:lnTo>
                    <a:pt x="2118" y="396"/>
                  </a:lnTo>
                  <a:lnTo>
                    <a:pt x="2112" y="396"/>
                  </a:lnTo>
                  <a:lnTo>
                    <a:pt x="2112" y="402"/>
                  </a:lnTo>
                  <a:lnTo>
                    <a:pt x="2112" y="396"/>
                  </a:lnTo>
                  <a:lnTo>
                    <a:pt x="2112" y="402"/>
                  </a:lnTo>
                  <a:lnTo>
                    <a:pt x="2106" y="402"/>
                  </a:lnTo>
                  <a:lnTo>
                    <a:pt x="2106" y="396"/>
                  </a:lnTo>
                  <a:lnTo>
                    <a:pt x="2100" y="396"/>
                  </a:lnTo>
                  <a:lnTo>
                    <a:pt x="2106" y="396"/>
                  </a:lnTo>
                  <a:lnTo>
                    <a:pt x="2100" y="396"/>
                  </a:lnTo>
                  <a:lnTo>
                    <a:pt x="2106" y="396"/>
                  </a:lnTo>
                  <a:lnTo>
                    <a:pt x="2106" y="390"/>
                  </a:lnTo>
                  <a:lnTo>
                    <a:pt x="2106" y="396"/>
                  </a:lnTo>
                  <a:lnTo>
                    <a:pt x="2106" y="390"/>
                  </a:lnTo>
                  <a:lnTo>
                    <a:pt x="2106" y="396"/>
                  </a:lnTo>
                  <a:lnTo>
                    <a:pt x="2106" y="390"/>
                  </a:lnTo>
                  <a:lnTo>
                    <a:pt x="2106" y="396"/>
                  </a:lnTo>
                  <a:lnTo>
                    <a:pt x="2112" y="396"/>
                  </a:lnTo>
                  <a:lnTo>
                    <a:pt x="2112" y="390"/>
                  </a:lnTo>
                  <a:lnTo>
                    <a:pt x="2112" y="396"/>
                  </a:lnTo>
                  <a:lnTo>
                    <a:pt x="2112" y="390"/>
                  </a:lnTo>
                  <a:lnTo>
                    <a:pt x="2112" y="396"/>
                  </a:lnTo>
                  <a:lnTo>
                    <a:pt x="2112" y="390"/>
                  </a:lnTo>
                  <a:lnTo>
                    <a:pt x="2118" y="390"/>
                  </a:lnTo>
                  <a:lnTo>
                    <a:pt x="2118" y="396"/>
                  </a:lnTo>
                  <a:lnTo>
                    <a:pt x="2118" y="390"/>
                  </a:lnTo>
                  <a:lnTo>
                    <a:pt x="2118" y="384"/>
                  </a:lnTo>
                  <a:lnTo>
                    <a:pt x="2118" y="390"/>
                  </a:lnTo>
                  <a:lnTo>
                    <a:pt x="2118" y="384"/>
                  </a:lnTo>
                  <a:lnTo>
                    <a:pt x="2112" y="384"/>
                  </a:lnTo>
                  <a:lnTo>
                    <a:pt x="2118" y="384"/>
                  </a:lnTo>
                  <a:lnTo>
                    <a:pt x="2118" y="390"/>
                  </a:lnTo>
                  <a:lnTo>
                    <a:pt x="2124" y="390"/>
                  </a:lnTo>
                  <a:lnTo>
                    <a:pt x="2124" y="384"/>
                  </a:lnTo>
                  <a:lnTo>
                    <a:pt x="2124" y="390"/>
                  </a:lnTo>
                  <a:lnTo>
                    <a:pt x="2124" y="396"/>
                  </a:lnTo>
                  <a:lnTo>
                    <a:pt x="2130" y="396"/>
                  </a:lnTo>
                  <a:lnTo>
                    <a:pt x="2124" y="396"/>
                  </a:lnTo>
                  <a:lnTo>
                    <a:pt x="2130" y="396"/>
                  </a:lnTo>
                  <a:lnTo>
                    <a:pt x="2130" y="390"/>
                  </a:lnTo>
                  <a:lnTo>
                    <a:pt x="2136" y="390"/>
                  </a:lnTo>
                  <a:lnTo>
                    <a:pt x="2136" y="396"/>
                  </a:lnTo>
                  <a:lnTo>
                    <a:pt x="2136" y="390"/>
                  </a:lnTo>
                  <a:lnTo>
                    <a:pt x="2136" y="396"/>
                  </a:lnTo>
                  <a:lnTo>
                    <a:pt x="2142" y="396"/>
                  </a:lnTo>
                  <a:lnTo>
                    <a:pt x="2148" y="396"/>
                  </a:lnTo>
                  <a:lnTo>
                    <a:pt x="2154" y="396"/>
                  </a:lnTo>
                  <a:lnTo>
                    <a:pt x="2148" y="396"/>
                  </a:lnTo>
                  <a:lnTo>
                    <a:pt x="2142" y="396"/>
                  </a:lnTo>
                  <a:lnTo>
                    <a:pt x="2142" y="390"/>
                  </a:lnTo>
                  <a:lnTo>
                    <a:pt x="2142" y="396"/>
                  </a:lnTo>
                  <a:lnTo>
                    <a:pt x="2142" y="390"/>
                  </a:lnTo>
                  <a:lnTo>
                    <a:pt x="2148" y="384"/>
                  </a:lnTo>
                  <a:lnTo>
                    <a:pt x="2142" y="384"/>
                  </a:lnTo>
                  <a:lnTo>
                    <a:pt x="2136" y="384"/>
                  </a:lnTo>
                  <a:lnTo>
                    <a:pt x="2130" y="384"/>
                  </a:lnTo>
                  <a:lnTo>
                    <a:pt x="2136" y="378"/>
                  </a:lnTo>
                  <a:lnTo>
                    <a:pt x="2130" y="378"/>
                  </a:lnTo>
                  <a:lnTo>
                    <a:pt x="2130" y="384"/>
                  </a:lnTo>
                  <a:lnTo>
                    <a:pt x="2130" y="378"/>
                  </a:lnTo>
                  <a:lnTo>
                    <a:pt x="2130" y="384"/>
                  </a:lnTo>
                  <a:lnTo>
                    <a:pt x="2130" y="378"/>
                  </a:lnTo>
                  <a:lnTo>
                    <a:pt x="2136" y="378"/>
                  </a:lnTo>
                  <a:lnTo>
                    <a:pt x="2136" y="372"/>
                  </a:lnTo>
                  <a:lnTo>
                    <a:pt x="2130" y="372"/>
                  </a:lnTo>
                  <a:lnTo>
                    <a:pt x="2130" y="366"/>
                  </a:lnTo>
                  <a:lnTo>
                    <a:pt x="2124" y="366"/>
                  </a:lnTo>
                  <a:lnTo>
                    <a:pt x="2130" y="366"/>
                  </a:lnTo>
                  <a:lnTo>
                    <a:pt x="2130" y="360"/>
                  </a:lnTo>
                  <a:lnTo>
                    <a:pt x="2130" y="366"/>
                  </a:lnTo>
                  <a:lnTo>
                    <a:pt x="2130" y="360"/>
                  </a:lnTo>
                  <a:lnTo>
                    <a:pt x="2136" y="360"/>
                  </a:lnTo>
                  <a:lnTo>
                    <a:pt x="2136" y="354"/>
                  </a:lnTo>
                  <a:lnTo>
                    <a:pt x="2136" y="348"/>
                  </a:lnTo>
                  <a:lnTo>
                    <a:pt x="2136" y="354"/>
                  </a:lnTo>
                  <a:lnTo>
                    <a:pt x="2142" y="354"/>
                  </a:lnTo>
                  <a:lnTo>
                    <a:pt x="2142" y="348"/>
                  </a:lnTo>
                  <a:lnTo>
                    <a:pt x="2142" y="354"/>
                  </a:lnTo>
                  <a:lnTo>
                    <a:pt x="2142" y="348"/>
                  </a:lnTo>
                  <a:lnTo>
                    <a:pt x="2142" y="354"/>
                  </a:lnTo>
                  <a:lnTo>
                    <a:pt x="2148" y="354"/>
                  </a:lnTo>
                  <a:lnTo>
                    <a:pt x="2142" y="348"/>
                  </a:lnTo>
                  <a:lnTo>
                    <a:pt x="2148" y="348"/>
                  </a:lnTo>
                  <a:lnTo>
                    <a:pt x="2148" y="354"/>
                  </a:lnTo>
                  <a:lnTo>
                    <a:pt x="2148" y="360"/>
                  </a:lnTo>
                  <a:lnTo>
                    <a:pt x="2148" y="354"/>
                  </a:lnTo>
                  <a:lnTo>
                    <a:pt x="2148" y="360"/>
                  </a:lnTo>
                  <a:lnTo>
                    <a:pt x="2148" y="354"/>
                  </a:lnTo>
                  <a:lnTo>
                    <a:pt x="2148" y="348"/>
                  </a:lnTo>
                  <a:lnTo>
                    <a:pt x="2154" y="348"/>
                  </a:lnTo>
                  <a:lnTo>
                    <a:pt x="2154" y="354"/>
                  </a:lnTo>
                  <a:lnTo>
                    <a:pt x="2160" y="348"/>
                  </a:lnTo>
                  <a:lnTo>
                    <a:pt x="2160" y="354"/>
                  </a:lnTo>
                  <a:lnTo>
                    <a:pt x="2160" y="348"/>
                  </a:lnTo>
                  <a:lnTo>
                    <a:pt x="2160" y="342"/>
                  </a:lnTo>
                  <a:lnTo>
                    <a:pt x="2160" y="336"/>
                  </a:lnTo>
                  <a:lnTo>
                    <a:pt x="2160" y="330"/>
                  </a:lnTo>
                  <a:lnTo>
                    <a:pt x="2160" y="324"/>
                  </a:lnTo>
                  <a:lnTo>
                    <a:pt x="2160" y="330"/>
                  </a:lnTo>
                  <a:lnTo>
                    <a:pt x="2160" y="324"/>
                  </a:lnTo>
                  <a:lnTo>
                    <a:pt x="2166" y="324"/>
                  </a:lnTo>
                  <a:lnTo>
                    <a:pt x="2160" y="324"/>
                  </a:lnTo>
                  <a:lnTo>
                    <a:pt x="2160" y="330"/>
                  </a:lnTo>
                  <a:lnTo>
                    <a:pt x="2166" y="330"/>
                  </a:lnTo>
                  <a:lnTo>
                    <a:pt x="2172" y="330"/>
                  </a:lnTo>
                  <a:lnTo>
                    <a:pt x="2172" y="336"/>
                  </a:lnTo>
                  <a:lnTo>
                    <a:pt x="2166" y="336"/>
                  </a:lnTo>
                  <a:lnTo>
                    <a:pt x="2172" y="336"/>
                  </a:lnTo>
                  <a:lnTo>
                    <a:pt x="2166" y="336"/>
                  </a:lnTo>
                  <a:lnTo>
                    <a:pt x="2166" y="342"/>
                  </a:lnTo>
                  <a:lnTo>
                    <a:pt x="2166" y="348"/>
                  </a:lnTo>
                  <a:lnTo>
                    <a:pt x="2166" y="354"/>
                  </a:lnTo>
                  <a:lnTo>
                    <a:pt x="2166" y="360"/>
                  </a:lnTo>
                  <a:lnTo>
                    <a:pt x="2166" y="354"/>
                  </a:lnTo>
                  <a:lnTo>
                    <a:pt x="2166" y="348"/>
                  </a:lnTo>
                  <a:lnTo>
                    <a:pt x="2172" y="342"/>
                  </a:lnTo>
                  <a:lnTo>
                    <a:pt x="2166" y="342"/>
                  </a:lnTo>
                  <a:lnTo>
                    <a:pt x="2172" y="342"/>
                  </a:lnTo>
                  <a:lnTo>
                    <a:pt x="2172" y="348"/>
                  </a:lnTo>
                  <a:lnTo>
                    <a:pt x="2172" y="342"/>
                  </a:lnTo>
                  <a:lnTo>
                    <a:pt x="2178" y="342"/>
                  </a:lnTo>
                  <a:lnTo>
                    <a:pt x="2178" y="348"/>
                  </a:lnTo>
                  <a:lnTo>
                    <a:pt x="2178" y="342"/>
                  </a:lnTo>
                  <a:lnTo>
                    <a:pt x="2178" y="348"/>
                  </a:lnTo>
                  <a:lnTo>
                    <a:pt x="2178" y="354"/>
                  </a:lnTo>
                  <a:lnTo>
                    <a:pt x="2184" y="354"/>
                  </a:lnTo>
                  <a:lnTo>
                    <a:pt x="2184" y="360"/>
                  </a:lnTo>
                  <a:lnTo>
                    <a:pt x="2184" y="354"/>
                  </a:lnTo>
                  <a:lnTo>
                    <a:pt x="2184" y="348"/>
                  </a:lnTo>
                  <a:lnTo>
                    <a:pt x="2190" y="348"/>
                  </a:lnTo>
                  <a:lnTo>
                    <a:pt x="2196" y="348"/>
                  </a:lnTo>
                  <a:lnTo>
                    <a:pt x="2196" y="342"/>
                  </a:lnTo>
                  <a:lnTo>
                    <a:pt x="2190" y="342"/>
                  </a:lnTo>
                  <a:lnTo>
                    <a:pt x="2190" y="336"/>
                  </a:lnTo>
                  <a:lnTo>
                    <a:pt x="2196" y="336"/>
                  </a:lnTo>
                  <a:lnTo>
                    <a:pt x="2196" y="330"/>
                  </a:lnTo>
                  <a:lnTo>
                    <a:pt x="2196" y="324"/>
                  </a:lnTo>
                  <a:lnTo>
                    <a:pt x="2202" y="324"/>
                  </a:lnTo>
                  <a:lnTo>
                    <a:pt x="2202" y="318"/>
                  </a:lnTo>
                  <a:lnTo>
                    <a:pt x="2196" y="312"/>
                  </a:lnTo>
                  <a:lnTo>
                    <a:pt x="2196" y="318"/>
                  </a:lnTo>
                  <a:lnTo>
                    <a:pt x="2196" y="312"/>
                  </a:lnTo>
                  <a:lnTo>
                    <a:pt x="2196" y="318"/>
                  </a:lnTo>
                  <a:lnTo>
                    <a:pt x="2190" y="318"/>
                  </a:lnTo>
                  <a:lnTo>
                    <a:pt x="2190" y="312"/>
                  </a:lnTo>
                  <a:lnTo>
                    <a:pt x="2190" y="306"/>
                  </a:lnTo>
                  <a:lnTo>
                    <a:pt x="2190" y="312"/>
                  </a:lnTo>
                  <a:lnTo>
                    <a:pt x="2196" y="312"/>
                  </a:lnTo>
                  <a:lnTo>
                    <a:pt x="2196" y="306"/>
                  </a:lnTo>
                  <a:lnTo>
                    <a:pt x="2190" y="306"/>
                  </a:lnTo>
                  <a:lnTo>
                    <a:pt x="2196" y="306"/>
                  </a:lnTo>
                  <a:lnTo>
                    <a:pt x="2196" y="312"/>
                  </a:lnTo>
                  <a:lnTo>
                    <a:pt x="2196" y="306"/>
                  </a:lnTo>
                  <a:lnTo>
                    <a:pt x="2202" y="306"/>
                  </a:lnTo>
                  <a:lnTo>
                    <a:pt x="2196" y="306"/>
                  </a:lnTo>
                  <a:lnTo>
                    <a:pt x="2190" y="306"/>
                  </a:lnTo>
                  <a:lnTo>
                    <a:pt x="2190" y="300"/>
                  </a:lnTo>
                  <a:lnTo>
                    <a:pt x="2190" y="306"/>
                  </a:lnTo>
                  <a:lnTo>
                    <a:pt x="2190" y="300"/>
                  </a:lnTo>
                  <a:lnTo>
                    <a:pt x="2196" y="300"/>
                  </a:lnTo>
                  <a:lnTo>
                    <a:pt x="2196" y="306"/>
                  </a:lnTo>
                  <a:lnTo>
                    <a:pt x="2196" y="300"/>
                  </a:lnTo>
                  <a:lnTo>
                    <a:pt x="2202" y="300"/>
                  </a:lnTo>
                  <a:lnTo>
                    <a:pt x="2196" y="306"/>
                  </a:lnTo>
                  <a:lnTo>
                    <a:pt x="2202" y="306"/>
                  </a:lnTo>
                  <a:lnTo>
                    <a:pt x="2202" y="300"/>
                  </a:lnTo>
                  <a:lnTo>
                    <a:pt x="2202" y="306"/>
                  </a:lnTo>
                  <a:lnTo>
                    <a:pt x="2202" y="312"/>
                  </a:lnTo>
                  <a:lnTo>
                    <a:pt x="2196" y="312"/>
                  </a:lnTo>
                  <a:lnTo>
                    <a:pt x="2202" y="312"/>
                  </a:lnTo>
                  <a:lnTo>
                    <a:pt x="2202" y="306"/>
                  </a:lnTo>
                  <a:lnTo>
                    <a:pt x="2208" y="306"/>
                  </a:lnTo>
                  <a:lnTo>
                    <a:pt x="2202" y="306"/>
                  </a:lnTo>
                  <a:lnTo>
                    <a:pt x="2202" y="312"/>
                  </a:lnTo>
                  <a:lnTo>
                    <a:pt x="2208" y="312"/>
                  </a:lnTo>
                  <a:lnTo>
                    <a:pt x="2208" y="306"/>
                  </a:lnTo>
                  <a:lnTo>
                    <a:pt x="2208" y="312"/>
                  </a:lnTo>
                  <a:lnTo>
                    <a:pt x="2202" y="312"/>
                  </a:lnTo>
                  <a:lnTo>
                    <a:pt x="2202" y="318"/>
                  </a:lnTo>
                  <a:lnTo>
                    <a:pt x="2208" y="312"/>
                  </a:lnTo>
                  <a:lnTo>
                    <a:pt x="2208" y="318"/>
                  </a:lnTo>
                  <a:lnTo>
                    <a:pt x="2202" y="318"/>
                  </a:lnTo>
                  <a:lnTo>
                    <a:pt x="2208" y="318"/>
                  </a:lnTo>
                  <a:lnTo>
                    <a:pt x="2202" y="324"/>
                  </a:lnTo>
                  <a:lnTo>
                    <a:pt x="2208" y="324"/>
                  </a:lnTo>
                  <a:lnTo>
                    <a:pt x="2208" y="330"/>
                  </a:lnTo>
                  <a:lnTo>
                    <a:pt x="2208" y="324"/>
                  </a:lnTo>
                  <a:lnTo>
                    <a:pt x="2208" y="330"/>
                  </a:lnTo>
                  <a:lnTo>
                    <a:pt x="2208" y="324"/>
                  </a:lnTo>
                  <a:lnTo>
                    <a:pt x="2214" y="324"/>
                  </a:lnTo>
                  <a:lnTo>
                    <a:pt x="2208" y="324"/>
                  </a:lnTo>
                  <a:lnTo>
                    <a:pt x="2208" y="330"/>
                  </a:lnTo>
                  <a:lnTo>
                    <a:pt x="2214" y="324"/>
                  </a:lnTo>
                  <a:lnTo>
                    <a:pt x="2214" y="330"/>
                  </a:lnTo>
                  <a:lnTo>
                    <a:pt x="2214" y="324"/>
                  </a:lnTo>
                  <a:lnTo>
                    <a:pt x="2220" y="324"/>
                  </a:lnTo>
                  <a:lnTo>
                    <a:pt x="2214" y="324"/>
                  </a:lnTo>
                  <a:lnTo>
                    <a:pt x="2220" y="324"/>
                  </a:lnTo>
                  <a:lnTo>
                    <a:pt x="2214" y="324"/>
                  </a:lnTo>
                  <a:lnTo>
                    <a:pt x="2214" y="318"/>
                  </a:lnTo>
                  <a:lnTo>
                    <a:pt x="2214" y="312"/>
                  </a:lnTo>
                  <a:lnTo>
                    <a:pt x="2220" y="312"/>
                  </a:lnTo>
                  <a:lnTo>
                    <a:pt x="2220" y="306"/>
                  </a:lnTo>
                  <a:lnTo>
                    <a:pt x="2226" y="306"/>
                  </a:lnTo>
                  <a:lnTo>
                    <a:pt x="2232" y="306"/>
                  </a:lnTo>
                  <a:lnTo>
                    <a:pt x="2226" y="306"/>
                  </a:lnTo>
                  <a:lnTo>
                    <a:pt x="2226" y="312"/>
                  </a:lnTo>
                  <a:lnTo>
                    <a:pt x="2226" y="318"/>
                  </a:lnTo>
                  <a:lnTo>
                    <a:pt x="2232" y="312"/>
                  </a:lnTo>
                  <a:lnTo>
                    <a:pt x="2232" y="318"/>
                  </a:lnTo>
                  <a:lnTo>
                    <a:pt x="2226" y="318"/>
                  </a:lnTo>
                  <a:lnTo>
                    <a:pt x="2232" y="318"/>
                  </a:lnTo>
                  <a:lnTo>
                    <a:pt x="2232" y="324"/>
                  </a:lnTo>
                  <a:lnTo>
                    <a:pt x="2238" y="324"/>
                  </a:lnTo>
                  <a:lnTo>
                    <a:pt x="2238" y="330"/>
                  </a:lnTo>
                  <a:lnTo>
                    <a:pt x="2238" y="324"/>
                  </a:lnTo>
                  <a:lnTo>
                    <a:pt x="2238" y="318"/>
                  </a:lnTo>
                  <a:lnTo>
                    <a:pt x="2238" y="312"/>
                  </a:lnTo>
                  <a:lnTo>
                    <a:pt x="2244" y="318"/>
                  </a:lnTo>
                  <a:lnTo>
                    <a:pt x="2244" y="312"/>
                  </a:lnTo>
                  <a:lnTo>
                    <a:pt x="2250" y="312"/>
                  </a:lnTo>
                  <a:lnTo>
                    <a:pt x="2244" y="312"/>
                  </a:lnTo>
                  <a:lnTo>
                    <a:pt x="2244" y="306"/>
                  </a:lnTo>
                  <a:lnTo>
                    <a:pt x="2250" y="306"/>
                  </a:lnTo>
                  <a:lnTo>
                    <a:pt x="2256" y="306"/>
                  </a:lnTo>
                  <a:lnTo>
                    <a:pt x="2250" y="306"/>
                  </a:lnTo>
                  <a:lnTo>
                    <a:pt x="2256" y="306"/>
                  </a:lnTo>
                  <a:lnTo>
                    <a:pt x="2262" y="306"/>
                  </a:lnTo>
                  <a:lnTo>
                    <a:pt x="2256" y="306"/>
                  </a:lnTo>
                  <a:lnTo>
                    <a:pt x="2250" y="300"/>
                  </a:lnTo>
                  <a:lnTo>
                    <a:pt x="2250" y="306"/>
                  </a:lnTo>
                  <a:lnTo>
                    <a:pt x="2250" y="300"/>
                  </a:lnTo>
                  <a:lnTo>
                    <a:pt x="2250" y="294"/>
                  </a:lnTo>
                  <a:lnTo>
                    <a:pt x="2256" y="294"/>
                  </a:lnTo>
                  <a:lnTo>
                    <a:pt x="2256" y="288"/>
                  </a:lnTo>
                  <a:lnTo>
                    <a:pt x="2262" y="288"/>
                  </a:lnTo>
                  <a:lnTo>
                    <a:pt x="2262" y="294"/>
                  </a:lnTo>
                  <a:lnTo>
                    <a:pt x="2262" y="288"/>
                  </a:lnTo>
                  <a:lnTo>
                    <a:pt x="2262" y="294"/>
                  </a:lnTo>
                  <a:lnTo>
                    <a:pt x="2262" y="288"/>
                  </a:lnTo>
                  <a:lnTo>
                    <a:pt x="2262" y="294"/>
                  </a:lnTo>
                  <a:lnTo>
                    <a:pt x="2262" y="288"/>
                  </a:lnTo>
                  <a:lnTo>
                    <a:pt x="2268" y="288"/>
                  </a:lnTo>
                  <a:lnTo>
                    <a:pt x="2262" y="288"/>
                  </a:lnTo>
                  <a:lnTo>
                    <a:pt x="2268" y="294"/>
                  </a:lnTo>
                  <a:lnTo>
                    <a:pt x="2268" y="288"/>
                  </a:lnTo>
                  <a:lnTo>
                    <a:pt x="2268" y="294"/>
                  </a:lnTo>
                  <a:lnTo>
                    <a:pt x="2268" y="300"/>
                  </a:lnTo>
                  <a:lnTo>
                    <a:pt x="2268" y="294"/>
                  </a:lnTo>
                  <a:lnTo>
                    <a:pt x="2274" y="294"/>
                  </a:lnTo>
                  <a:lnTo>
                    <a:pt x="2274" y="300"/>
                  </a:lnTo>
                  <a:lnTo>
                    <a:pt x="2268" y="300"/>
                  </a:lnTo>
                  <a:lnTo>
                    <a:pt x="2274" y="300"/>
                  </a:lnTo>
                  <a:lnTo>
                    <a:pt x="2268" y="300"/>
                  </a:lnTo>
                  <a:lnTo>
                    <a:pt x="2274" y="300"/>
                  </a:lnTo>
                  <a:lnTo>
                    <a:pt x="2274" y="306"/>
                  </a:lnTo>
                  <a:lnTo>
                    <a:pt x="2280" y="306"/>
                  </a:lnTo>
                  <a:lnTo>
                    <a:pt x="2274" y="306"/>
                  </a:lnTo>
                  <a:lnTo>
                    <a:pt x="2280" y="306"/>
                  </a:lnTo>
                  <a:lnTo>
                    <a:pt x="2280" y="300"/>
                  </a:lnTo>
                  <a:lnTo>
                    <a:pt x="2280" y="306"/>
                  </a:lnTo>
                  <a:lnTo>
                    <a:pt x="2286" y="306"/>
                  </a:lnTo>
                  <a:lnTo>
                    <a:pt x="2286" y="300"/>
                  </a:lnTo>
                  <a:lnTo>
                    <a:pt x="2286" y="306"/>
                  </a:lnTo>
                  <a:lnTo>
                    <a:pt x="2292" y="306"/>
                  </a:lnTo>
                  <a:lnTo>
                    <a:pt x="2292" y="300"/>
                  </a:lnTo>
                  <a:lnTo>
                    <a:pt x="2292" y="306"/>
                  </a:lnTo>
                  <a:lnTo>
                    <a:pt x="2298" y="306"/>
                  </a:lnTo>
                  <a:lnTo>
                    <a:pt x="2304" y="306"/>
                  </a:lnTo>
                  <a:lnTo>
                    <a:pt x="2298" y="312"/>
                  </a:lnTo>
                  <a:lnTo>
                    <a:pt x="2304" y="312"/>
                  </a:lnTo>
                  <a:lnTo>
                    <a:pt x="2304" y="318"/>
                  </a:lnTo>
                  <a:lnTo>
                    <a:pt x="2304" y="312"/>
                  </a:lnTo>
                  <a:lnTo>
                    <a:pt x="2304" y="318"/>
                  </a:lnTo>
                  <a:lnTo>
                    <a:pt x="2304" y="312"/>
                  </a:lnTo>
                  <a:lnTo>
                    <a:pt x="2304" y="318"/>
                  </a:lnTo>
                  <a:lnTo>
                    <a:pt x="2310" y="318"/>
                  </a:lnTo>
                  <a:lnTo>
                    <a:pt x="2316" y="318"/>
                  </a:lnTo>
                  <a:lnTo>
                    <a:pt x="2316" y="324"/>
                  </a:lnTo>
                  <a:lnTo>
                    <a:pt x="2316" y="330"/>
                  </a:lnTo>
                  <a:lnTo>
                    <a:pt x="2322" y="330"/>
                  </a:lnTo>
                  <a:lnTo>
                    <a:pt x="2322" y="336"/>
                  </a:lnTo>
                  <a:lnTo>
                    <a:pt x="2328" y="336"/>
                  </a:lnTo>
                  <a:lnTo>
                    <a:pt x="2328" y="342"/>
                  </a:lnTo>
                  <a:lnTo>
                    <a:pt x="2334" y="342"/>
                  </a:lnTo>
                  <a:lnTo>
                    <a:pt x="2328" y="342"/>
                  </a:lnTo>
                  <a:lnTo>
                    <a:pt x="2328" y="348"/>
                  </a:lnTo>
                  <a:lnTo>
                    <a:pt x="2334" y="342"/>
                  </a:lnTo>
                  <a:lnTo>
                    <a:pt x="2334" y="348"/>
                  </a:lnTo>
                  <a:lnTo>
                    <a:pt x="2334" y="354"/>
                  </a:lnTo>
                  <a:lnTo>
                    <a:pt x="2340" y="354"/>
                  </a:lnTo>
                  <a:lnTo>
                    <a:pt x="2346" y="354"/>
                  </a:lnTo>
                  <a:lnTo>
                    <a:pt x="2346" y="360"/>
                  </a:lnTo>
                  <a:lnTo>
                    <a:pt x="2346" y="354"/>
                  </a:lnTo>
                  <a:lnTo>
                    <a:pt x="2346" y="360"/>
                  </a:lnTo>
                  <a:lnTo>
                    <a:pt x="2352" y="360"/>
                  </a:lnTo>
                  <a:lnTo>
                    <a:pt x="2358" y="360"/>
                  </a:lnTo>
                  <a:lnTo>
                    <a:pt x="2358" y="366"/>
                  </a:lnTo>
                  <a:lnTo>
                    <a:pt x="2352" y="366"/>
                  </a:lnTo>
                  <a:lnTo>
                    <a:pt x="2352" y="372"/>
                  </a:lnTo>
                  <a:lnTo>
                    <a:pt x="2346" y="372"/>
                  </a:lnTo>
                  <a:lnTo>
                    <a:pt x="2346" y="378"/>
                  </a:lnTo>
                  <a:lnTo>
                    <a:pt x="2346" y="372"/>
                  </a:lnTo>
                  <a:lnTo>
                    <a:pt x="2352" y="372"/>
                  </a:lnTo>
                  <a:lnTo>
                    <a:pt x="2352" y="378"/>
                  </a:lnTo>
                  <a:lnTo>
                    <a:pt x="2346" y="378"/>
                  </a:lnTo>
                  <a:lnTo>
                    <a:pt x="2346" y="384"/>
                  </a:lnTo>
                  <a:lnTo>
                    <a:pt x="2346" y="390"/>
                  </a:lnTo>
                  <a:lnTo>
                    <a:pt x="2346" y="396"/>
                  </a:lnTo>
                  <a:lnTo>
                    <a:pt x="2346" y="402"/>
                  </a:lnTo>
                  <a:lnTo>
                    <a:pt x="2346" y="408"/>
                  </a:lnTo>
                  <a:lnTo>
                    <a:pt x="2346" y="414"/>
                  </a:lnTo>
                  <a:lnTo>
                    <a:pt x="2346" y="420"/>
                  </a:lnTo>
                  <a:lnTo>
                    <a:pt x="2340" y="420"/>
                  </a:lnTo>
                  <a:lnTo>
                    <a:pt x="2340" y="426"/>
                  </a:lnTo>
                  <a:lnTo>
                    <a:pt x="2334" y="426"/>
                  </a:lnTo>
                  <a:lnTo>
                    <a:pt x="2328" y="426"/>
                  </a:lnTo>
                  <a:lnTo>
                    <a:pt x="2328" y="432"/>
                  </a:lnTo>
                  <a:lnTo>
                    <a:pt x="2334" y="432"/>
                  </a:lnTo>
                  <a:lnTo>
                    <a:pt x="2334" y="426"/>
                  </a:lnTo>
                  <a:lnTo>
                    <a:pt x="2340" y="426"/>
                  </a:lnTo>
                  <a:lnTo>
                    <a:pt x="2340" y="420"/>
                  </a:lnTo>
                  <a:lnTo>
                    <a:pt x="2346" y="420"/>
                  </a:lnTo>
                  <a:lnTo>
                    <a:pt x="2346" y="414"/>
                  </a:lnTo>
                  <a:lnTo>
                    <a:pt x="2346" y="408"/>
                  </a:lnTo>
                  <a:lnTo>
                    <a:pt x="2346" y="402"/>
                  </a:lnTo>
                  <a:lnTo>
                    <a:pt x="2346" y="396"/>
                  </a:lnTo>
                  <a:lnTo>
                    <a:pt x="2352" y="402"/>
                  </a:lnTo>
                  <a:lnTo>
                    <a:pt x="2358" y="402"/>
                  </a:lnTo>
                  <a:lnTo>
                    <a:pt x="2358" y="408"/>
                  </a:lnTo>
                  <a:lnTo>
                    <a:pt x="2358" y="414"/>
                  </a:lnTo>
                  <a:lnTo>
                    <a:pt x="2358" y="420"/>
                  </a:lnTo>
                  <a:lnTo>
                    <a:pt x="2364" y="420"/>
                  </a:lnTo>
                  <a:lnTo>
                    <a:pt x="2364" y="414"/>
                  </a:lnTo>
                  <a:lnTo>
                    <a:pt x="2358" y="414"/>
                  </a:lnTo>
                  <a:lnTo>
                    <a:pt x="2364" y="408"/>
                  </a:lnTo>
                  <a:lnTo>
                    <a:pt x="2358" y="408"/>
                  </a:lnTo>
                  <a:lnTo>
                    <a:pt x="2358" y="402"/>
                  </a:lnTo>
                  <a:lnTo>
                    <a:pt x="2358" y="396"/>
                  </a:lnTo>
                  <a:lnTo>
                    <a:pt x="2352" y="390"/>
                  </a:lnTo>
                  <a:lnTo>
                    <a:pt x="2358" y="384"/>
                  </a:lnTo>
                  <a:lnTo>
                    <a:pt x="2364" y="384"/>
                  </a:lnTo>
                  <a:lnTo>
                    <a:pt x="2364" y="390"/>
                  </a:lnTo>
                  <a:lnTo>
                    <a:pt x="2370" y="390"/>
                  </a:lnTo>
                  <a:lnTo>
                    <a:pt x="2364" y="390"/>
                  </a:lnTo>
                  <a:lnTo>
                    <a:pt x="2364" y="384"/>
                  </a:lnTo>
                  <a:lnTo>
                    <a:pt x="2370" y="384"/>
                  </a:lnTo>
                  <a:lnTo>
                    <a:pt x="2370" y="390"/>
                  </a:lnTo>
                  <a:lnTo>
                    <a:pt x="2376" y="390"/>
                  </a:lnTo>
                  <a:lnTo>
                    <a:pt x="2376" y="384"/>
                  </a:lnTo>
                  <a:lnTo>
                    <a:pt x="2370" y="384"/>
                  </a:lnTo>
                  <a:lnTo>
                    <a:pt x="2370" y="378"/>
                  </a:lnTo>
                  <a:lnTo>
                    <a:pt x="2370" y="372"/>
                  </a:lnTo>
                  <a:lnTo>
                    <a:pt x="2370" y="378"/>
                  </a:lnTo>
                  <a:lnTo>
                    <a:pt x="2376" y="378"/>
                  </a:lnTo>
                  <a:lnTo>
                    <a:pt x="2376" y="384"/>
                  </a:lnTo>
                  <a:lnTo>
                    <a:pt x="2376" y="378"/>
                  </a:lnTo>
                  <a:lnTo>
                    <a:pt x="2376" y="372"/>
                  </a:lnTo>
                  <a:lnTo>
                    <a:pt x="2370" y="372"/>
                  </a:lnTo>
                  <a:lnTo>
                    <a:pt x="2370" y="366"/>
                  </a:lnTo>
                  <a:lnTo>
                    <a:pt x="2370" y="372"/>
                  </a:lnTo>
                  <a:lnTo>
                    <a:pt x="2376" y="366"/>
                  </a:lnTo>
                  <a:lnTo>
                    <a:pt x="2382" y="366"/>
                  </a:lnTo>
                  <a:lnTo>
                    <a:pt x="2376" y="366"/>
                  </a:lnTo>
                  <a:lnTo>
                    <a:pt x="2382" y="366"/>
                  </a:lnTo>
                  <a:lnTo>
                    <a:pt x="2376" y="366"/>
                  </a:lnTo>
                  <a:lnTo>
                    <a:pt x="2382" y="366"/>
                  </a:lnTo>
                  <a:lnTo>
                    <a:pt x="2388" y="372"/>
                  </a:lnTo>
                  <a:lnTo>
                    <a:pt x="2388" y="366"/>
                  </a:lnTo>
                  <a:lnTo>
                    <a:pt x="2394" y="372"/>
                  </a:lnTo>
                  <a:lnTo>
                    <a:pt x="2400" y="372"/>
                  </a:lnTo>
                  <a:lnTo>
                    <a:pt x="2406" y="372"/>
                  </a:lnTo>
                  <a:lnTo>
                    <a:pt x="2412" y="372"/>
                  </a:lnTo>
                  <a:lnTo>
                    <a:pt x="2418" y="372"/>
                  </a:lnTo>
                  <a:lnTo>
                    <a:pt x="2418" y="378"/>
                  </a:lnTo>
                  <a:lnTo>
                    <a:pt x="2424" y="378"/>
                  </a:lnTo>
                  <a:lnTo>
                    <a:pt x="2424" y="384"/>
                  </a:lnTo>
                  <a:lnTo>
                    <a:pt x="2424" y="378"/>
                  </a:lnTo>
                  <a:lnTo>
                    <a:pt x="2424" y="384"/>
                  </a:lnTo>
                  <a:lnTo>
                    <a:pt x="2430" y="384"/>
                  </a:lnTo>
                  <a:lnTo>
                    <a:pt x="2424" y="390"/>
                  </a:lnTo>
                  <a:lnTo>
                    <a:pt x="2430" y="390"/>
                  </a:lnTo>
                  <a:lnTo>
                    <a:pt x="2424" y="390"/>
                  </a:lnTo>
                  <a:lnTo>
                    <a:pt x="2430" y="390"/>
                  </a:lnTo>
                  <a:lnTo>
                    <a:pt x="2430" y="396"/>
                  </a:lnTo>
                  <a:lnTo>
                    <a:pt x="2424" y="396"/>
                  </a:lnTo>
                  <a:lnTo>
                    <a:pt x="2424" y="402"/>
                  </a:lnTo>
                  <a:lnTo>
                    <a:pt x="2424" y="408"/>
                  </a:lnTo>
                  <a:lnTo>
                    <a:pt x="2424" y="402"/>
                  </a:lnTo>
                  <a:lnTo>
                    <a:pt x="2430" y="402"/>
                  </a:lnTo>
                  <a:lnTo>
                    <a:pt x="2430" y="396"/>
                  </a:lnTo>
                  <a:lnTo>
                    <a:pt x="2430" y="402"/>
                  </a:lnTo>
                  <a:lnTo>
                    <a:pt x="2430" y="396"/>
                  </a:lnTo>
                  <a:lnTo>
                    <a:pt x="2430" y="390"/>
                  </a:lnTo>
                  <a:lnTo>
                    <a:pt x="2436" y="396"/>
                  </a:lnTo>
                  <a:lnTo>
                    <a:pt x="2436" y="390"/>
                  </a:lnTo>
                  <a:lnTo>
                    <a:pt x="2436" y="384"/>
                  </a:lnTo>
                  <a:lnTo>
                    <a:pt x="2430" y="384"/>
                  </a:lnTo>
                  <a:lnTo>
                    <a:pt x="2430" y="378"/>
                  </a:lnTo>
                  <a:lnTo>
                    <a:pt x="2436" y="378"/>
                  </a:lnTo>
                  <a:lnTo>
                    <a:pt x="2436" y="372"/>
                  </a:lnTo>
                  <a:lnTo>
                    <a:pt x="2442" y="378"/>
                  </a:lnTo>
                  <a:lnTo>
                    <a:pt x="2442" y="384"/>
                  </a:lnTo>
                  <a:lnTo>
                    <a:pt x="2448" y="384"/>
                  </a:lnTo>
                  <a:lnTo>
                    <a:pt x="2448" y="390"/>
                  </a:lnTo>
                  <a:lnTo>
                    <a:pt x="2448" y="384"/>
                  </a:lnTo>
                  <a:lnTo>
                    <a:pt x="2442" y="378"/>
                  </a:lnTo>
                  <a:lnTo>
                    <a:pt x="2448" y="378"/>
                  </a:lnTo>
                  <a:lnTo>
                    <a:pt x="2454" y="384"/>
                  </a:lnTo>
                  <a:lnTo>
                    <a:pt x="2454" y="390"/>
                  </a:lnTo>
                  <a:lnTo>
                    <a:pt x="2454" y="384"/>
                  </a:lnTo>
                  <a:lnTo>
                    <a:pt x="2454" y="390"/>
                  </a:lnTo>
                  <a:lnTo>
                    <a:pt x="2460" y="390"/>
                  </a:lnTo>
                  <a:lnTo>
                    <a:pt x="2460" y="396"/>
                  </a:lnTo>
                  <a:lnTo>
                    <a:pt x="2454" y="396"/>
                  </a:lnTo>
                  <a:lnTo>
                    <a:pt x="2460" y="402"/>
                  </a:lnTo>
                  <a:lnTo>
                    <a:pt x="2460" y="396"/>
                  </a:lnTo>
                  <a:lnTo>
                    <a:pt x="2454" y="396"/>
                  </a:lnTo>
                  <a:lnTo>
                    <a:pt x="2460" y="396"/>
                  </a:lnTo>
                  <a:lnTo>
                    <a:pt x="2466" y="390"/>
                  </a:lnTo>
                  <a:lnTo>
                    <a:pt x="2460" y="390"/>
                  </a:lnTo>
                  <a:lnTo>
                    <a:pt x="2460" y="384"/>
                  </a:lnTo>
                  <a:lnTo>
                    <a:pt x="2466" y="384"/>
                  </a:lnTo>
                  <a:lnTo>
                    <a:pt x="2466" y="390"/>
                  </a:lnTo>
                  <a:lnTo>
                    <a:pt x="2466" y="384"/>
                  </a:lnTo>
                  <a:lnTo>
                    <a:pt x="2460" y="384"/>
                  </a:lnTo>
                  <a:lnTo>
                    <a:pt x="2460" y="378"/>
                  </a:lnTo>
                  <a:lnTo>
                    <a:pt x="2466" y="378"/>
                  </a:lnTo>
                  <a:lnTo>
                    <a:pt x="2466" y="384"/>
                  </a:lnTo>
                  <a:lnTo>
                    <a:pt x="2466" y="378"/>
                  </a:lnTo>
                  <a:lnTo>
                    <a:pt x="2466" y="384"/>
                  </a:lnTo>
                  <a:lnTo>
                    <a:pt x="2466" y="378"/>
                  </a:lnTo>
                  <a:lnTo>
                    <a:pt x="2460" y="378"/>
                  </a:lnTo>
                  <a:lnTo>
                    <a:pt x="2460" y="372"/>
                  </a:lnTo>
                  <a:lnTo>
                    <a:pt x="2466" y="372"/>
                  </a:lnTo>
                  <a:lnTo>
                    <a:pt x="2472" y="372"/>
                  </a:lnTo>
                  <a:lnTo>
                    <a:pt x="2472" y="366"/>
                  </a:lnTo>
                  <a:lnTo>
                    <a:pt x="2466" y="366"/>
                  </a:lnTo>
                  <a:lnTo>
                    <a:pt x="2466" y="360"/>
                  </a:lnTo>
                  <a:lnTo>
                    <a:pt x="2466" y="366"/>
                  </a:lnTo>
                  <a:lnTo>
                    <a:pt x="2466" y="360"/>
                  </a:lnTo>
                  <a:lnTo>
                    <a:pt x="2466" y="366"/>
                  </a:lnTo>
                  <a:lnTo>
                    <a:pt x="2466" y="360"/>
                  </a:lnTo>
                  <a:lnTo>
                    <a:pt x="2460" y="360"/>
                  </a:lnTo>
                  <a:lnTo>
                    <a:pt x="2466" y="360"/>
                  </a:lnTo>
                  <a:lnTo>
                    <a:pt x="2466" y="354"/>
                  </a:lnTo>
                  <a:lnTo>
                    <a:pt x="2472" y="354"/>
                  </a:lnTo>
                  <a:lnTo>
                    <a:pt x="2472" y="348"/>
                  </a:lnTo>
                  <a:lnTo>
                    <a:pt x="2478" y="348"/>
                  </a:lnTo>
                  <a:lnTo>
                    <a:pt x="2472" y="348"/>
                  </a:lnTo>
                  <a:lnTo>
                    <a:pt x="2466" y="354"/>
                  </a:lnTo>
                  <a:lnTo>
                    <a:pt x="2460" y="354"/>
                  </a:lnTo>
                  <a:lnTo>
                    <a:pt x="2466" y="348"/>
                  </a:lnTo>
                  <a:lnTo>
                    <a:pt x="2460" y="348"/>
                  </a:lnTo>
                  <a:lnTo>
                    <a:pt x="2460" y="354"/>
                  </a:lnTo>
                  <a:lnTo>
                    <a:pt x="2454" y="348"/>
                  </a:lnTo>
                  <a:lnTo>
                    <a:pt x="2454" y="342"/>
                  </a:lnTo>
                  <a:lnTo>
                    <a:pt x="2454" y="348"/>
                  </a:lnTo>
                  <a:lnTo>
                    <a:pt x="2454" y="342"/>
                  </a:lnTo>
                  <a:lnTo>
                    <a:pt x="2448" y="342"/>
                  </a:lnTo>
                  <a:lnTo>
                    <a:pt x="2448" y="348"/>
                  </a:lnTo>
                  <a:lnTo>
                    <a:pt x="2448" y="342"/>
                  </a:lnTo>
                  <a:lnTo>
                    <a:pt x="2442" y="342"/>
                  </a:lnTo>
                  <a:lnTo>
                    <a:pt x="2442" y="336"/>
                  </a:lnTo>
                  <a:lnTo>
                    <a:pt x="2442" y="330"/>
                  </a:lnTo>
                  <a:lnTo>
                    <a:pt x="2448" y="330"/>
                  </a:lnTo>
                  <a:lnTo>
                    <a:pt x="2448" y="324"/>
                  </a:lnTo>
                  <a:lnTo>
                    <a:pt x="2454" y="318"/>
                  </a:lnTo>
                  <a:lnTo>
                    <a:pt x="2454" y="312"/>
                  </a:lnTo>
                  <a:lnTo>
                    <a:pt x="2454" y="318"/>
                  </a:lnTo>
                  <a:lnTo>
                    <a:pt x="2460" y="318"/>
                  </a:lnTo>
                  <a:lnTo>
                    <a:pt x="2460" y="324"/>
                  </a:lnTo>
                  <a:lnTo>
                    <a:pt x="2454" y="324"/>
                  </a:lnTo>
                  <a:lnTo>
                    <a:pt x="2460" y="324"/>
                  </a:lnTo>
                  <a:lnTo>
                    <a:pt x="2460" y="318"/>
                  </a:lnTo>
                  <a:lnTo>
                    <a:pt x="2460" y="312"/>
                  </a:lnTo>
                  <a:lnTo>
                    <a:pt x="2460" y="318"/>
                  </a:lnTo>
                  <a:lnTo>
                    <a:pt x="2466" y="318"/>
                  </a:lnTo>
                  <a:lnTo>
                    <a:pt x="2460" y="318"/>
                  </a:lnTo>
                  <a:lnTo>
                    <a:pt x="2460" y="312"/>
                  </a:lnTo>
                  <a:lnTo>
                    <a:pt x="2466" y="312"/>
                  </a:lnTo>
                  <a:lnTo>
                    <a:pt x="2472" y="312"/>
                  </a:lnTo>
                  <a:lnTo>
                    <a:pt x="2472" y="306"/>
                  </a:lnTo>
                  <a:lnTo>
                    <a:pt x="2472" y="300"/>
                  </a:lnTo>
                  <a:lnTo>
                    <a:pt x="2472" y="294"/>
                  </a:lnTo>
                  <a:lnTo>
                    <a:pt x="2478" y="294"/>
                  </a:lnTo>
                  <a:lnTo>
                    <a:pt x="2478" y="288"/>
                  </a:lnTo>
                  <a:lnTo>
                    <a:pt x="2478" y="294"/>
                  </a:lnTo>
                  <a:lnTo>
                    <a:pt x="2478" y="288"/>
                  </a:lnTo>
                  <a:lnTo>
                    <a:pt x="2478" y="282"/>
                  </a:lnTo>
                  <a:lnTo>
                    <a:pt x="2478" y="276"/>
                  </a:lnTo>
                  <a:lnTo>
                    <a:pt x="2478" y="270"/>
                  </a:lnTo>
                  <a:lnTo>
                    <a:pt x="2484" y="270"/>
                  </a:lnTo>
                  <a:lnTo>
                    <a:pt x="2484" y="264"/>
                  </a:lnTo>
                  <a:lnTo>
                    <a:pt x="2484" y="270"/>
                  </a:lnTo>
                  <a:lnTo>
                    <a:pt x="2490" y="270"/>
                  </a:lnTo>
                  <a:lnTo>
                    <a:pt x="2490" y="276"/>
                  </a:lnTo>
                  <a:lnTo>
                    <a:pt x="2490" y="270"/>
                  </a:lnTo>
                  <a:lnTo>
                    <a:pt x="2490" y="276"/>
                  </a:lnTo>
                  <a:lnTo>
                    <a:pt x="2496" y="270"/>
                  </a:lnTo>
                  <a:lnTo>
                    <a:pt x="2502" y="270"/>
                  </a:lnTo>
                  <a:lnTo>
                    <a:pt x="2502" y="264"/>
                  </a:lnTo>
                  <a:lnTo>
                    <a:pt x="2508" y="264"/>
                  </a:lnTo>
                  <a:lnTo>
                    <a:pt x="2508" y="258"/>
                  </a:lnTo>
                  <a:lnTo>
                    <a:pt x="2514" y="258"/>
                  </a:lnTo>
                  <a:lnTo>
                    <a:pt x="2508" y="252"/>
                  </a:lnTo>
                  <a:lnTo>
                    <a:pt x="2508" y="246"/>
                  </a:lnTo>
                  <a:lnTo>
                    <a:pt x="2502" y="246"/>
                  </a:lnTo>
                  <a:lnTo>
                    <a:pt x="2502" y="240"/>
                  </a:lnTo>
                  <a:lnTo>
                    <a:pt x="2502" y="234"/>
                  </a:lnTo>
                  <a:lnTo>
                    <a:pt x="2502" y="228"/>
                  </a:lnTo>
                  <a:lnTo>
                    <a:pt x="2508" y="228"/>
                  </a:lnTo>
                  <a:lnTo>
                    <a:pt x="2514" y="228"/>
                  </a:lnTo>
                  <a:lnTo>
                    <a:pt x="2520" y="228"/>
                  </a:lnTo>
                  <a:lnTo>
                    <a:pt x="2520" y="222"/>
                  </a:lnTo>
                  <a:lnTo>
                    <a:pt x="2520" y="216"/>
                  </a:lnTo>
                  <a:lnTo>
                    <a:pt x="2520" y="210"/>
                  </a:lnTo>
                  <a:lnTo>
                    <a:pt x="2526" y="210"/>
                  </a:lnTo>
                  <a:lnTo>
                    <a:pt x="2526" y="216"/>
                  </a:lnTo>
                  <a:lnTo>
                    <a:pt x="2526" y="210"/>
                  </a:lnTo>
                  <a:lnTo>
                    <a:pt x="2526" y="204"/>
                  </a:lnTo>
                  <a:lnTo>
                    <a:pt x="2532" y="204"/>
                  </a:lnTo>
                  <a:lnTo>
                    <a:pt x="2532" y="210"/>
                  </a:lnTo>
                  <a:lnTo>
                    <a:pt x="2538" y="210"/>
                  </a:lnTo>
                  <a:lnTo>
                    <a:pt x="2538" y="216"/>
                  </a:lnTo>
                  <a:lnTo>
                    <a:pt x="2538" y="210"/>
                  </a:lnTo>
                  <a:lnTo>
                    <a:pt x="2544" y="210"/>
                  </a:lnTo>
                  <a:lnTo>
                    <a:pt x="2544" y="216"/>
                  </a:lnTo>
                  <a:lnTo>
                    <a:pt x="2538" y="216"/>
                  </a:lnTo>
                  <a:lnTo>
                    <a:pt x="2544" y="216"/>
                  </a:lnTo>
                  <a:lnTo>
                    <a:pt x="2544" y="210"/>
                  </a:lnTo>
                  <a:lnTo>
                    <a:pt x="2538" y="210"/>
                  </a:lnTo>
                  <a:lnTo>
                    <a:pt x="2544" y="210"/>
                  </a:lnTo>
                  <a:lnTo>
                    <a:pt x="2544" y="216"/>
                  </a:lnTo>
                  <a:lnTo>
                    <a:pt x="2544" y="210"/>
                  </a:lnTo>
                  <a:lnTo>
                    <a:pt x="2550" y="210"/>
                  </a:lnTo>
                  <a:lnTo>
                    <a:pt x="2544" y="210"/>
                  </a:lnTo>
                  <a:lnTo>
                    <a:pt x="2538" y="210"/>
                  </a:lnTo>
                  <a:lnTo>
                    <a:pt x="2538" y="204"/>
                  </a:lnTo>
                  <a:lnTo>
                    <a:pt x="2538" y="210"/>
                  </a:lnTo>
                  <a:lnTo>
                    <a:pt x="2538" y="204"/>
                  </a:lnTo>
                  <a:lnTo>
                    <a:pt x="2544" y="204"/>
                  </a:lnTo>
                  <a:lnTo>
                    <a:pt x="2538" y="204"/>
                  </a:lnTo>
                  <a:lnTo>
                    <a:pt x="2538" y="198"/>
                  </a:lnTo>
                  <a:lnTo>
                    <a:pt x="2538" y="192"/>
                  </a:lnTo>
                  <a:lnTo>
                    <a:pt x="2544" y="192"/>
                  </a:lnTo>
                  <a:lnTo>
                    <a:pt x="2538" y="192"/>
                  </a:lnTo>
                  <a:lnTo>
                    <a:pt x="2538" y="186"/>
                  </a:lnTo>
                  <a:lnTo>
                    <a:pt x="2544" y="186"/>
                  </a:lnTo>
                  <a:lnTo>
                    <a:pt x="2544" y="192"/>
                  </a:lnTo>
                  <a:lnTo>
                    <a:pt x="2550" y="186"/>
                  </a:lnTo>
                  <a:lnTo>
                    <a:pt x="2550" y="192"/>
                  </a:lnTo>
                  <a:lnTo>
                    <a:pt x="2550" y="198"/>
                  </a:lnTo>
                  <a:lnTo>
                    <a:pt x="2550" y="192"/>
                  </a:lnTo>
                  <a:lnTo>
                    <a:pt x="2556" y="192"/>
                  </a:lnTo>
                  <a:lnTo>
                    <a:pt x="2550" y="192"/>
                  </a:lnTo>
                  <a:lnTo>
                    <a:pt x="2550" y="198"/>
                  </a:lnTo>
                  <a:lnTo>
                    <a:pt x="2550" y="204"/>
                  </a:lnTo>
                  <a:lnTo>
                    <a:pt x="2550" y="198"/>
                  </a:lnTo>
                  <a:lnTo>
                    <a:pt x="2556" y="198"/>
                  </a:lnTo>
                  <a:lnTo>
                    <a:pt x="2550" y="204"/>
                  </a:lnTo>
                  <a:lnTo>
                    <a:pt x="2556" y="204"/>
                  </a:lnTo>
                  <a:lnTo>
                    <a:pt x="2550" y="204"/>
                  </a:lnTo>
                  <a:lnTo>
                    <a:pt x="2556" y="204"/>
                  </a:lnTo>
                  <a:lnTo>
                    <a:pt x="2556" y="198"/>
                  </a:lnTo>
                  <a:lnTo>
                    <a:pt x="2556" y="204"/>
                  </a:lnTo>
                  <a:lnTo>
                    <a:pt x="2556" y="198"/>
                  </a:lnTo>
                  <a:lnTo>
                    <a:pt x="2556" y="204"/>
                  </a:lnTo>
                  <a:lnTo>
                    <a:pt x="2562" y="204"/>
                  </a:lnTo>
                  <a:lnTo>
                    <a:pt x="2556" y="204"/>
                  </a:lnTo>
                  <a:lnTo>
                    <a:pt x="2562" y="204"/>
                  </a:lnTo>
                  <a:lnTo>
                    <a:pt x="2562" y="210"/>
                  </a:lnTo>
                  <a:lnTo>
                    <a:pt x="2562" y="204"/>
                  </a:lnTo>
                  <a:lnTo>
                    <a:pt x="2568" y="204"/>
                  </a:lnTo>
                  <a:lnTo>
                    <a:pt x="2568" y="210"/>
                  </a:lnTo>
                  <a:lnTo>
                    <a:pt x="2568" y="204"/>
                  </a:lnTo>
                  <a:lnTo>
                    <a:pt x="2562" y="204"/>
                  </a:lnTo>
                  <a:lnTo>
                    <a:pt x="2562" y="198"/>
                  </a:lnTo>
                  <a:lnTo>
                    <a:pt x="2562" y="204"/>
                  </a:lnTo>
                  <a:lnTo>
                    <a:pt x="2562" y="198"/>
                  </a:lnTo>
                  <a:lnTo>
                    <a:pt x="2556" y="198"/>
                  </a:lnTo>
                  <a:lnTo>
                    <a:pt x="2562" y="198"/>
                  </a:lnTo>
                  <a:lnTo>
                    <a:pt x="2568" y="198"/>
                  </a:lnTo>
                  <a:lnTo>
                    <a:pt x="2562" y="198"/>
                  </a:lnTo>
                  <a:lnTo>
                    <a:pt x="2568" y="198"/>
                  </a:lnTo>
                  <a:lnTo>
                    <a:pt x="2562" y="192"/>
                  </a:lnTo>
                  <a:lnTo>
                    <a:pt x="2556" y="192"/>
                  </a:lnTo>
                  <a:lnTo>
                    <a:pt x="2562" y="192"/>
                  </a:lnTo>
                  <a:lnTo>
                    <a:pt x="2556" y="192"/>
                  </a:lnTo>
                  <a:lnTo>
                    <a:pt x="2556" y="186"/>
                  </a:lnTo>
                  <a:lnTo>
                    <a:pt x="2562" y="186"/>
                  </a:lnTo>
                  <a:lnTo>
                    <a:pt x="2562" y="180"/>
                  </a:lnTo>
                  <a:lnTo>
                    <a:pt x="2562" y="186"/>
                  </a:lnTo>
                  <a:lnTo>
                    <a:pt x="2568" y="186"/>
                  </a:lnTo>
                  <a:lnTo>
                    <a:pt x="2574" y="186"/>
                  </a:lnTo>
                  <a:lnTo>
                    <a:pt x="2574" y="180"/>
                  </a:lnTo>
                  <a:lnTo>
                    <a:pt x="2568" y="180"/>
                  </a:lnTo>
                  <a:lnTo>
                    <a:pt x="2574" y="180"/>
                  </a:lnTo>
                  <a:lnTo>
                    <a:pt x="2574" y="174"/>
                  </a:lnTo>
                  <a:lnTo>
                    <a:pt x="2568" y="174"/>
                  </a:lnTo>
                  <a:lnTo>
                    <a:pt x="2568" y="168"/>
                  </a:lnTo>
                  <a:lnTo>
                    <a:pt x="2574" y="168"/>
                  </a:lnTo>
                  <a:lnTo>
                    <a:pt x="2580" y="168"/>
                  </a:lnTo>
                  <a:lnTo>
                    <a:pt x="2580" y="174"/>
                  </a:lnTo>
                  <a:lnTo>
                    <a:pt x="2580" y="168"/>
                  </a:lnTo>
                  <a:lnTo>
                    <a:pt x="2580" y="174"/>
                  </a:lnTo>
                  <a:lnTo>
                    <a:pt x="2586" y="174"/>
                  </a:lnTo>
                  <a:lnTo>
                    <a:pt x="2586" y="168"/>
                  </a:lnTo>
                  <a:lnTo>
                    <a:pt x="2592" y="168"/>
                  </a:lnTo>
                  <a:lnTo>
                    <a:pt x="2586" y="168"/>
                  </a:lnTo>
                  <a:lnTo>
                    <a:pt x="2592" y="168"/>
                  </a:lnTo>
                  <a:lnTo>
                    <a:pt x="2592" y="162"/>
                  </a:lnTo>
                  <a:lnTo>
                    <a:pt x="2592" y="168"/>
                  </a:lnTo>
                  <a:lnTo>
                    <a:pt x="2592" y="174"/>
                  </a:lnTo>
                  <a:lnTo>
                    <a:pt x="2598" y="174"/>
                  </a:lnTo>
                  <a:lnTo>
                    <a:pt x="2604" y="180"/>
                  </a:lnTo>
                  <a:lnTo>
                    <a:pt x="2610" y="180"/>
                  </a:lnTo>
                  <a:lnTo>
                    <a:pt x="2616" y="180"/>
                  </a:lnTo>
                  <a:lnTo>
                    <a:pt x="2622" y="180"/>
                  </a:lnTo>
                  <a:lnTo>
                    <a:pt x="2628" y="180"/>
                  </a:lnTo>
                  <a:lnTo>
                    <a:pt x="2634" y="174"/>
                  </a:lnTo>
                  <a:lnTo>
                    <a:pt x="2640" y="174"/>
                  </a:lnTo>
                  <a:lnTo>
                    <a:pt x="2640" y="180"/>
                  </a:lnTo>
                  <a:lnTo>
                    <a:pt x="2646" y="180"/>
                  </a:lnTo>
                  <a:lnTo>
                    <a:pt x="2652" y="180"/>
                  </a:lnTo>
                  <a:lnTo>
                    <a:pt x="2658" y="174"/>
                  </a:lnTo>
                  <a:lnTo>
                    <a:pt x="2664" y="174"/>
                  </a:lnTo>
                  <a:lnTo>
                    <a:pt x="2664" y="168"/>
                  </a:lnTo>
                  <a:lnTo>
                    <a:pt x="2664" y="174"/>
                  </a:lnTo>
                  <a:lnTo>
                    <a:pt x="2664" y="180"/>
                  </a:lnTo>
                  <a:lnTo>
                    <a:pt x="2664" y="174"/>
                  </a:lnTo>
                  <a:lnTo>
                    <a:pt x="2670" y="174"/>
                  </a:lnTo>
                  <a:lnTo>
                    <a:pt x="2676" y="174"/>
                  </a:lnTo>
                  <a:lnTo>
                    <a:pt x="2676" y="180"/>
                  </a:lnTo>
                  <a:lnTo>
                    <a:pt x="2676" y="174"/>
                  </a:lnTo>
                  <a:lnTo>
                    <a:pt x="2676" y="168"/>
                  </a:lnTo>
                  <a:lnTo>
                    <a:pt x="2682" y="168"/>
                  </a:lnTo>
                  <a:lnTo>
                    <a:pt x="2688" y="168"/>
                  </a:lnTo>
                  <a:lnTo>
                    <a:pt x="2688" y="162"/>
                  </a:lnTo>
                  <a:lnTo>
                    <a:pt x="2688" y="168"/>
                  </a:lnTo>
                  <a:lnTo>
                    <a:pt x="2694" y="168"/>
                  </a:lnTo>
                  <a:lnTo>
                    <a:pt x="2700" y="168"/>
                  </a:lnTo>
                  <a:lnTo>
                    <a:pt x="2706" y="168"/>
                  </a:lnTo>
                  <a:lnTo>
                    <a:pt x="2700" y="168"/>
                  </a:lnTo>
                  <a:lnTo>
                    <a:pt x="2694" y="168"/>
                  </a:lnTo>
                  <a:lnTo>
                    <a:pt x="2694" y="162"/>
                  </a:lnTo>
                  <a:lnTo>
                    <a:pt x="2694" y="156"/>
                  </a:lnTo>
                  <a:lnTo>
                    <a:pt x="2694" y="150"/>
                  </a:lnTo>
                  <a:lnTo>
                    <a:pt x="2694" y="144"/>
                  </a:lnTo>
                  <a:lnTo>
                    <a:pt x="2688" y="144"/>
                  </a:lnTo>
                  <a:lnTo>
                    <a:pt x="2688" y="138"/>
                  </a:lnTo>
                  <a:lnTo>
                    <a:pt x="2694" y="138"/>
                  </a:lnTo>
                  <a:lnTo>
                    <a:pt x="2694" y="132"/>
                  </a:lnTo>
                  <a:lnTo>
                    <a:pt x="2700" y="132"/>
                  </a:lnTo>
                  <a:lnTo>
                    <a:pt x="2700" y="126"/>
                  </a:lnTo>
                  <a:lnTo>
                    <a:pt x="2700" y="132"/>
                  </a:lnTo>
                  <a:lnTo>
                    <a:pt x="2694" y="132"/>
                  </a:lnTo>
                  <a:lnTo>
                    <a:pt x="2700" y="126"/>
                  </a:lnTo>
                  <a:lnTo>
                    <a:pt x="2694" y="126"/>
                  </a:lnTo>
                  <a:lnTo>
                    <a:pt x="2694" y="132"/>
                  </a:lnTo>
                  <a:lnTo>
                    <a:pt x="2688" y="126"/>
                  </a:lnTo>
                  <a:lnTo>
                    <a:pt x="2694" y="126"/>
                  </a:lnTo>
                  <a:lnTo>
                    <a:pt x="2688" y="126"/>
                  </a:lnTo>
                  <a:lnTo>
                    <a:pt x="2694" y="126"/>
                  </a:lnTo>
                  <a:lnTo>
                    <a:pt x="2688" y="120"/>
                  </a:lnTo>
                  <a:lnTo>
                    <a:pt x="2688" y="114"/>
                  </a:lnTo>
                  <a:lnTo>
                    <a:pt x="2682" y="114"/>
                  </a:lnTo>
                  <a:lnTo>
                    <a:pt x="2682" y="120"/>
                  </a:lnTo>
                  <a:lnTo>
                    <a:pt x="2682" y="114"/>
                  </a:lnTo>
                  <a:lnTo>
                    <a:pt x="2676" y="114"/>
                  </a:lnTo>
                  <a:lnTo>
                    <a:pt x="2670" y="114"/>
                  </a:lnTo>
                  <a:lnTo>
                    <a:pt x="2670" y="120"/>
                  </a:lnTo>
                  <a:lnTo>
                    <a:pt x="2664" y="114"/>
                  </a:lnTo>
                  <a:lnTo>
                    <a:pt x="2664" y="120"/>
                  </a:lnTo>
                  <a:lnTo>
                    <a:pt x="2658" y="120"/>
                  </a:lnTo>
                  <a:lnTo>
                    <a:pt x="2652" y="120"/>
                  </a:lnTo>
                  <a:lnTo>
                    <a:pt x="2646" y="120"/>
                  </a:lnTo>
                  <a:lnTo>
                    <a:pt x="2646" y="114"/>
                  </a:lnTo>
                  <a:lnTo>
                    <a:pt x="2652" y="114"/>
                  </a:lnTo>
                  <a:lnTo>
                    <a:pt x="2646" y="114"/>
                  </a:lnTo>
                  <a:lnTo>
                    <a:pt x="2640" y="114"/>
                  </a:lnTo>
                  <a:lnTo>
                    <a:pt x="2646" y="108"/>
                  </a:lnTo>
                  <a:lnTo>
                    <a:pt x="2646" y="114"/>
                  </a:lnTo>
                  <a:lnTo>
                    <a:pt x="2646" y="108"/>
                  </a:lnTo>
                  <a:lnTo>
                    <a:pt x="2640" y="108"/>
                  </a:lnTo>
                  <a:lnTo>
                    <a:pt x="2634" y="102"/>
                  </a:lnTo>
                  <a:lnTo>
                    <a:pt x="2634" y="108"/>
                  </a:lnTo>
                  <a:lnTo>
                    <a:pt x="2628" y="108"/>
                  </a:lnTo>
                  <a:lnTo>
                    <a:pt x="2628" y="102"/>
                  </a:lnTo>
                  <a:lnTo>
                    <a:pt x="2628" y="108"/>
                  </a:lnTo>
                  <a:lnTo>
                    <a:pt x="2628" y="102"/>
                  </a:lnTo>
                  <a:lnTo>
                    <a:pt x="2634" y="102"/>
                  </a:lnTo>
                  <a:lnTo>
                    <a:pt x="2628" y="102"/>
                  </a:lnTo>
                  <a:lnTo>
                    <a:pt x="2634" y="102"/>
                  </a:lnTo>
                  <a:lnTo>
                    <a:pt x="2634" y="96"/>
                  </a:lnTo>
                  <a:lnTo>
                    <a:pt x="2634" y="102"/>
                  </a:lnTo>
                  <a:lnTo>
                    <a:pt x="2634" y="96"/>
                  </a:lnTo>
                  <a:lnTo>
                    <a:pt x="2640" y="102"/>
                  </a:lnTo>
                  <a:lnTo>
                    <a:pt x="2640" y="96"/>
                  </a:lnTo>
                  <a:lnTo>
                    <a:pt x="2640" y="102"/>
                  </a:lnTo>
                  <a:lnTo>
                    <a:pt x="2646" y="102"/>
                  </a:lnTo>
                  <a:lnTo>
                    <a:pt x="2646" y="96"/>
                  </a:lnTo>
                  <a:lnTo>
                    <a:pt x="2646" y="90"/>
                  </a:lnTo>
                  <a:lnTo>
                    <a:pt x="2646" y="96"/>
                  </a:lnTo>
                  <a:lnTo>
                    <a:pt x="2652" y="96"/>
                  </a:lnTo>
                  <a:lnTo>
                    <a:pt x="2652" y="102"/>
                  </a:lnTo>
                  <a:lnTo>
                    <a:pt x="2652" y="96"/>
                  </a:lnTo>
                  <a:lnTo>
                    <a:pt x="2658" y="96"/>
                  </a:lnTo>
                  <a:lnTo>
                    <a:pt x="2658" y="102"/>
                  </a:lnTo>
                  <a:lnTo>
                    <a:pt x="2652" y="102"/>
                  </a:lnTo>
                  <a:lnTo>
                    <a:pt x="2658" y="102"/>
                  </a:lnTo>
                  <a:lnTo>
                    <a:pt x="2652" y="102"/>
                  </a:lnTo>
                  <a:lnTo>
                    <a:pt x="2652" y="108"/>
                  </a:lnTo>
                  <a:lnTo>
                    <a:pt x="2658" y="108"/>
                  </a:lnTo>
                  <a:lnTo>
                    <a:pt x="2658" y="102"/>
                  </a:lnTo>
                  <a:lnTo>
                    <a:pt x="2658" y="108"/>
                  </a:lnTo>
                  <a:lnTo>
                    <a:pt x="2658" y="114"/>
                  </a:lnTo>
                  <a:lnTo>
                    <a:pt x="2664" y="114"/>
                  </a:lnTo>
                  <a:lnTo>
                    <a:pt x="2658" y="108"/>
                  </a:lnTo>
                  <a:lnTo>
                    <a:pt x="2664" y="108"/>
                  </a:lnTo>
                  <a:lnTo>
                    <a:pt x="2664" y="102"/>
                  </a:lnTo>
                  <a:lnTo>
                    <a:pt x="2658" y="108"/>
                  </a:lnTo>
                  <a:lnTo>
                    <a:pt x="2664" y="102"/>
                  </a:lnTo>
                  <a:lnTo>
                    <a:pt x="2658" y="102"/>
                  </a:lnTo>
                  <a:lnTo>
                    <a:pt x="2664" y="102"/>
                  </a:lnTo>
                  <a:lnTo>
                    <a:pt x="2664" y="96"/>
                  </a:lnTo>
                  <a:lnTo>
                    <a:pt x="2658" y="96"/>
                  </a:lnTo>
                  <a:lnTo>
                    <a:pt x="2658" y="90"/>
                  </a:lnTo>
                  <a:lnTo>
                    <a:pt x="2664" y="90"/>
                  </a:lnTo>
                  <a:lnTo>
                    <a:pt x="2664" y="96"/>
                  </a:lnTo>
                  <a:lnTo>
                    <a:pt x="2664" y="102"/>
                  </a:lnTo>
                  <a:lnTo>
                    <a:pt x="2670" y="102"/>
                  </a:lnTo>
                  <a:lnTo>
                    <a:pt x="2670" y="96"/>
                  </a:lnTo>
                  <a:lnTo>
                    <a:pt x="2664" y="96"/>
                  </a:lnTo>
                  <a:lnTo>
                    <a:pt x="2670" y="96"/>
                  </a:lnTo>
                  <a:lnTo>
                    <a:pt x="2664" y="96"/>
                  </a:lnTo>
                  <a:lnTo>
                    <a:pt x="2670" y="96"/>
                  </a:lnTo>
                  <a:lnTo>
                    <a:pt x="2670" y="90"/>
                  </a:lnTo>
                  <a:lnTo>
                    <a:pt x="2676" y="96"/>
                  </a:lnTo>
                  <a:lnTo>
                    <a:pt x="2676" y="102"/>
                  </a:lnTo>
                  <a:lnTo>
                    <a:pt x="2676" y="96"/>
                  </a:lnTo>
                  <a:lnTo>
                    <a:pt x="2682" y="96"/>
                  </a:lnTo>
                  <a:lnTo>
                    <a:pt x="2682" y="102"/>
                  </a:lnTo>
                  <a:lnTo>
                    <a:pt x="2688" y="102"/>
                  </a:lnTo>
                  <a:lnTo>
                    <a:pt x="2682" y="102"/>
                  </a:lnTo>
                  <a:lnTo>
                    <a:pt x="2688" y="102"/>
                  </a:lnTo>
                  <a:lnTo>
                    <a:pt x="2682" y="108"/>
                  </a:lnTo>
                  <a:lnTo>
                    <a:pt x="2688" y="108"/>
                  </a:lnTo>
                  <a:lnTo>
                    <a:pt x="2682" y="108"/>
                  </a:lnTo>
                  <a:lnTo>
                    <a:pt x="2688" y="108"/>
                  </a:lnTo>
                  <a:lnTo>
                    <a:pt x="2688" y="114"/>
                  </a:lnTo>
                  <a:lnTo>
                    <a:pt x="2694" y="114"/>
                  </a:lnTo>
                  <a:lnTo>
                    <a:pt x="2694" y="120"/>
                  </a:lnTo>
                  <a:lnTo>
                    <a:pt x="2700" y="120"/>
                  </a:lnTo>
                  <a:lnTo>
                    <a:pt x="2706" y="120"/>
                  </a:lnTo>
                  <a:lnTo>
                    <a:pt x="2706" y="114"/>
                  </a:lnTo>
                  <a:lnTo>
                    <a:pt x="2712" y="114"/>
                  </a:lnTo>
                  <a:lnTo>
                    <a:pt x="2712" y="108"/>
                  </a:lnTo>
                  <a:lnTo>
                    <a:pt x="2718" y="108"/>
                  </a:lnTo>
                  <a:lnTo>
                    <a:pt x="2718" y="114"/>
                  </a:lnTo>
                  <a:lnTo>
                    <a:pt x="2724" y="114"/>
                  </a:lnTo>
                  <a:lnTo>
                    <a:pt x="2724" y="120"/>
                  </a:lnTo>
                  <a:lnTo>
                    <a:pt x="2730" y="120"/>
                  </a:lnTo>
                  <a:lnTo>
                    <a:pt x="2724" y="126"/>
                  </a:lnTo>
                  <a:lnTo>
                    <a:pt x="2730" y="126"/>
                  </a:lnTo>
                  <a:lnTo>
                    <a:pt x="2730" y="132"/>
                  </a:lnTo>
                  <a:lnTo>
                    <a:pt x="2730" y="138"/>
                  </a:lnTo>
                  <a:lnTo>
                    <a:pt x="2736" y="138"/>
                  </a:lnTo>
                  <a:lnTo>
                    <a:pt x="2742" y="138"/>
                  </a:lnTo>
                  <a:lnTo>
                    <a:pt x="2748" y="132"/>
                  </a:lnTo>
                  <a:lnTo>
                    <a:pt x="2748" y="138"/>
                  </a:lnTo>
                  <a:lnTo>
                    <a:pt x="2742" y="138"/>
                  </a:lnTo>
                  <a:lnTo>
                    <a:pt x="2748" y="138"/>
                  </a:lnTo>
                  <a:lnTo>
                    <a:pt x="2754" y="138"/>
                  </a:lnTo>
                  <a:lnTo>
                    <a:pt x="2748" y="138"/>
                  </a:lnTo>
                  <a:lnTo>
                    <a:pt x="2754" y="138"/>
                  </a:lnTo>
                  <a:lnTo>
                    <a:pt x="2754" y="144"/>
                  </a:lnTo>
                  <a:lnTo>
                    <a:pt x="2754" y="138"/>
                  </a:lnTo>
                  <a:lnTo>
                    <a:pt x="2754" y="144"/>
                  </a:lnTo>
                  <a:lnTo>
                    <a:pt x="2760" y="144"/>
                  </a:lnTo>
                  <a:lnTo>
                    <a:pt x="2760" y="138"/>
                  </a:lnTo>
                  <a:lnTo>
                    <a:pt x="2760" y="144"/>
                  </a:lnTo>
                  <a:lnTo>
                    <a:pt x="2760" y="150"/>
                  </a:lnTo>
                  <a:lnTo>
                    <a:pt x="2760" y="144"/>
                  </a:lnTo>
                  <a:lnTo>
                    <a:pt x="2766" y="144"/>
                  </a:lnTo>
                  <a:lnTo>
                    <a:pt x="2772" y="144"/>
                  </a:lnTo>
                  <a:lnTo>
                    <a:pt x="2772" y="138"/>
                  </a:lnTo>
                  <a:lnTo>
                    <a:pt x="2772" y="144"/>
                  </a:lnTo>
                  <a:lnTo>
                    <a:pt x="2778" y="138"/>
                  </a:lnTo>
                  <a:lnTo>
                    <a:pt x="2784" y="138"/>
                  </a:lnTo>
                  <a:lnTo>
                    <a:pt x="2790" y="138"/>
                  </a:lnTo>
                  <a:lnTo>
                    <a:pt x="2790" y="144"/>
                  </a:lnTo>
                  <a:lnTo>
                    <a:pt x="2784" y="144"/>
                  </a:lnTo>
                  <a:lnTo>
                    <a:pt x="2784" y="150"/>
                  </a:lnTo>
                  <a:lnTo>
                    <a:pt x="2790" y="150"/>
                  </a:lnTo>
                  <a:lnTo>
                    <a:pt x="2796" y="150"/>
                  </a:lnTo>
                  <a:lnTo>
                    <a:pt x="2796" y="144"/>
                  </a:lnTo>
                  <a:lnTo>
                    <a:pt x="2802" y="150"/>
                  </a:lnTo>
                  <a:lnTo>
                    <a:pt x="2802" y="156"/>
                  </a:lnTo>
                  <a:lnTo>
                    <a:pt x="2802" y="150"/>
                  </a:lnTo>
                  <a:lnTo>
                    <a:pt x="2808" y="150"/>
                  </a:lnTo>
                  <a:lnTo>
                    <a:pt x="2808" y="156"/>
                  </a:lnTo>
                  <a:lnTo>
                    <a:pt x="2808" y="162"/>
                  </a:lnTo>
                  <a:lnTo>
                    <a:pt x="2808" y="168"/>
                  </a:lnTo>
                  <a:lnTo>
                    <a:pt x="2808" y="162"/>
                  </a:lnTo>
                  <a:lnTo>
                    <a:pt x="2814" y="162"/>
                  </a:lnTo>
                  <a:lnTo>
                    <a:pt x="2814" y="156"/>
                  </a:lnTo>
                  <a:lnTo>
                    <a:pt x="2820" y="156"/>
                  </a:lnTo>
                  <a:lnTo>
                    <a:pt x="2820" y="162"/>
                  </a:lnTo>
                  <a:lnTo>
                    <a:pt x="2826" y="162"/>
                  </a:lnTo>
                  <a:lnTo>
                    <a:pt x="2832" y="162"/>
                  </a:lnTo>
                  <a:lnTo>
                    <a:pt x="2838" y="162"/>
                  </a:lnTo>
                  <a:lnTo>
                    <a:pt x="2838" y="168"/>
                  </a:lnTo>
                  <a:lnTo>
                    <a:pt x="2844" y="168"/>
                  </a:lnTo>
                  <a:lnTo>
                    <a:pt x="2844" y="162"/>
                  </a:lnTo>
                  <a:lnTo>
                    <a:pt x="2838" y="162"/>
                  </a:lnTo>
                  <a:lnTo>
                    <a:pt x="2844" y="162"/>
                  </a:lnTo>
                  <a:lnTo>
                    <a:pt x="2844" y="156"/>
                  </a:lnTo>
                  <a:lnTo>
                    <a:pt x="2850" y="156"/>
                  </a:lnTo>
                  <a:lnTo>
                    <a:pt x="2856" y="156"/>
                  </a:lnTo>
                  <a:lnTo>
                    <a:pt x="2850" y="156"/>
                  </a:lnTo>
                  <a:lnTo>
                    <a:pt x="2856" y="156"/>
                  </a:lnTo>
                  <a:lnTo>
                    <a:pt x="2856" y="162"/>
                  </a:lnTo>
                  <a:lnTo>
                    <a:pt x="2862" y="162"/>
                  </a:lnTo>
                  <a:lnTo>
                    <a:pt x="2856" y="168"/>
                  </a:lnTo>
                  <a:lnTo>
                    <a:pt x="2862" y="168"/>
                  </a:lnTo>
                  <a:lnTo>
                    <a:pt x="2868" y="168"/>
                  </a:lnTo>
                  <a:lnTo>
                    <a:pt x="2868" y="174"/>
                  </a:lnTo>
                  <a:lnTo>
                    <a:pt x="2874" y="174"/>
                  </a:lnTo>
                  <a:lnTo>
                    <a:pt x="2874" y="180"/>
                  </a:lnTo>
                  <a:lnTo>
                    <a:pt x="2880" y="174"/>
                  </a:lnTo>
                  <a:lnTo>
                    <a:pt x="2880" y="180"/>
                  </a:lnTo>
                  <a:lnTo>
                    <a:pt x="2886" y="180"/>
                  </a:lnTo>
                  <a:lnTo>
                    <a:pt x="2892" y="180"/>
                  </a:lnTo>
                  <a:lnTo>
                    <a:pt x="2886" y="180"/>
                  </a:lnTo>
                  <a:lnTo>
                    <a:pt x="2892" y="180"/>
                  </a:lnTo>
                  <a:lnTo>
                    <a:pt x="2886" y="180"/>
                  </a:lnTo>
                  <a:lnTo>
                    <a:pt x="2886" y="174"/>
                  </a:lnTo>
                  <a:lnTo>
                    <a:pt x="2880" y="174"/>
                  </a:lnTo>
                  <a:lnTo>
                    <a:pt x="2886" y="174"/>
                  </a:lnTo>
                  <a:lnTo>
                    <a:pt x="2892" y="174"/>
                  </a:lnTo>
                  <a:lnTo>
                    <a:pt x="2892" y="180"/>
                  </a:lnTo>
                  <a:lnTo>
                    <a:pt x="2892" y="174"/>
                  </a:lnTo>
                  <a:lnTo>
                    <a:pt x="2898" y="174"/>
                  </a:lnTo>
                  <a:lnTo>
                    <a:pt x="2904" y="174"/>
                  </a:lnTo>
                  <a:lnTo>
                    <a:pt x="2898" y="174"/>
                  </a:lnTo>
                  <a:lnTo>
                    <a:pt x="2898" y="168"/>
                  </a:lnTo>
                  <a:lnTo>
                    <a:pt x="2898" y="174"/>
                  </a:lnTo>
                  <a:lnTo>
                    <a:pt x="2892" y="174"/>
                  </a:lnTo>
                  <a:lnTo>
                    <a:pt x="2886" y="174"/>
                  </a:lnTo>
                  <a:lnTo>
                    <a:pt x="2892" y="174"/>
                  </a:lnTo>
                  <a:lnTo>
                    <a:pt x="2892" y="168"/>
                  </a:lnTo>
                  <a:lnTo>
                    <a:pt x="2898" y="168"/>
                  </a:lnTo>
                  <a:lnTo>
                    <a:pt x="2898" y="162"/>
                  </a:lnTo>
                  <a:lnTo>
                    <a:pt x="2898" y="168"/>
                  </a:lnTo>
                  <a:lnTo>
                    <a:pt x="2904" y="162"/>
                  </a:lnTo>
                  <a:lnTo>
                    <a:pt x="2904" y="168"/>
                  </a:lnTo>
                  <a:lnTo>
                    <a:pt x="2910" y="168"/>
                  </a:lnTo>
                  <a:lnTo>
                    <a:pt x="2910" y="162"/>
                  </a:lnTo>
                  <a:lnTo>
                    <a:pt x="2910" y="168"/>
                  </a:lnTo>
                  <a:lnTo>
                    <a:pt x="2916" y="168"/>
                  </a:lnTo>
                  <a:lnTo>
                    <a:pt x="2916" y="162"/>
                  </a:lnTo>
                  <a:lnTo>
                    <a:pt x="2922" y="162"/>
                  </a:lnTo>
                  <a:lnTo>
                    <a:pt x="2928" y="156"/>
                  </a:lnTo>
                  <a:lnTo>
                    <a:pt x="2934" y="156"/>
                  </a:lnTo>
                  <a:lnTo>
                    <a:pt x="2940" y="156"/>
                  </a:lnTo>
                  <a:lnTo>
                    <a:pt x="2934" y="156"/>
                  </a:lnTo>
                  <a:lnTo>
                    <a:pt x="2934" y="162"/>
                  </a:lnTo>
                  <a:lnTo>
                    <a:pt x="2928" y="162"/>
                  </a:lnTo>
                  <a:lnTo>
                    <a:pt x="2928" y="168"/>
                  </a:lnTo>
                  <a:lnTo>
                    <a:pt x="2922" y="168"/>
                  </a:lnTo>
                  <a:lnTo>
                    <a:pt x="2922" y="174"/>
                  </a:lnTo>
                  <a:lnTo>
                    <a:pt x="2922" y="180"/>
                  </a:lnTo>
                  <a:lnTo>
                    <a:pt x="2928" y="180"/>
                  </a:lnTo>
                  <a:lnTo>
                    <a:pt x="2928" y="174"/>
                  </a:lnTo>
                  <a:lnTo>
                    <a:pt x="2934" y="174"/>
                  </a:lnTo>
                  <a:lnTo>
                    <a:pt x="2934" y="168"/>
                  </a:lnTo>
                  <a:lnTo>
                    <a:pt x="2934" y="174"/>
                  </a:lnTo>
                  <a:lnTo>
                    <a:pt x="2934" y="168"/>
                  </a:lnTo>
                  <a:lnTo>
                    <a:pt x="2940" y="168"/>
                  </a:lnTo>
                  <a:lnTo>
                    <a:pt x="2934" y="168"/>
                  </a:lnTo>
                  <a:lnTo>
                    <a:pt x="2934" y="174"/>
                  </a:lnTo>
                  <a:lnTo>
                    <a:pt x="2940" y="174"/>
                  </a:lnTo>
                  <a:lnTo>
                    <a:pt x="2934" y="174"/>
                  </a:lnTo>
                  <a:lnTo>
                    <a:pt x="2940" y="174"/>
                  </a:lnTo>
                  <a:lnTo>
                    <a:pt x="2934" y="174"/>
                  </a:lnTo>
                  <a:lnTo>
                    <a:pt x="2940" y="174"/>
                  </a:lnTo>
                  <a:lnTo>
                    <a:pt x="2940" y="168"/>
                  </a:lnTo>
                  <a:lnTo>
                    <a:pt x="2946" y="168"/>
                  </a:lnTo>
                  <a:lnTo>
                    <a:pt x="2940" y="168"/>
                  </a:lnTo>
                  <a:lnTo>
                    <a:pt x="2946" y="168"/>
                  </a:lnTo>
                  <a:lnTo>
                    <a:pt x="2946" y="162"/>
                  </a:lnTo>
                  <a:lnTo>
                    <a:pt x="2952" y="162"/>
                  </a:lnTo>
                  <a:lnTo>
                    <a:pt x="2946" y="162"/>
                  </a:lnTo>
                  <a:lnTo>
                    <a:pt x="2946" y="168"/>
                  </a:lnTo>
                  <a:lnTo>
                    <a:pt x="2946" y="174"/>
                  </a:lnTo>
                  <a:lnTo>
                    <a:pt x="2940" y="174"/>
                  </a:lnTo>
                  <a:lnTo>
                    <a:pt x="2940" y="180"/>
                  </a:lnTo>
                  <a:lnTo>
                    <a:pt x="2946" y="180"/>
                  </a:lnTo>
                  <a:lnTo>
                    <a:pt x="2946" y="174"/>
                  </a:lnTo>
                  <a:lnTo>
                    <a:pt x="2952" y="174"/>
                  </a:lnTo>
                  <a:lnTo>
                    <a:pt x="2952" y="180"/>
                  </a:lnTo>
                  <a:lnTo>
                    <a:pt x="2946" y="180"/>
                  </a:lnTo>
                  <a:lnTo>
                    <a:pt x="2946" y="186"/>
                  </a:lnTo>
                  <a:lnTo>
                    <a:pt x="2940" y="186"/>
                  </a:lnTo>
                  <a:lnTo>
                    <a:pt x="2940" y="192"/>
                  </a:lnTo>
                  <a:lnTo>
                    <a:pt x="2940" y="186"/>
                  </a:lnTo>
                  <a:lnTo>
                    <a:pt x="2946" y="186"/>
                  </a:lnTo>
                  <a:lnTo>
                    <a:pt x="2946" y="192"/>
                  </a:lnTo>
                  <a:lnTo>
                    <a:pt x="2946" y="198"/>
                  </a:lnTo>
                  <a:lnTo>
                    <a:pt x="2946" y="192"/>
                  </a:lnTo>
                  <a:lnTo>
                    <a:pt x="2952" y="192"/>
                  </a:lnTo>
                  <a:lnTo>
                    <a:pt x="2958" y="192"/>
                  </a:lnTo>
                  <a:lnTo>
                    <a:pt x="2964" y="192"/>
                  </a:lnTo>
                  <a:lnTo>
                    <a:pt x="2970" y="186"/>
                  </a:lnTo>
                  <a:lnTo>
                    <a:pt x="2970" y="180"/>
                  </a:lnTo>
                  <a:lnTo>
                    <a:pt x="2976" y="174"/>
                  </a:lnTo>
                  <a:lnTo>
                    <a:pt x="2970" y="174"/>
                  </a:lnTo>
                  <a:lnTo>
                    <a:pt x="2964" y="174"/>
                  </a:lnTo>
                  <a:lnTo>
                    <a:pt x="2958" y="174"/>
                  </a:lnTo>
                  <a:lnTo>
                    <a:pt x="2958" y="168"/>
                  </a:lnTo>
                  <a:lnTo>
                    <a:pt x="2964" y="168"/>
                  </a:lnTo>
                  <a:lnTo>
                    <a:pt x="2964" y="162"/>
                  </a:lnTo>
                  <a:lnTo>
                    <a:pt x="2970" y="162"/>
                  </a:lnTo>
                  <a:lnTo>
                    <a:pt x="2976" y="162"/>
                  </a:lnTo>
                  <a:lnTo>
                    <a:pt x="2976" y="156"/>
                  </a:lnTo>
                  <a:lnTo>
                    <a:pt x="2982" y="156"/>
                  </a:lnTo>
                  <a:lnTo>
                    <a:pt x="2988" y="156"/>
                  </a:lnTo>
                  <a:lnTo>
                    <a:pt x="2988" y="150"/>
                  </a:lnTo>
                  <a:lnTo>
                    <a:pt x="2988" y="156"/>
                  </a:lnTo>
                  <a:lnTo>
                    <a:pt x="2982" y="156"/>
                  </a:lnTo>
                  <a:lnTo>
                    <a:pt x="2982" y="162"/>
                  </a:lnTo>
                  <a:lnTo>
                    <a:pt x="2982" y="156"/>
                  </a:lnTo>
                  <a:lnTo>
                    <a:pt x="2988" y="156"/>
                  </a:lnTo>
                  <a:lnTo>
                    <a:pt x="2988" y="162"/>
                  </a:lnTo>
                  <a:lnTo>
                    <a:pt x="2988" y="168"/>
                  </a:lnTo>
                  <a:lnTo>
                    <a:pt x="2988" y="174"/>
                  </a:lnTo>
                  <a:lnTo>
                    <a:pt x="2994" y="174"/>
                  </a:lnTo>
                  <a:lnTo>
                    <a:pt x="2994" y="180"/>
                  </a:lnTo>
                  <a:lnTo>
                    <a:pt x="3000" y="180"/>
                  </a:lnTo>
                  <a:lnTo>
                    <a:pt x="3000" y="174"/>
                  </a:lnTo>
                  <a:lnTo>
                    <a:pt x="3006" y="174"/>
                  </a:lnTo>
                  <a:lnTo>
                    <a:pt x="3000" y="174"/>
                  </a:lnTo>
                  <a:lnTo>
                    <a:pt x="2994" y="174"/>
                  </a:lnTo>
                  <a:lnTo>
                    <a:pt x="3000" y="174"/>
                  </a:lnTo>
                  <a:lnTo>
                    <a:pt x="3000" y="168"/>
                  </a:lnTo>
                  <a:lnTo>
                    <a:pt x="3006" y="168"/>
                  </a:lnTo>
                  <a:lnTo>
                    <a:pt x="3006" y="174"/>
                  </a:lnTo>
                  <a:lnTo>
                    <a:pt x="3012" y="174"/>
                  </a:lnTo>
                  <a:lnTo>
                    <a:pt x="3012" y="180"/>
                  </a:lnTo>
                  <a:lnTo>
                    <a:pt x="3018" y="180"/>
                  </a:lnTo>
                  <a:lnTo>
                    <a:pt x="3018" y="186"/>
                  </a:lnTo>
                  <a:lnTo>
                    <a:pt x="3012" y="186"/>
                  </a:lnTo>
                  <a:lnTo>
                    <a:pt x="3018" y="186"/>
                  </a:lnTo>
                  <a:lnTo>
                    <a:pt x="3012" y="186"/>
                  </a:lnTo>
                  <a:lnTo>
                    <a:pt x="3012" y="192"/>
                  </a:lnTo>
                  <a:lnTo>
                    <a:pt x="3006" y="192"/>
                  </a:lnTo>
                  <a:lnTo>
                    <a:pt x="3006" y="198"/>
                  </a:lnTo>
                  <a:lnTo>
                    <a:pt x="3000" y="198"/>
                  </a:lnTo>
                  <a:lnTo>
                    <a:pt x="3006" y="198"/>
                  </a:lnTo>
                  <a:lnTo>
                    <a:pt x="3006" y="192"/>
                  </a:lnTo>
                  <a:lnTo>
                    <a:pt x="3000" y="192"/>
                  </a:lnTo>
                  <a:lnTo>
                    <a:pt x="3000" y="198"/>
                  </a:lnTo>
                  <a:lnTo>
                    <a:pt x="2994" y="198"/>
                  </a:lnTo>
                  <a:lnTo>
                    <a:pt x="2994" y="204"/>
                  </a:lnTo>
                  <a:lnTo>
                    <a:pt x="3000" y="204"/>
                  </a:lnTo>
                  <a:lnTo>
                    <a:pt x="3000" y="198"/>
                  </a:lnTo>
                  <a:lnTo>
                    <a:pt x="3000" y="204"/>
                  </a:lnTo>
                  <a:lnTo>
                    <a:pt x="2994" y="210"/>
                  </a:lnTo>
                  <a:lnTo>
                    <a:pt x="2988" y="210"/>
                  </a:lnTo>
                  <a:lnTo>
                    <a:pt x="2988" y="216"/>
                  </a:lnTo>
                  <a:lnTo>
                    <a:pt x="2994" y="216"/>
                  </a:lnTo>
                  <a:lnTo>
                    <a:pt x="2988" y="216"/>
                  </a:lnTo>
                  <a:lnTo>
                    <a:pt x="2988" y="222"/>
                  </a:lnTo>
                  <a:lnTo>
                    <a:pt x="2988" y="216"/>
                  </a:lnTo>
                  <a:lnTo>
                    <a:pt x="2982" y="216"/>
                  </a:lnTo>
                  <a:lnTo>
                    <a:pt x="2982" y="222"/>
                  </a:lnTo>
                  <a:lnTo>
                    <a:pt x="2988" y="222"/>
                  </a:lnTo>
                  <a:lnTo>
                    <a:pt x="2982" y="228"/>
                  </a:lnTo>
                  <a:lnTo>
                    <a:pt x="2988" y="228"/>
                  </a:lnTo>
                  <a:lnTo>
                    <a:pt x="2994" y="228"/>
                  </a:lnTo>
                  <a:lnTo>
                    <a:pt x="2994" y="234"/>
                  </a:lnTo>
                  <a:lnTo>
                    <a:pt x="2988" y="228"/>
                  </a:lnTo>
                  <a:lnTo>
                    <a:pt x="2988" y="234"/>
                  </a:lnTo>
                  <a:lnTo>
                    <a:pt x="2988" y="228"/>
                  </a:lnTo>
                  <a:lnTo>
                    <a:pt x="2988" y="234"/>
                  </a:lnTo>
                  <a:lnTo>
                    <a:pt x="2982" y="234"/>
                  </a:lnTo>
                  <a:lnTo>
                    <a:pt x="2976" y="234"/>
                  </a:lnTo>
                  <a:lnTo>
                    <a:pt x="2982" y="234"/>
                  </a:lnTo>
                  <a:lnTo>
                    <a:pt x="2982" y="240"/>
                  </a:lnTo>
                  <a:lnTo>
                    <a:pt x="2988" y="240"/>
                  </a:lnTo>
                  <a:lnTo>
                    <a:pt x="2982" y="240"/>
                  </a:lnTo>
                  <a:lnTo>
                    <a:pt x="2982" y="246"/>
                  </a:lnTo>
                  <a:lnTo>
                    <a:pt x="2982" y="252"/>
                  </a:lnTo>
                  <a:lnTo>
                    <a:pt x="2976" y="252"/>
                  </a:lnTo>
                  <a:lnTo>
                    <a:pt x="2982" y="252"/>
                  </a:lnTo>
                  <a:lnTo>
                    <a:pt x="2976" y="252"/>
                  </a:lnTo>
                  <a:lnTo>
                    <a:pt x="2970" y="252"/>
                  </a:lnTo>
                  <a:lnTo>
                    <a:pt x="2970" y="258"/>
                  </a:lnTo>
                  <a:lnTo>
                    <a:pt x="2970" y="252"/>
                  </a:lnTo>
                  <a:lnTo>
                    <a:pt x="2970" y="246"/>
                  </a:lnTo>
                  <a:lnTo>
                    <a:pt x="2970" y="240"/>
                  </a:lnTo>
                  <a:lnTo>
                    <a:pt x="2970" y="234"/>
                  </a:lnTo>
                  <a:lnTo>
                    <a:pt x="2970" y="240"/>
                  </a:lnTo>
                  <a:lnTo>
                    <a:pt x="2964" y="240"/>
                  </a:lnTo>
                  <a:lnTo>
                    <a:pt x="2970" y="240"/>
                  </a:lnTo>
                  <a:lnTo>
                    <a:pt x="2970" y="246"/>
                  </a:lnTo>
                  <a:lnTo>
                    <a:pt x="2964" y="246"/>
                  </a:lnTo>
                  <a:lnTo>
                    <a:pt x="2970" y="246"/>
                  </a:lnTo>
                  <a:lnTo>
                    <a:pt x="2964" y="246"/>
                  </a:lnTo>
                  <a:lnTo>
                    <a:pt x="2964" y="240"/>
                  </a:lnTo>
                  <a:lnTo>
                    <a:pt x="2964" y="246"/>
                  </a:lnTo>
                  <a:lnTo>
                    <a:pt x="2958" y="246"/>
                  </a:lnTo>
                  <a:lnTo>
                    <a:pt x="2964" y="246"/>
                  </a:lnTo>
                  <a:lnTo>
                    <a:pt x="2964" y="252"/>
                  </a:lnTo>
                  <a:lnTo>
                    <a:pt x="2958" y="246"/>
                  </a:lnTo>
                  <a:lnTo>
                    <a:pt x="2958" y="252"/>
                  </a:lnTo>
                  <a:lnTo>
                    <a:pt x="2952" y="252"/>
                  </a:lnTo>
                  <a:lnTo>
                    <a:pt x="2952" y="246"/>
                  </a:lnTo>
                  <a:lnTo>
                    <a:pt x="2958" y="246"/>
                  </a:lnTo>
                  <a:lnTo>
                    <a:pt x="2952" y="246"/>
                  </a:lnTo>
                  <a:lnTo>
                    <a:pt x="2952" y="240"/>
                  </a:lnTo>
                  <a:lnTo>
                    <a:pt x="2952" y="246"/>
                  </a:lnTo>
                  <a:lnTo>
                    <a:pt x="2952" y="252"/>
                  </a:lnTo>
                  <a:lnTo>
                    <a:pt x="2946" y="252"/>
                  </a:lnTo>
                  <a:lnTo>
                    <a:pt x="2946" y="258"/>
                  </a:lnTo>
                  <a:lnTo>
                    <a:pt x="2946" y="252"/>
                  </a:lnTo>
                  <a:lnTo>
                    <a:pt x="2940" y="252"/>
                  </a:lnTo>
                  <a:lnTo>
                    <a:pt x="2940" y="258"/>
                  </a:lnTo>
                  <a:lnTo>
                    <a:pt x="2940" y="252"/>
                  </a:lnTo>
                  <a:lnTo>
                    <a:pt x="2934" y="252"/>
                  </a:lnTo>
                  <a:lnTo>
                    <a:pt x="2934" y="258"/>
                  </a:lnTo>
                  <a:lnTo>
                    <a:pt x="2934" y="264"/>
                  </a:lnTo>
                  <a:lnTo>
                    <a:pt x="2940" y="264"/>
                  </a:lnTo>
                  <a:lnTo>
                    <a:pt x="2934" y="264"/>
                  </a:lnTo>
                  <a:lnTo>
                    <a:pt x="2940" y="264"/>
                  </a:lnTo>
                  <a:lnTo>
                    <a:pt x="2940" y="270"/>
                  </a:lnTo>
                  <a:lnTo>
                    <a:pt x="2940" y="264"/>
                  </a:lnTo>
                  <a:lnTo>
                    <a:pt x="2940" y="270"/>
                  </a:lnTo>
                  <a:lnTo>
                    <a:pt x="2934" y="264"/>
                  </a:lnTo>
                  <a:lnTo>
                    <a:pt x="2934" y="270"/>
                  </a:lnTo>
                  <a:lnTo>
                    <a:pt x="2934" y="276"/>
                  </a:lnTo>
                  <a:lnTo>
                    <a:pt x="2928" y="276"/>
                  </a:lnTo>
                  <a:lnTo>
                    <a:pt x="2928" y="282"/>
                  </a:lnTo>
                  <a:lnTo>
                    <a:pt x="2934" y="282"/>
                  </a:lnTo>
                  <a:lnTo>
                    <a:pt x="2934" y="288"/>
                  </a:lnTo>
                  <a:lnTo>
                    <a:pt x="2940" y="288"/>
                  </a:lnTo>
                  <a:lnTo>
                    <a:pt x="2946" y="288"/>
                  </a:lnTo>
                  <a:lnTo>
                    <a:pt x="2946" y="282"/>
                  </a:lnTo>
                  <a:lnTo>
                    <a:pt x="2946" y="288"/>
                  </a:lnTo>
                  <a:lnTo>
                    <a:pt x="2946" y="294"/>
                  </a:lnTo>
                  <a:lnTo>
                    <a:pt x="2940" y="294"/>
                  </a:lnTo>
                  <a:lnTo>
                    <a:pt x="2946" y="294"/>
                  </a:lnTo>
                  <a:lnTo>
                    <a:pt x="2940" y="294"/>
                  </a:lnTo>
                  <a:lnTo>
                    <a:pt x="2940" y="300"/>
                  </a:lnTo>
                  <a:lnTo>
                    <a:pt x="2940" y="306"/>
                  </a:lnTo>
                  <a:lnTo>
                    <a:pt x="2934" y="306"/>
                  </a:lnTo>
                  <a:lnTo>
                    <a:pt x="2934" y="312"/>
                  </a:lnTo>
                  <a:lnTo>
                    <a:pt x="2934" y="318"/>
                  </a:lnTo>
                  <a:lnTo>
                    <a:pt x="2934" y="324"/>
                  </a:lnTo>
                  <a:lnTo>
                    <a:pt x="2928" y="324"/>
                  </a:lnTo>
                  <a:lnTo>
                    <a:pt x="2922" y="330"/>
                  </a:lnTo>
                  <a:lnTo>
                    <a:pt x="2916" y="330"/>
                  </a:lnTo>
                  <a:lnTo>
                    <a:pt x="2922" y="330"/>
                  </a:lnTo>
                  <a:lnTo>
                    <a:pt x="2922" y="336"/>
                  </a:lnTo>
                  <a:lnTo>
                    <a:pt x="2916" y="336"/>
                  </a:lnTo>
                  <a:lnTo>
                    <a:pt x="2916" y="342"/>
                  </a:lnTo>
                  <a:lnTo>
                    <a:pt x="2910" y="342"/>
                  </a:lnTo>
                  <a:lnTo>
                    <a:pt x="2910" y="348"/>
                  </a:lnTo>
                  <a:lnTo>
                    <a:pt x="2904" y="348"/>
                  </a:lnTo>
                  <a:lnTo>
                    <a:pt x="2904" y="354"/>
                  </a:lnTo>
                  <a:lnTo>
                    <a:pt x="2904" y="360"/>
                  </a:lnTo>
                  <a:lnTo>
                    <a:pt x="2898" y="360"/>
                  </a:lnTo>
                  <a:lnTo>
                    <a:pt x="2898" y="366"/>
                  </a:lnTo>
                  <a:lnTo>
                    <a:pt x="2892" y="366"/>
                  </a:lnTo>
                  <a:lnTo>
                    <a:pt x="2892" y="360"/>
                  </a:lnTo>
                  <a:lnTo>
                    <a:pt x="2892" y="366"/>
                  </a:lnTo>
                  <a:lnTo>
                    <a:pt x="2892" y="360"/>
                  </a:lnTo>
                  <a:lnTo>
                    <a:pt x="2892" y="366"/>
                  </a:lnTo>
                  <a:lnTo>
                    <a:pt x="2886" y="366"/>
                  </a:lnTo>
                  <a:lnTo>
                    <a:pt x="2886" y="360"/>
                  </a:lnTo>
                  <a:lnTo>
                    <a:pt x="2886" y="366"/>
                  </a:lnTo>
                  <a:lnTo>
                    <a:pt x="2880" y="366"/>
                  </a:lnTo>
                  <a:lnTo>
                    <a:pt x="2874" y="366"/>
                  </a:lnTo>
                  <a:lnTo>
                    <a:pt x="2880" y="366"/>
                  </a:lnTo>
                  <a:lnTo>
                    <a:pt x="2874" y="366"/>
                  </a:lnTo>
                  <a:lnTo>
                    <a:pt x="2874" y="372"/>
                  </a:lnTo>
                  <a:lnTo>
                    <a:pt x="2868" y="372"/>
                  </a:lnTo>
                  <a:lnTo>
                    <a:pt x="2868" y="366"/>
                  </a:lnTo>
                  <a:lnTo>
                    <a:pt x="2862" y="366"/>
                  </a:lnTo>
                  <a:lnTo>
                    <a:pt x="2862" y="372"/>
                  </a:lnTo>
                  <a:lnTo>
                    <a:pt x="2868" y="372"/>
                  </a:lnTo>
                  <a:lnTo>
                    <a:pt x="2874" y="372"/>
                  </a:lnTo>
                  <a:lnTo>
                    <a:pt x="2874" y="366"/>
                  </a:lnTo>
                  <a:lnTo>
                    <a:pt x="2880" y="366"/>
                  </a:lnTo>
                  <a:lnTo>
                    <a:pt x="2886" y="366"/>
                  </a:lnTo>
                  <a:lnTo>
                    <a:pt x="2886" y="360"/>
                  </a:lnTo>
                  <a:lnTo>
                    <a:pt x="2886" y="366"/>
                  </a:lnTo>
                  <a:lnTo>
                    <a:pt x="2892" y="366"/>
                  </a:lnTo>
                  <a:lnTo>
                    <a:pt x="2892" y="360"/>
                  </a:lnTo>
                  <a:lnTo>
                    <a:pt x="2892" y="366"/>
                  </a:lnTo>
                  <a:lnTo>
                    <a:pt x="2892" y="372"/>
                  </a:lnTo>
                  <a:lnTo>
                    <a:pt x="2898" y="372"/>
                  </a:lnTo>
                  <a:lnTo>
                    <a:pt x="2898" y="378"/>
                  </a:lnTo>
                  <a:lnTo>
                    <a:pt x="2892" y="378"/>
                  </a:lnTo>
                  <a:lnTo>
                    <a:pt x="2898" y="378"/>
                  </a:lnTo>
                  <a:lnTo>
                    <a:pt x="2898" y="384"/>
                  </a:lnTo>
                  <a:lnTo>
                    <a:pt x="2904" y="384"/>
                  </a:lnTo>
                  <a:lnTo>
                    <a:pt x="2910" y="390"/>
                  </a:lnTo>
                  <a:lnTo>
                    <a:pt x="2916" y="390"/>
                  </a:lnTo>
                  <a:lnTo>
                    <a:pt x="2910" y="396"/>
                  </a:lnTo>
                  <a:lnTo>
                    <a:pt x="2916" y="396"/>
                  </a:lnTo>
                  <a:lnTo>
                    <a:pt x="2916" y="390"/>
                  </a:lnTo>
                  <a:lnTo>
                    <a:pt x="2916" y="396"/>
                  </a:lnTo>
                  <a:lnTo>
                    <a:pt x="2910" y="396"/>
                  </a:lnTo>
                  <a:lnTo>
                    <a:pt x="2910" y="402"/>
                  </a:lnTo>
                  <a:lnTo>
                    <a:pt x="2904" y="402"/>
                  </a:lnTo>
                  <a:lnTo>
                    <a:pt x="2898" y="402"/>
                  </a:lnTo>
                  <a:lnTo>
                    <a:pt x="2898" y="408"/>
                  </a:lnTo>
                  <a:lnTo>
                    <a:pt x="2892" y="408"/>
                  </a:lnTo>
                  <a:lnTo>
                    <a:pt x="2898" y="408"/>
                  </a:lnTo>
                  <a:lnTo>
                    <a:pt x="2904" y="408"/>
                  </a:lnTo>
                  <a:lnTo>
                    <a:pt x="2904" y="402"/>
                  </a:lnTo>
                  <a:lnTo>
                    <a:pt x="2910" y="402"/>
                  </a:lnTo>
                  <a:lnTo>
                    <a:pt x="2916" y="402"/>
                  </a:lnTo>
                  <a:lnTo>
                    <a:pt x="2916" y="396"/>
                  </a:lnTo>
                  <a:lnTo>
                    <a:pt x="2922" y="396"/>
                  </a:lnTo>
                  <a:lnTo>
                    <a:pt x="2928" y="396"/>
                  </a:lnTo>
                  <a:lnTo>
                    <a:pt x="2928" y="402"/>
                  </a:lnTo>
                  <a:lnTo>
                    <a:pt x="2934" y="402"/>
                  </a:lnTo>
                  <a:lnTo>
                    <a:pt x="2934" y="408"/>
                  </a:lnTo>
                  <a:lnTo>
                    <a:pt x="2940" y="408"/>
                  </a:lnTo>
                  <a:lnTo>
                    <a:pt x="2934" y="408"/>
                  </a:lnTo>
                  <a:lnTo>
                    <a:pt x="2940" y="408"/>
                  </a:lnTo>
                  <a:lnTo>
                    <a:pt x="2946" y="408"/>
                  </a:lnTo>
                  <a:lnTo>
                    <a:pt x="2946" y="414"/>
                  </a:lnTo>
                  <a:lnTo>
                    <a:pt x="2952" y="414"/>
                  </a:lnTo>
                  <a:lnTo>
                    <a:pt x="2952" y="420"/>
                  </a:lnTo>
                  <a:lnTo>
                    <a:pt x="2952" y="414"/>
                  </a:lnTo>
                  <a:lnTo>
                    <a:pt x="2958" y="414"/>
                  </a:lnTo>
                  <a:lnTo>
                    <a:pt x="2958" y="420"/>
                  </a:lnTo>
                  <a:lnTo>
                    <a:pt x="2958" y="426"/>
                  </a:lnTo>
                  <a:lnTo>
                    <a:pt x="2964" y="426"/>
                  </a:lnTo>
                  <a:lnTo>
                    <a:pt x="2964" y="432"/>
                  </a:lnTo>
                  <a:lnTo>
                    <a:pt x="2970" y="432"/>
                  </a:lnTo>
                  <a:lnTo>
                    <a:pt x="2976" y="438"/>
                  </a:lnTo>
                  <a:lnTo>
                    <a:pt x="2982" y="438"/>
                  </a:lnTo>
                  <a:lnTo>
                    <a:pt x="2982" y="444"/>
                  </a:lnTo>
                  <a:lnTo>
                    <a:pt x="2982" y="438"/>
                  </a:lnTo>
                  <a:lnTo>
                    <a:pt x="2988" y="438"/>
                  </a:lnTo>
                  <a:lnTo>
                    <a:pt x="2988" y="432"/>
                  </a:lnTo>
                  <a:lnTo>
                    <a:pt x="2988" y="438"/>
                  </a:lnTo>
                  <a:lnTo>
                    <a:pt x="2994" y="438"/>
                  </a:lnTo>
                  <a:lnTo>
                    <a:pt x="2988" y="438"/>
                  </a:lnTo>
                  <a:lnTo>
                    <a:pt x="2988" y="444"/>
                  </a:lnTo>
                  <a:lnTo>
                    <a:pt x="2982" y="444"/>
                  </a:lnTo>
                  <a:lnTo>
                    <a:pt x="2988" y="444"/>
                  </a:lnTo>
                  <a:lnTo>
                    <a:pt x="2982" y="444"/>
                  </a:lnTo>
                  <a:lnTo>
                    <a:pt x="2988" y="444"/>
                  </a:lnTo>
                  <a:lnTo>
                    <a:pt x="2988" y="450"/>
                  </a:lnTo>
                  <a:lnTo>
                    <a:pt x="2982" y="450"/>
                  </a:lnTo>
                  <a:lnTo>
                    <a:pt x="2982" y="456"/>
                  </a:lnTo>
                  <a:lnTo>
                    <a:pt x="2976" y="456"/>
                  </a:lnTo>
                  <a:lnTo>
                    <a:pt x="2976" y="450"/>
                  </a:lnTo>
                  <a:lnTo>
                    <a:pt x="2976" y="456"/>
                  </a:lnTo>
                  <a:lnTo>
                    <a:pt x="2970" y="456"/>
                  </a:lnTo>
                  <a:lnTo>
                    <a:pt x="2970" y="450"/>
                  </a:lnTo>
                  <a:lnTo>
                    <a:pt x="2970" y="456"/>
                  </a:lnTo>
                  <a:lnTo>
                    <a:pt x="2970" y="450"/>
                  </a:lnTo>
                  <a:lnTo>
                    <a:pt x="2970" y="456"/>
                  </a:lnTo>
                  <a:lnTo>
                    <a:pt x="2976" y="456"/>
                  </a:lnTo>
                  <a:lnTo>
                    <a:pt x="2976" y="450"/>
                  </a:lnTo>
                  <a:lnTo>
                    <a:pt x="2976" y="456"/>
                  </a:lnTo>
                  <a:lnTo>
                    <a:pt x="2982" y="456"/>
                  </a:lnTo>
                  <a:lnTo>
                    <a:pt x="2982" y="450"/>
                  </a:lnTo>
                  <a:lnTo>
                    <a:pt x="2988" y="450"/>
                  </a:lnTo>
                  <a:lnTo>
                    <a:pt x="2988" y="444"/>
                  </a:lnTo>
                  <a:lnTo>
                    <a:pt x="2988" y="450"/>
                  </a:lnTo>
                  <a:lnTo>
                    <a:pt x="2988" y="456"/>
                  </a:lnTo>
                  <a:lnTo>
                    <a:pt x="2994" y="456"/>
                  </a:lnTo>
                  <a:lnTo>
                    <a:pt x="2994" y="450"/>
                  </a:lnTo>
                  <a:lnTo>
                    <a:pt x="2994" y="456"/>
                  </a:lnTo>
                  <a:lnTo>
                    <a:pt x="2994" y="450"/>
                  </a:lnTo>
                  <a:lnTo>
                    <a:pt x="3000" y="450"/>
                  </a:lnTo>
                  <a:lnTo>
                    <a:pt x="3000" y="456"/>
                  </a:lnTo>
                  <a:lnTo>
                    <a:pt x="3000" y="450"/>
                  </a:lnTo>
                  <a:lnTo>
                    <a:pt x="3000" y="456"/>
                  </a:lnTo>
                  <a:lnTo>
                    <a:pt x="3006" y="456"/>
                  </a:lnTo>
                  <a:lnTo>
                    <a:pt x="3006" y="450"/>
                  </a:lnTo>
                  <a:lnTo>
                    <a:pt x="3012" y="450"/>
                  </a:lnTo>
                  <a:lnTo>
                    <a:pt x="3012" y="456"/>
                  </a:lnTo>
                  <a:lnTo>
                    <a:pt x="3012" y="450"/>
                  </a:lnTo>
                  <a:lnTo>
                    <a:pt x="3018" y="456"/>
                  </a:lnTo>
                  <a:lnTo>
                    <a:pt x="3024" y="456"/>
                  </a:lnTo>
                  <a:lnTo>
                    <a:pt x="3024" y="462"/>
                  </a:lnTo>
                  <a:lnTo>
                    <a:pt x="3030" y="462"/>
                  </a:lnTo>
                  <a:lnTo>
                    <a:pt x="3036" y="468"/>
                  </a:lnTo>
                  <a:lnTo>
                    <a:pt x="3042" y="468"/>
                  </a:lnTo>
                  <a:lnTo>
                    <a:pt x="3042" y="474"/>
                  </a:lnTo>
                  <a:lnTo>
                    <a:pt x="3048" y="474"/>
                  </a:lnTo>
                  <a:lnTo>
                    <a:pt x="3042" y="474"/>
                  </a:lnTo>
                  <a:lnTo>
                    <a:pt x="3042" y="468"/>
                  </a:lnTo>
                  <a:lnTo>
                    <a:pt x="3042" y="474"/>
                  </a:lnTo>
                  <a:lnTo>
                    <a:pt x="3042" y="468"/>
                  </a:lnTo>
                  <a:lnTo>
                    <a:pt x="3048" y="468"/>
                  </a:lnTo>
                  <a:lnTo>
                    <a:pt x="3048" y="474"/>
                  </a:lnTo>
                  <a:lnTo>
                    <a:pt x="3042" y="474"/>
                  </a:lnTo>
                  <a:lnTo>
                    <a:pt x="3048" y="474"/>
                  </a:lnTo>
                  <a:lnTo>
                    <a:pt x="3054" y="474"/>
                  </a:lnTo>
                  <a:lnTo>
                    <a:pt x="3054" y="480"/>
                  </a:lnTo>
                  <a:lnTo>
                    <a:pt x="3054" y="474"/>
                  </a:lnTo>
                  <a:lnTo>
                    <a:pt x="3054" y="480"/>
                  </a:lnTo>
                  <a:lnTo>
                    <a:pt x="3054" y="474"/>
                  </a:lnTo>
                  <a:lnTo>
                    <a:pt x="3060" y="474"/>
                  </a:lnTo>
                  <a:lnTo>
                    <a:pt x="3060" y="480"/>
                  </a:lnTo>
                  <a:lnTo>
                    <a:pt x="3060" y="474"/>
                  </a:lnTo>
                  <a:lnTo>
                    <a:pt x="3060" y="480"/>
                  </a:lnTo>
                  <a:lnTo>
                    <a:pt x="3066" y="480"/>
                  </a:lnTo>
                  <a:lnTo>
                    <a:pt x="3072" y="480"/>
                  </a:lnTo>
                  <a:lnTo>
                    <a:pt x="3072" y="486"/>
                  </a:lnTo>
                  <a:lnTo>
                    <a:pt x="3066" y="486"/>
                  </a:lnTo>
                  <a:lnTo>
                    <a:pt x="3072" y="486"/>
                  </a:lnTo>
                  <a:lnTo>
                    <a:pt x="3072" y="492"/>
                  </a:lnTo>
                  <a:lnTo>
                    <a:pt x="3078" y="492"/>
                  </a:lnTo>
                  <a:lnTo>
                    <a:pt x="3078" y="498"/>
                  </a:lnTo>
                  <a:lnTo>
                    <a:pt x="3084" y="498"/>
                  </a:lnTo>
                  <a:lnTo>
                    <a:pt x="3084" y="504"/>
                  </a:lnTo>
                  <a:close/>
                  <a:moveTo>
                    <a:pt x="3474" y="2448"/>
                  </a:moveTo>
                  <a:lnTo>
                    <a:pt x="3474" y="2454"/>
                  </a:lnTo>
                  <a:lnTo>
                    <a:pt x="3475" y="2454"/>
                  </a:lnTo>
                  <a:lnTo>
                    <a:pt x="3474" y="2448"/>
                  </a:lnTo>
                  <a:close/>
                  <a:moveTo>
                    <a:pt x="3378" y="2250"/>
                  </a:moveTo>
                  <a:lnTo>
                    <a:pt x="3384" y="2250"/>
                  </a:lnTo>
                  <a:lnTo>
                    <a:pt x="3378" y="2250"/>
                  </a:lnTo>
                  <a:close/>
                  <a:moveTo>
                    <a:pt x="3576" y="2502"/>
                  </a:moveTo>
                  <a:lnTo>
                    <a:pt x="3576" y="2508"/>
                  </a:lnTo>
                  <a:lnTo>
                    <a:pt x="3577" y="2508"/>
                  </a:lnTo>
                  <a:lnTo>
                    <a:pt x="3576" y="2502"/>
                  </a:lnTo>
                  <a:close/>
                  <a:moveTo>
                    <a:pt x="3678" y="2298"/>
                  </a:moveTo>
                  <a:lnTo>
                    <a:pt x="3684" y="2298"/>
                  </a:lnTo>
                  <a:lnTo>
                    <a:pt x="3678" y="2298"/>
                  </a:lnTo>
                  <a:close/>
                  <a:moveTo>
                    <a:pt x="3690" y="2310"/>
                  </a:moveTo>
                  <a:lnTo>
                    <a:pt x="3696" y="2310"/>
                  </a:lnTo>
                  <a:lnTo>
                    <a:pt x="3696" y="2316"/>
                  </a:lnTo>
                  <a:lnTo>
                    <a:pt x="3690" y="2316"/>
                  </a:lnTo>
                  <a:lnTo>
                    <a:pt x="3690" y="2310"/>
                  </a:lnTo>
                  <a:close/>
                  <a:moveTo>
                    <a:pt x="3696" y="2310"/>
                  </a:moveTo>
                  <a:lnTo>
                    <a:pt x="3696" y="2316"/>
                  </a:lnTo>
                  <a:lnTo>
                    <a:pt x="3697" y="2316"/>
                  </a:lnTo>
                  <a:lnTo>
                    <a:pt x="3696" y="2310"/>
                  </a:lnTo>
                  <a:close/>
                  <a:moveTo>
                    <a:pt x="3678" y="2328"/>
                  </a:moveTo>
                  <a:lnTo>
                    <a:pt x="3672" y="2328"/>
                  </a:lnTo>
                  <a:lnTo>
                    <a:pt x="3673" y="2328"/>
                  </a:lnTo>
                  <a:lnTo>
                    <a:pt x="3678" y="2328"/>
                  </a:lnTo>
                  <a:close/>
                  <a:moveTo>
                    <a:pt x="3672" y="2298"/>
                  </a:moveTo>
                  <a:lnTo>
                    <a:pt x="3672" y="2304"/>
                  </a:lnTo>
                  <a:lnTo>
                    <a:pt x="3673" y="2304"/>
                  </a:lnTo>
                  <a:lnTo>
                    <a:pt x="3672" y="2298"/>
                  </a:lnTo>
                  <a:close/>
                  <a:moveTo>
                    <a:pt x="3672" y="2310"/>
                  </a:moveTo>
                  <a:lnTo>
                    <a:pt x="3678" y="2310"/>
                  </a:lnTo>
                  <a:lnTo>
                    <a:pt x="3672" y="2310"/>
                  </a:lnTo>
                  <a:close/>
                  <a:moveTo>
                    <a:pt x="3576" y="2508"/>
                  </a:moveTo>
                  <a:lnTo>
                    <a:pt x="3570" y="2508"/>
                  </a:lnTo>
                  <a:lnTo>
                    <a:pt x="3571" y="2508"/>
                  </a:lnTo>
                  <a:lnTo>
                    <a:pt x="3576" y="2508"/>
                  </a:lnTo>
                  <a:close/>
                  <a:moveTo>
                    <a:pt x="3672" y="2250"/>
                  </a:moveTo>
                  <a:lnTo>
                    <a:pt x="3678" y="2250"/>
                  </a:lnTo>
                  <a:lnTo>
                    <a:pt x="3672" y="2250"/>
                  </a:lnTo>
                  <a:close/>
                  <a:moveTo>
                    <a:pt x="3450" y="2316"/>
                  </a:moveTo>
                  <a:lnTo>
                    <a:pt x="3450" y="2322"/>
                  </a:lnTo>
                  <a:lnTo>
                    <a:pt x="3451" y="2322"/>
                  </a:lnTo>
                  <a:lnTo>
                    <a:pt x="3450" y="2316"/>
                  </a:lnTo>
                  <a:close/>
                  <a:moveTo>
                    <a:pt x="3678" y="2244"/>
                  </a:moveTo>
                  <a:lnTo>
                    <a:pt x="3684" y="2244"/>
                  </a:lnTo>
                  <a:lnTo>
                    <a:pt x="3678" y="2250"/>
                  </a:lnTo>
                  <a:lnTo>
                    <a:pt x="3678" y="2244"/>
                  </a:lnTo>
                  <a:close/>
                  <a:moveTo>
                    <a:pt x="3696" y="2292"/>
                  </a:moveTo>
                  <a:lnTo>
                    <a:pt x="3696" y="2298"/>
                  </a:lnTo>
                  <a:lnTo>
                    <a:pt x="3697" y="2298"/>
                  </a:lnTo>
                  <a:lnTo>
                    <a:pt x="3696" y="2292"/>
                  </a:lnTo>
                  <a:close/>
                  <a:moveTo>
                    <a:pt x="3660" y="2298"/>
                  </a:moveTo>
                  <a:lnTo>
                    <a:pt x="3666" y="2298"/>
                  </a:lnTo>
                  <a:lnTo>
                    <a:pt x="3660" y="2298"/>
                  </a:lnTo>
                  <a:close/>
                  <a:moveTo>
                    <a:pt x="3456" y="2328"/>
                  </a:moveTo>
                  <a:lnTo>
                    <a:pt x="3462" y="2328"/>
                  </a:lnTo>
                  <a:lnTo>
                    <a:pt x="3462" y="2334"/>
                  </a:lnTo>
                  <a:lnTo>
                    <a:pt x="3456" y="2334"/>
                  </a:lnTo>
                  <a:lnTo>
                    <a:pt x="3456" y="2328"/>
                  </a:lnTo>
                  <a:close/>
                  <a:moveTo>
                    <a:pt x="3630" y="2232"/>
                  </a:moveTo>
                  <a:lnTo>
                    <a:pt x="3636" y="2232"/>
                  </a:lnTo>
                  <a:lnTo>
                    <a:pt x="3636" y="2238"/>
                  </a:lnTo>
                  <a:lnTo>
                    <a:pt x="3630" y="2238"/>
                  </a:lnTo>
                  <a:lnTo>
                    <a:pt x="3630" y="2232"/>
                  </a:lnTo>
                  <a:close/>
                  <a:moveTo>
                    <a:pt x="3654" y="2274"/>
                  </a:moveTo>
                  <a:lnTo>
                    <a:pt x="3660" y="2274"/>
                  </a:lnTo>
                  <a:lnTo>
                    <a:pt x="3660" y="2280"/>
                  </a:lnTo>
                  <a:lnTo>
                    <a:pt x="3654" y="2280"/>
                  </a:lnTo>
                  <a:lnTo>
                    <a:pt x="3654" y="2274"/>
                  </a:lnTo>
                  <a:close/>
                  <a:moveTo>
                    <a:pt x="3672" y="2448"/>
                  </a:moveTo>
                  <a:lnTo>
                    <a:pt x="3678" y="2448"/>
                  </a:lnTo>
                  <a:lnTo>
                    <a:pt x="3666" y="2448"/>
                  </a:lnTo>
                  <a:lnTo>
                    <a:pt x="3672" y="2448"/>
                  </a:lnTo>
                  <a:close/>
                  <a:moveTo>
                    <a:pt x="3444" y="2304"/>
                  </a:moveTo>
                  <a:lnTo>
                    <a:pt x="3456" y="2304"/>
                  </a:lnTo>
                  <a:lnTo>
                    <a:pt x="3456" y="2310"/>
                  </a:lnTo>
                  <a:lnTo>
                    <a:pt x="3444" y="2310"/>
                  </a:lnTo>
                  <a:lnTo>
                    <a:pt x="3444" y="2304"/>
                  </a:lnTo>
                  <a:close/>
                  <a:moveTo>
                    <a:pt x="3678" y="2316"/>
                  </a:moveTo>
                  <a:lnTo>
                    <a:pt x="3678" y="2310"/>
                  </a:lnTo>
                  <a:lnTo>
                    <a:pt x="3684" y="2310"/>
                  </a:lnTo>
                  <a:lnTo>
                    <a:pt x="3690" y="2310"/>
                  </a:lnTo>
                  <a:lnTo>
                    <a:pt x="3690" y="2316"/>
                  </a:lnTo>
                  <a:lnTo>
                    <a:pt x="3684" y="2316"/>
                  </a:lnTo>
                  <a:lnTo>
                    <a:pt x="3678" y="2316"/>
                  </a:lnTo>
                  <a:close/>
                  <a:moveTo>
                    <a:pt x="3438" y="2310"/>
                  </a:moveTo>
                  <a:lnTo>
                    <a:pt x="3444" y="2304"/>
                  </a:lnTo>
                  <a:lnTo>
                    <a:pt x="3444" y="2310"/>
                  </a:lnTo>
                  <a:lnTo>
                    <a:pt x="3438" y="2310"/>
                  </a:lnTo>
                  <a:lnTo>
                    <a:pt x="3438" y="2316"/>
                  </a:lnTo>
                  <a:lnTo>
                    <a:pt x="3438" y="2322"/>
                  </a:lnTo>
                  <a:lnTo>
                    <a:pt x="3438" y="2316"/>
                  </a:lnTo>
                  <a:lnTo>
                    <a:pt x="3438" y="2310"/>
                  </a:lnTo>
                  <a:close/>
                  <a:moveTo>
                    <a:pt x="3444" y="2328"/>
                  </a:moveTo>
                  <a:lnTo>
                    <a:pt x="3444" y="2322"/>
                  </a:lnTo>
                  <a:lnTo>
                    <a:pt x="3450" y="2322"/>
                  </a:lnTo>
                  <a:lnTo>
                    <a:pt x="3456" y="2322"/>
                  </a:lnTo>
                  <a:lnTo>
                    <a:pt x="3456" y="2328"/>
                  </a:lnTo>
                  <a:lnTo>
                    <a:pt x="3456" y="2322"/>
                  </a:lnTo>
                  <a:lnTo>
                    <a:pt x="3456" y="2328"/>
                  </a:lnTo>
                  <a:lnTo>
                    <a:pt x="3462" y="2328"/>
                  </a:lnTo>
                  <a:lnTo>
                    <a:pt x="3456" y="2328"/>
                  </a:lnTo>
                  <a:lnTo>
                    <a:pt x="3450" y="2328"/>
                  </a:lnTo>
                  <a:lnTo>
                    <a:pt x="3444" y="2328"/>
                  </a:lnTo>
                  <a:close/>
                  <a:moveTo>
                    <a:pt x="3654" y="2472"/>
                  </a:moveTo>
                  <a:lnTo>
                    <a:pt x="3648" y="2478"/>
                  </a:lnTo>
                  <a:lnTo>
                    <a:pt x="3648" y="2472"/>
                  </a:lnTo>
                  <a:lnTo>
                    <a:pt x="3654" y="2472"/>
                  </a:lnTo>
                  <a:lnTo>
                    <a:pt x="3648" y="2472"/>
                  </a:lnTo>
                  <a:lnTo>
                    <a:pt x="3654" y="2472"/>
                  </a:lnTo>
                  <a:lnTo>
                    <a:pt x="3654" y="2466"/>
                  </a:lnTo>
                  <a:lnTo>
                    <a:pt x="3660" y="2466"/>
                  </a:lnTo>
                  <a:lnTo>
                    <a:pt x="3660" y="2472"/>
                  </a:lnTo>
                  <a:lnTo>
                    <a:pt x="3660" y="2478"/>
                  </a:lnTo>
                  <a:lnTo>
                    <a:pt x="3660" y="2472"/>
                  </a:lnTo>
                  <a:lnTo>
                    <a:pt x="3660" y="2478"/>
                  </a:lnTo>
                  <a:lnTo>
                    <a:pt x="3654" y="2478"/>
                  </a:lnTo>
                  <a:lnTo>
                    <a:pt x="3654" y="2472"/>
                  </a:lnTo>
                  <a:lnTo>
                    <a:pt x="3654" y="2478"/>
                  </a:lnTo>
                  <a:lnTo>
                    <a:pt x="3648" y="2478"/>
                  </a:lnTo>
                  <a:lnTo>
                    <a:pt x="3654" y="2478"/>
                  </a:lnTo>
                  <a:lnTo>
                    <a:pt x="3654" y="2472"/>
                  </a:lnTo>
                  <a:close/>
                  <a:moveTo>
                    <a:pt x="3672" y="2304"/>
                  </a:moveTo>
                  <a:lnTo>
                    <a:pt x="3678" y="2298"/>
                  </a:lnTo>
                  <a:lnTo>
                    <a:pt x="3684" y="2298"/>
                  </a:lnTo>
                  <a:lnTo>
                    <a:pt x="3690" y="2298"/>
                  </a:lnTo>
                  <a:lnTo>
                    <a:pt x="3696" y="2298"/>
                  </a:lnTo>
                  <a:lnTo>
                    <a:pt x="3702" y="2298"/>
                  </a:lnTo>
                  <a:lnTo>
                    <a:pt x="3702" y="2304"/>
                  </a:lnTo>
                  <a:lnTo>
                    <a:pt x="3708" y="2304"/>
                  </a:lnTo>
                  <a:lnTo>
                    <a:pt x="3708" y="2310"/>
                  </a:lnTo>
                  <a:lnTo>
                    <a:pt x="3708" y="2304"/>
                  </a:lnTo>
                  <a:lnTo>
                    <a:pt x="3702" y="2304"/>
                  </a:lnTo>
                  <a:lnTo>
                    <a:pt x="3702" y="2310"/>
                  </a:lnTo>
                  <a:lnTo>
                    <a:pt x="3696" y="2310"/>
                  </a:lnTo>
                  <a:lnTo>
                    <a:pt x="3696" y="2304"/>
                  </a:lnTo>
                  <a:lnTo>
                    <a:pt x="3690" y="2304"/>
                  </a:lnTo>
                  <a:lnTo>
                    <a:pt x="3690" y="2310"/>
                  </a:lnTo>
                  <a:lnTo>
                    <a:pt x="3684" y="2310"/>
                  </a:lnTo>
                  <a:lnTo>
                    <a:pt x="3690" y="2310"/>
                  </a:lnTo>
                  <a:lnTo>
                    <a:pt x="3684" y="2310"/>
                  </a:lnTo>
                  <a:lnTo>
                    <a:pt x="3684" y="2304"/>
                  </a:lnTo>
                  <a:lnTo>
                    <a:pt x="3684" y="2310"/>
                  </a:lnTo>
                  <a:lnTo>
                    <a:pt x="3678" y="2304"/>
                  </a:lnTo>
                  <a:lnTo>
                    <a:pt x="3678" y="2310"/>
                  </a:lnTo>
                  <a:lnTo>
                    <a:pt x="3672" y="2310"/>
                  </a:lnTo>
                  <a:lnTo>
                    <a:pt x="3672" y="2304"/>
                  </a:lnTo>
                  <a:close/>
                  <a:moveTo>
                    <a:pt x="3576" y="2532"/>
                  </a:moveTo>
                  <a:lnTo>
                    <a:pt x="3582" y="2532"/>
                  </a:lnTo>
                  <a:lnTo>
                    <a:pt x="3582" y="2538"/>
                  </a:lnTo>
                  <a:lnTo>
                    <a:pt x="3582" y="2532"/>
                  </a:lnTo>
                  <a:lnTo>
                    <a:pt x="3582" y="2526"/>
                  </a:lnTo>
                  <a:lnTo>
                    <a:pt x="3588" y="2526"/>
                  </a:lnTo>
                  <a:lnTo>
                    <a:pt x="3588" y="2520"/>
                  </a:lnTo>
                  <a:lnTo>
                    <a:pt x="3594" y="2520"/>
                  </a:lnTo>
                  <a:lnTo>
                    <a:pt x="3594" y="2514"/>
                  </a:lnTo>
                  <a:lnTo>
                    <a:pt x="3600" y="2514"/>
                  </a:lnTo>
                  <a:lnTo>
                    <a:pt x="3594" y="2514"/>
                  </a:lnTo>
                  <a:lnTo>
                    <a:pt x="3594" y="2508"/>
                  </a:lnTo>
                  <a:lnTo>
                    <a:pt x="3594" y="2514"/>
                  </a:lnTo>
                  <a:lnTo>
                    <a:pt x="3594" y="2508"/>
                  </a:lnTo>
                  <a:lnTo>
                    <a:pt x="3600" y="2508"/>
                  </a:lnTo>
                  <a:lnTo>
                    <a:pt x="3594" y="2508"/>
                  </a:lnTo>
                  <a:lnTo>
                    <a:pt x="3600" y="2508"/>
                  </a:lnTo>
                  <a:lnTo>
                    <a:pt x="3600" y="2502"/>
                  </a:lnTo>
                  <a:lnTo>
                    <a:pt x="3600" y="2508"/>
                  </a:lnTo>
                  <a:lnTo>
                    <a:pt x="3600" y="2514"/>
                  </a:lnTo>
                  <a:lnTo>
                    <a:pt x="3600" y="2520"/>
                  </a:lnTo>
                  <a:lnTo>
                    <a:pt x="3594" y="2520"/>
                  </a:lnTo>
                  <a:lnTo>
                    <a:pt x="3594" y="2526"/>
                  </a:lnTo>
                  <a:lnTo>
                    <a:pt x="3594" y="2532"/>
                  </a:lnTo>
                  <a:lnTo>
                    <a:pt x="3594" y="2538"/>
                  </a:lnTo>
                  <a:lnTo>
                    <a:pt x="3588" y="2538"/>
                  </a:lnTo>
                  <a:lnTo>
                    <a:pt x="3588" y="2532"/>
                  </a:lnTo>
                  <a:lnTo>
                    <a:pt x="3588" y="2538"/>
                  </a:lnTo>
                  <a:lnTo>
                    <a:pt x="3588" y="2532"/>
                  </a:lnTo>
                  <a:lnTo>
                    <a:pt x="3582" y="2532"/>
                  </a:lnTo>
                  <a:lnTo>
                    <a:pt x="3588" y="2532"/>
                  </a:lnTo>
                  <a:lnTo>
                    <a:pt x="3582" y="2532"/>
                  </a:lnTo>
                  <a:lnTo>
                    <a:pt x="3582" y="2538"/>
                  </a:lnTo>
                  <a:lnTo>
                    <a:pt x="3576" y="2538"/>
                  </a:lnTo>
                  <a:lnTo>
                    <a:pt x="3576" y="2532"/>
                  </a:lnTo>
                  <a:close/>
                  <a:moveTo>
                    <a:pt x="3378" y="2268"/>
                  </a:moveTo>
                  <a:lnTo>
                    <a:pt x="3378" y="2262"/>
                  </a:lnTo>
                  <a:lnTo>
                    <a:pt x="3384" y="2262"/>
                  </a:lnTo>
                  <a:lnTo>
                    <a:pt x="3378" y="2262"/>
                  </a:lnTo>
                  <a:lnTo>
                    <a:pt x="3384" y="2262"/>
                  </a:lnTo>
                  <a:lnTo>
                    <a:pt x="3384" y="2256"/>
                  </a:lnTo>
                  <a:lnTo>
                    <a:pt x="3384" y="2250"/>
                  </a:lnTo>
                  <a:lnTo>
                    <a:pt x="3390" y="2250"/>
                  </a:lnTo>
                  <a:lnTo>
                    <a:pt x="3390" y="2244"/>
                  </a:lnTo>
                  <a:lnTo>
                    <a:pt x="3396" y="2244"/>
                  </a:lnTo>
                  <a:lnTo>
                    <a:pt x="3396" y="2250"/>
                  </a:lnTo>
                  <a:lnTo>
                    <a:pt x="3402" y="2250"/>
                  </a:lnTo>
                  <a:lnTo>
                    <a:pt x="3402" y="2256"/>
                  </a:lnTo>
                  <a:lnTo>
                    <a:pt x="3402" y="2262"/>
                  </a:lnTo>
                  <a:lnTo>
                    <a:pt x="3396" y="2262"/>
                  </a:lnTo>
                  <a:lnTo>
                    <a:pt x="3396" y="2268"/>
                  </a:lnTo>
                  <a:lnTo>
                    <a:pt x="3402" y="2268"/>
                  </a:lnTo>
                  <a:lnTo>
                    <a:pt x="3402" y="2274"/>
                  </a:lnTo>
                  <a:lnTo>
                    <a:pt x="3396" y="2274"/>
                  </a:lnTo>
                  <a:lnTo>
                    <a:pt x="3402" y="2274"/>
                  </a:lnTo>
                  <a:lnTo>
                    <a:pt x="3396" y="2274"/>
                  </a:lnTo>
                  <a:lnTo>
                    <a:pt x="3396" y="2280"/>
                  </a:lnTo>
                  <a:lnTo>
                    <a:pt x="3396" y="2274"/>
                  </a:lnTo>
                  <a:lnTo>
                    <a:pt x="3396" y="2280"/>
                  </a:lnTo>
                  <a:lnTo>
                    <a:pt x="3390" y="2280"/>
                  </a:lnTo>
                  <a:lnTo>
                    <a:pt x="3384" y="2280"/>
                  </a:lnTo>
                  <a:lnTo>
                    <a:pt x="3384" y="2286"/>
                  </a:lnTo>
                  <a:lnTo>
                    <a:pt x="3384" y="2280"/>
                  </a:lnTo>
                  <a:lnTo>
                    <a:pt x="3378" y="2280"/>
                  </a:lnTo>
                  <a:lnTo>
                    <a:pt x="3384" y="2280"/>
                  </a:lnTo>
                  <a:lnTo>
                    <a:pt x="3378" y="2274"/>
                  </a:lnTo>
                  <a:lnTo>
                    <a:pt x="3384" y="2274"/>
                  </a:lnTo>
                  <a:lnTo>
                    <a:pt x="3384" y="2268"/>
                  </a:lnTo>
                  <a:lnTo>
                    <a:pt x="3378" y="2268"/>
                  </a:lnTo>
                  <a:close/>
                  <a:moveTo>
                    <a:pt x="3660" y="2262"/>
                  </a:moveTo>
                  <a:lnTo>
                    <a:pt x="3666" y="2262"/>
                  </a:lnTo>
                  <a:lnTo>
                    <a:pt x="3666" y="2256"/>
                  </a:lnTo>
                  <a:lnTo>
                    <a:pt x="3672" y="2256"/>
                  </a:lnTo>
                  <a:lnTo>
                    <a:pt x="3666" y="2256"/>
                  </a:lnTo>
                  <a:lnTo>
                    <a:pt x="3672" y="2256"/>
                  </a:lnTo>
                  <a:lnTo>
                    <a:pt x="3672" y="2250"/>
                  </a:lnTo>
                  <a:lnTo>
                    <a:pt x="3678" y="2250"/>
                  </a:lnTo>
                  <a:lnTo>
                    <a:pt x="3678" y="2256"/>
                  </a:lnTo>
                  <a:lnTo>
                    <a:pt x="3684" y="2262"/>
                  </a:lnTo>
                  <a:lnTo>
                    <a:pt x="3684" y="2268"/>
                  </a:lnTo>
                  <a:lnTo>
                    <a:pt x="3690" y="2268"/>
                  </a:lnTo>
                  <a:lnTo>
                    <a:pt x="3696" y="2268"/>
                  </a:lnTo>
                  <a:lnTo>
                    <a:pt x="3696" y="2274"/>
                  </a:lnTo>
                  <a:lnTo>
                    <a:pt x="3696" y="2280"/>
                  </a:lnTo>
                  <a:lnTo>
                    <a:pt x="3690" y="2280"/>
                  </a:lnTo>
                  <a:lnTo>
                    <a:pt x="3690" y="2286"/>
                  </a:lnTo>
                  <a:lnTo>
                    <a:pt x="3690" y="2280"/>
                  </a:lnTo>
                  <a:lnTo>
                    <a:pt x="3690" y="2286"/>
                  </a:lnTo>
                  <a:lnTo>
                    <a:pt x="3696" y="2286"/>
                  </a:lnTo>
                  <a:lnTo>
                    <a:pt x="3696" y="2280"/>
                  </a:lnTo>
                  <a:lnTo>
                    <a:pt x="3696" y="2286"/>
                  </a:lnTo>
                  <a:lnTo>
                    <a:pt x="3696" y="2292"/>
                  </a:lnTo>
                  <a:lnTo>
                    <a:pt x="3690" y="2292"/>
                  </a:lnTo>
                  <a:lnTo>
                    <a:pt x="3684" y="2292"/>
                  </a:lnTo>
                  <a:lnTo>
                    <a:pt x="3690" y="2292"/>
                  </a:lnTo>
                  <a:lnTo>
                    <a:pt x="3684" y="2292"/>
                  </a:lnTo>
                  <a:lnTo>
                    <a:pt x="3678" y="2292"/>
                  </a:lnTo>
                  <a:lnTo>
                    <a:pt x="3678" y="2286"/>
                  </a:lnTo>
                  <a:lnTo>
                    <a:pt x="3678" y="2280"/>
                  </a:lnTo>
                  <a:lnTo>
                    <a:pt x="3672" y="2280"/>
                  </a:lnTo>
                  <a:lnTo>
                    <a:pt x="3672" y="2274"/>
                  </a:lnTo>
                  <a:lnTo>
                    <a:pt x="3666" y="2274"/>
                  </a:lnTo>
                  <a:lnTo>
                    <a:pt x="3672" y="2274"/>
                  </a:lnTo>
                  <a:lnTo>
                    <a:pt x="3672" y="2268"/>
                  </a:lnTo>
                  <a:lnTo>
                    <a:pt x="3666" y="2268"/>
                  </a:lnTo>
                  <a:lnTo>
                    <a:pt x="3660" y="2268"/>
                  </a:lnTo>
                  <a:lnTo>
                    <a:pt x="3660" y="2262"/>
                  </a:lnTo>
                  <a:close/>
                  <a:moveTo>
                    <a:pt x="3426" y="2352"/>
                  </a:moveTo>
                  <a:lnTo>
                    <a:pt x="3426" y="2346"/>
                  </a:lnTo>
                  <a:lnTo>
                    <a:pt x="3426" y="2340"/>
                  </a:lnTo>
                  <a:lnTo>
                    <a:pt x="3432" y="2340"/>
                  </a:lnTo>
                  <a:lnTo>
                    <a:pt x="3432" y="2334"/>
                  </a:lnTo>
                  <a:lnTo>
                    <a:pt x="3432" y="2328"/>
                  </a:lnTo>
                  <a:lnTo>
                    <a:pt x="3432" y="2322"/>
                  </a:lnTo>
                  <a:lnTo>
                    <a:pt x="3438" y="2322"/>
                  </a:lnTo>
                  <a:lnTo>
                    <a:pt x="3438" y="2328"/>
                  </a:lnTo>
                  <a:lnTo>
                    <a:pt x="3438" y="2322"/>
                  </a:lnTo>
                  <a:lnTo>
                    <a:pt x="3438" y="2328"/>
                  </a:lnTo>
                  <a:lnTo>
                    <a:pt x="3444" y="2328"/>
                  </a:lnTo>
                  <a:lnTo>
                    <a:pt x="3450" y="2328"/>
                  </a:lnTo>
                  <a:lnTo>
                    <a:pt x="3450" y="2334"/>
                  </a:lnTo>
                  <a:lnTo>
                    <a:pt x="3450" y="2328"/>
                  </a:lnTo>
                  <a:lnTo>
                    <a:pt x="3456" y="2328"/>
                  </a:lnTo>
                  <a:lnTo>
                    <a:pt x="3456" y="2334"/>
                  </a:lnTo>
                  <a:lnTo>
                    <a:pt x="3462" y="2334"/>
                  </a:lnTo>
                  <a:lnTo>
                    <a:pt x="3468" y="2334"/>
                  </a:lnTo>
                  <a:lnTo>
                    <a:pt x="3462" y="2334"/>
                  </a:lnTo>
                  <a:lnTo>
                    <a:pt x="3468" y="2334"/>
                  </a:lnTo>
                  <a:lnTo>
                    <a:pt x="3474" y="2334"/>
                  </a:lnTo>
                  <a:lnTo>
                    <a:pt x="3474" y="2328"/>
                  </a:lnTo>
                  <a:lnTo>
                    <a:pt x="3474" y="2334"/>
                  </a:lnTo>
                  <a:lnTo>
                    <a:pt x="3474" y="2340"/>
                  </a:lnTo>
                  <a:lnTo>
                    <a:pt x="3480" y="2340"/>
                  </a:lnTo>
                  <a:lnTo>
                    <a:pt x="3486" y="2340"/>
                  </a:lnTo>
                  <a:lnTo>
                    <a:pt x="3492" y="2340"/>
                  </a:lnTo>
                  <a:lnTo>
                    <a:pt x="3498" y="2346"/>
                  </a:lnTo>
                  <a:lnTo>
                    <a:pt x="3504" y="2346"/>
                  </a:lnTo>
                  <a:lnTo>
                    <a:pt x="3510" y="2352"/>
                  </a:lnTo>
                  <a:lnTo>
                    <a:pt x="3516" y="2352"/>
                  </a:lnTo>
                  <a:lnTo>
                    <a:pt x="3522" y="2352"/>
                  </a:lnTo>
                  <a:lnTo>
                    <a:pt x="3522" y="2358"/>
                  </a:lnTo>
                  <a:lnTo>
                    <a:pt x="3528" y="2358"/>
                  </a:lnTo>
                  <a:lnTo>
                    <a:pt x="3534" y="2358"/>
                  </a:lnTo>
                  <a:lnTo>
                    <a:pt x="3534" y="2364"/>
                  </a:lnTo>
                  <a:lnTo>
                    <a:pt x="3534" y="2358"/>
                  </a:lnTo>
                  <a:lnTo>
                    <a:pt x="3528" y="2358"/>
                  </a:lnTo>
                  <a:lnTo>
                    <a:pt x="3528" y="2364"/>
                  </a:lnTo>
                  <a:lnTo>
                    <a:pt x="3528" y="2358"/>
                  </a:lnTo>
                  <a:lnTo>
                    <a:pt x="3534" y="2364"/>
                  </a:lnTo>
                  <a:lnTo>
                    <a:pt x="3534" y="2358"/>
                  </a:lnTo>
                  <a:lnTo>
                    <a:pt x="3540" y="2358"/>
                  </a:lnTo>
                  <a:lnTo>
                    <a:pt x="3540" y="2364"/>
                  </a:lnTo>
                  <a:lnTo>
                    <a:pt x="3540" y="2358"/>
                  </a:lnTo>
                  <a:lnTo>
                    <a:pt x="3540" y="2364"/>
                  </a:lnTo>
                  <a:lnTo>
                    <a:pt x="3546" y="2358"/>
                  </a:lnTo>
                  <a:lnTo>
                    <a:pt x="3546" y="2364"/>
                  </a:lnTo>
                  <a:lnTo>
                    <a:pt x="3546" y="2358"/>
                  </a:lnTo>
                  <a:lnTo>
                    <a:pt x="3546" y="2364"/>
                  </a:lnTo>
                  <a:lnTo>
                    <a:pt x="3552" y="2364"/>
                  </a:lnTo>
                  <a:lnTo>
                    <a:pt x="3558" y="2358"/>
                  </a:lnTo>
                  <a:lnTo>
                    <a:pt x="3558" y="2364"/>
                  </a:lnTo>
                  <a:lnTo>
                    <a:pt x="3564" y="2364"/>
                  </a:lnTo>
                  <a:lnTo>
                    <a:pt x="3558" y="2364"/>
                  </a:lnTo>
                  <a:lnTo>
                    <a:pt x="3564" y="2364"/>
                  </a:lnTo>
                  <a:lnTo>
                    <a:pt x="3558" y="2364"/>
                  </a:lnTo>
                  <a:lnTo>
                    <a:pt x="3564" y="2370"/>
                  </a:lnTo>
                  <a:lnTo>
                    <a:pt x="3564" y="2364"/>
                  </a:lnTo>
                  <a:lnTo>
                    <a:pt x="3564" y="2370"/>
                  </a:lnTo>
                  <a:lnTo>
                    <a:pt x="3564" y="2364"/>
                  </a:lnTo>
                  <a:lnTo>
                    <a:pt x="3564" y="2358"/>
                  </a:lnTo>
                  <a:lnTo>
                    <a:pt x="3564" y="2364"/>
                  </a:lnTo>
                  <a:lnTo>
                    <a:pt x="3564" y="2358"/>
                  </a:lnTo>
                  <a:lnTo>
                    <a:pt x="3570" y="2358"/>
                  </a:lnTo>
                  <a:lnTo>
                    <a:pt x="3576" y="2352"/>
                  </a:lnTo>
                  <a:lnTo>
                    <a:pt x="3570" y="2352"/>
                  </a:lnTo>
                  <a:lnTo>
                    <a:pt x="3576" y="2352"/>
                  </a:lnTo>
                  <a:lnTo>
                    <a:pt x="3576" y="2358"/>
                  </a:lnTo>
                  <a:lnTo>
                    <a:pt x="3576" y="2352"/>
                  </a:lnTo>
                  <a:lnTo>
                    <a:pt x="3576" y="2358"/>
                  </a:lnTo>
                  <a:lnTo>
                    <a:pt x="3582" y="2358"/>
                  </a:lnTo>
                  <a:lnTo>
                    <a:pt x="3576" y="2358"/>
                  </a:lnTo>
                  <a:lnTo>
                    <a:pt x="3576" y="2364"/>
                  </a:lnTo>
                  <a:lnTo>
                    <a:pt x="3576" y="2358"/>
                  </a:lnTo>
                  <a:lnTo>
                    <a:pt x="3582" y="2358"/>
                  </a:lnTo>
                  <a:lnTo>
                    <a:pt x="3582" y="2364"/>
                  </a:lnTo>
                  <a:lnTo>
                    <a:pt x="3582" y="2358"/>
                  </a:lnTo>
                  <a:lnTo>
                    <a:pt x="3588" y="2358"/>
                  </a:lnTo>
                  <a:lnTo>
                    <a:pt x="3588" y="2364"/>
                  </a:lnTo>
                  <a:lnTo>
                    <a:pt x="3588" y="2370"/>
                  </a:lnTo>
                  <a:lnTo>
                    <a:pt x="3588" y="2376"/>
                  </a:lnTo>
                  <a:lnTo>
                    <a:pt x="3594" y="2376"/>
                  </a:lnTo>
                  <a:lnTo>
                    <a:pt x="3600" y="2382"/>
                  </a:lnTo>
                  <a:lnTo>
                    <a:pt x="3600" y="2376"/>
                  </a:lnTo>
                  <a:lnTo>
                    <a:pt x="3594" y="2376"/>
                  </a:lnTo>
                  <a:lnTo>
                    <a:pt x="3594" y="2370"/>
                  </a:lnTo>
                  <a:lnTo>
                    <a:pt x="3588" y="2370"/>
                  </a:lnTo>
                  <a:lnTo>
                    <a:pt x="3594" y="2370"/>
                  </a:lnTo>
                  <a:lnTo>
                    <a:pt x="3588" y="2370"/>
                  </a:lnTo>
                  <a:lnTo>
                    <a:pt x="3588" y="2364"/>
                  </a:lnTo>
                  <a:lnTo>
                    <a:pt x="3588" y="2358"/>
                  </a:lnTo>
                  <a:lnTo>
                    <a:pt x="3582" y="2358"/>
                  </a:lnTo>
                  <a:lnTo>
                    <a:pt x="3582" y="2352"/>
                  </a:lnTo>
                  <a:lnTo>
                    <a:pt x="3576" y="2352"/>
                  </a:lnTo>
                  <a:lnTo>
                    <a:pt x="3582" y="2352"/>
                  </a:lnTo>
                  <a:lnTo>
                    <a:pt x="3588" y="2352"/>
                  </a:lnTo>
                  <a:lnTo>
                    <a:pt x="3594" y="2352"/>
                  </a:lnTo>
                  <a:lnTo>
                    <a:pt x="3594" y="2346"/>
                  </a:lnTo>
                  <a:lnTo>
                    <a:pt x="3600" y="2346"/>
                  </a:lnTo>
                  <a:lnTo>
                    <a:pt x="3606" y="2352"/>
                  </a:lnTo>
                  <a:lnTo>
                    <a:pt x="3606" y="2346"/>
                  </a:lnTo>
                  <a:lnTo>
                    <a:pt x="3612" y="2346"/>
                  </a:lnTo>
                  <a:lnTo>
                    <a:pt x="3618" y="2346"/>
                  </a:lnTo>
                  <a:lnTo>
                    <a:pt x="3624" y="2346"/>
                  </a:lnTo>
                  <a:lnTo>
                    <a:pt x="3624" y="2352"/>
                  </a:lnTo>
                  <a:lnTo>
                    <a:pt x="3630" y="2346"/>
                  </a:lnTo>
                  <a:lnTo>
                    <a:pt x="3636" y="2346"/>
                  </a:lnTo>
                  <a:lnTo>
                    <a:pt x="3636" y="2340"/>
                  </a:lnTo>
                  <a:lnTo>
                    <a:pt x="3642" y="2340"/>
                  </a:lnTo>
                  <a:lnTo>
                    <a:pt x="3642" y="2334"/>
                  </a:lnTo>
                  <a:lnTo>
                    <a:pt x="3648" y="2334"/>
                  </a:lnTo>
                  <a:lnTo>
                    <a:pt x="3648" y="2340"/>
                  </a:lnTo>
                  <a:lnTo>
                    <a:pt x="3654" y="2340"/>
                  </a:lnTo>
                  <a:lnTo>
                    <a:pt x="3660" y="2340"/>
                  </a:lnTo>
                  <a:lnTo>
                    <a:pt x="3660" y="2334"/>
                  </a:lnTo>
                  <a:lnTo>
                    <a:pt x="3666" y="2334"/>
                  </a:lnTo>
                  <a:lnTo>
                    <a:pt x="3666" y="2328"/>
                  </a:lnTo>
                  <a:lnTo>
                    <a:pt x="3672" y="2328"/>
                  </a:lnTo>
                  <a:lnTo>
                    <a:pt x="3672" y="2334"/>
                  </a:lnTo>
                  <a:lnTo>
                    <a:pt x="3678" y="2334"/>
                  </a:lnTo>
                  <a:lnTo>
                    <a:pt x="3684" y="2340"/>
                  </a:lnTo>
                  <a:lnTo>
                    <a:pt x="3684" y="2346"/>
                  </a:lnTo>
                  <a:lnTo>
                    <a:pt x="3690" y="2346"/>
                  </a:lnTo>
                  <a:lnTo>
                    <a:pt x="3690" y="2352"/>
                  </a:lnTo>
                  <a:lnTo>
                    <a:pt x="3684" y="2352"/>
                  </a:lnTo>
                  <a:lnTo>
                    <a:pt x="3690" y="2352"/>
                  </a:lnTo>
                  <a:lnTo>
                    <a:pt x="3684" y="2352"/>
                  </a:lnTo>
                  <a:lnTo>
                    <a:pt x="3690" y="2352"/>
                  </a:lnTo>
                  <a:lnTo>
                    <a:pt x="3684" y="2352"/>
                  </a:lnTo>
                  <a:lnTo>
                    <a:pt x="3684" y="2358"/>
                  </a:lnTo>
                  <a:lnTo>
                    <a:pt x="3684" y="2364"/>
                  </a:lnTo>
                  <a:lnTo>
                    <a:pt x="3684" y="2370"/>
                  </a:lnTo>
                  <a:lnTo>
                    <a:pt x="3690" y="2370"/>
                  </a:lnTo>
                  <a:lnTo>
                    <a:pt x="3684" y="2370"/>
                  </a:lnTo>
                  <a:lnTo>
                    <a:pt x="3684" y="2376"/>
                  </a:lnTo>
                  <a:lnTo>
                    <a:pt x="3678" y="2376"/>
                  </a:lnTo>
                  <a:lnTo>
                    <a:pt x="3684" y="2376"/>
                  </a:lnTo>
                  <a:lnTo>
                    <a:pt x="3684" y="2370"/>
                  </a:lnTo>
                  <a:lnTo>
                    <a:pt x="3690" y="2370"/>
                  </a:lnTo>
                  <a:lnTo>
                    <a:pt x="3684" y="2370"/>
                  </a:lnTo>
                  <a:lnTo>
                    <a:pt x="3684" y="2376"/>
                  </a:lnTo>
                  <a:lnTo>
                    <a:pt x="3684" y="2382"/>
                  </a:lnTo>
                  <a:lnTo>
                    <a:pt x="3678" y="2382"/>
                  </a:lnTo>
                  <a:lnTo>
                    <a:pt x="3678" y="2388"/>
                  </a:lnTo>
                  <a:lnTo>
                    <a:pt x="3678" y="2394"/>
                  </a:lnTo>
                  <a:lnTo>
                    <a:pt x="3684" y="2394"/>
                  </a:lnTo>
                  <a:lnTo>
                    <a:pt x="3684" y="2400"/>
                  </a:lnTo>
                  <a:lnTo>
                    <a:pt x="3678" y="2400"/>
                  </a:lnTo>
                  <a:lnTo>
                    <a:pt x="3678" y="2406"/>
                  </a:lnTo>
                  <a:lnTo>
                    <a:pt x="3678" y="2412"/>
                  </a:lnTo>
                  <a:lnTo>
                    <a:pt x="3678" y="2418"/>
                  </a:lnTo>
                  <a:lnTo>
                    <a:pt x="3678" y="2424"/>
                  </a:lnTo>
                  <a:lnTo>
                    <a:pt x="3678" y="2430"/>
                  </a:lnTo>
                  <a:lnTo>
                    <a:pt x="3672" y="2430"/>
                  </a:lnTo>
                  <a:lnTo>
                    <a:pt x="3678" y="2430"/>
                  </a:lnTo>
                  <a:lnTo>
                    <a:pt x="3678" y="2436"/>
                  </a:lnTo>
                  <a:lnTo>
                    <a:pt x="3672" y="2436"/>
                  </a:lnTo>
                  <a:lnTo>
                    <a:pt x="3678" y="2436"/>
                  </a:lnTo>
                  <a:lnTo>
                    <a:pt x="3678" y="2442"/>
                  </a:lnTo>
                  <a:lnTo>
                    <a:pt x="3672" y="2442"/>
                  </a:lnTo>
                  <a:lnTo>
                    <a:pt x="3672" y="2448"/>
                  </a:lnTo>
                  <a:lnTo>
                    <a:pt x="3672" y="2442"/>
                  </a:lnTo>
                  <a:lnTo>
                    <a:pt x="3672" y="2436"/>
                  </a:lnTo>
                  <a:lnTo>
                    <a:pt x="3678" y="2436"/>
                  </a:lnTo>
                  <a:lnTo>
                    <a:pt x="3672" y="2436"/>
                  </a:lnTo>
                  <a:lnTo>
                    <a:pt x="3672" y="2430"/>
                  </a:lnTo>
                  <a:lnTo>
                    <a:pt x="3672" y="2436"/>
                  </a:lnTo>
                  <a:lnTo>
                    <a:pt x="3672" y="2430"/>
                  </a:lnTo>
                  <a:lnTo>
                    <a:pt x="3666" y="2430"/>
                  </a:lnTo>
                  <a:lnTo>
                    <a:pt x="3672" y="2430"/>
                  </a:lnTo>
                  <a:lnTo>
                    <a:pt x="3672" y="2424"/>
                  </a:lnTo>
                  <a:lnTo>
                    <a:pt x="3672" y="2418"/>
                  </a:lnTo>
                  <a:lnTo>
                    <a:pt x="3672" y="2424"/>
                  </a:lnTo>
                  <a:lnTo>
                    <a:pt x="3666" y="2424"/>
                  </a:lnTo>
                  <a:lnTo>
                    <a:pt x="3666" y="2430"/>
                  </a:lnTo>
                  <a:lnTo>
                    <a:pt x="3672" y="2430"/>
                  </a:lnTo>
                  <a:lnTo>
                    <a:pt x="3666" y="2430"/>
                  </a:lnTo>
                  <a:lnTo>
                    <a:pt x="3660" y="2430"/>
                  </a:lnTo>
                  <a:lnTo>
                    <a:pt x="3660" y="2436"/>
                  </a:lnTo>
                  <a:lnTo>
                    <a:pt x="3660" y="2442"/>
                  </a:lnTo>
                  <a:lnTo>
                    <a:pt x="3654" y="2442"/>
                  </a:lnTo>
                  <a:lnTo>
                    <a:pt x="3654" y="2448"/>
                  </a:lnTo>
                  <a:lnTo>
                    <a:pt x="3648" y="2448"/>
                  </a:lnTo>
                  <a:lnTo>
                    <a:pt x="3648" y="2454"/>
                  </a:lnTo>
                  <a:lnTo>
                    <a:pt x="3648" y="2448"/>
                  </a:lnTo>
                  <a:lnTo>
                    <a:pt x="3654" y="2448"/>
                  </a:lnTo>
                  <a:lnTo>
                    <a:pt x="3654" y="2454"/>
                  </a:lnTo>
                  <a:lnTo>
                    <a:pt x="3648" y="2454"/>
                  </a:lnTo>
                  <a:lnTo>
                    <a:pt x="3648" y="2460"/>
                  </a:lnTo>
                  <a:lnTo>
                    <a:pt x="3654" y="2460"/>
                  </a:lnTo>
                  <a:lnTo>
                    <a:pt x="3648" y="2460"/>
                  </a:lnTo>
                  <a:lnTo>
                    <a:pt x="3648" y="2466"/>
                  </a:lnTo>
                  <a:lnTo>
                    <a:pt x="3642" y="2466"/>
                  </a:lnTo>
                  <a:lnTo>
                    <a:pt x="3642" y="2460"/>
                  </a:lnTo>
                  <a:lnTo>
                    <a:pt x="3642" y="2466"/>
                  </a:lnTo>
                  <a:lnTo>
                    <a:pt x="3642" y="2472"/>
                  </a:lnTo>
                  <a:lnTo>
                    <a:pt x="3648" y="2472"/>
                  </a:lnTo>
                  <a:lnTo>
                    <a:pt x="3642" y="2472"/>
                  </a:lnTo>
                  <a:lnTo>
                    <a:pt x="3648" y="2472"/>
                  </a:lnTo>
                  <a:lnTo>
                    <a:pt x="3642" y="2472"/>
                  </a:lnTo>
                  <a:lnTo>
                    <a:pt x="3648" y="2472"/>
                  </a:lnTo>
                  <a:lnTo>
                    <a:pt x="3648" y="2478"/>
                  </a:lnTo>
                  <a:lnTo>
                    <a:pt x="3642" y="2478"/>
                  </a:lnTo>
                  <a:lnTo>
                    <a:pt x="3642" y="2484"/>
                  </a:lnTo>
                  <a:lnTo>
                    <a:pt x="3636" y="2484"/>
                  </a:lnTo>
                  <a:lnTo>
                    <a:pt x="3636" y="2490"/>
                  </a:lnTo>
                  <a:lnTo>
                    <a:pt x="3636" y="2484"/>
                  </a:lnTo>
                  <a:lnTo>
                    <a:pt x="3636" y="2490"/>
                  </a:lnTo>
                  <a:lnTo>
                    <a:pt x="3630" y="2490"/>
                  </a:lnTo>
                  <a:lnTo>
                    <a:pt x="3636" y="2490"/>
                  </a:lnTo>
                  <a:lnTo>
                    <a:pt x="3642" y="2490"/>
                  </a:lnTo>
                  <a:lnTo>
                    <a:pt x="3636" y="2490"/>
                  </a:lnTo>
                  <a:lnTo>
                    <a:pt x="3642" y="2490"/>
                  </a:lnTo>
                  <a:lnTo>
                    <a:pt x="3642" y="2496"/>
                  </a:lnTo>
                  <a:lnTo>
                    <a:pt x="3648" y="2496"/>
                  </a:lnTo>
                  <a:lnTo>
                    <a:pt x="3642" y="2496"/>
                  </a:lnTo>
                  <a:lnTo>
                    <a:pt x="3642" y="2502"/>
                  </a:lnTo>
                  <a:lnTo>
                    <a:pt x="3642" y="2508"/>
                  </a:lnTo>
                  <a:lnTo>
                    <a:pt x="3642" y="2514"/>
                  </a:lnTo>
                  <a:lnTo>
                    <a:pt x="3642" y="2520"/>
                  </a:lnTo>
                  <a:lnTo>
                    <a:pt x="3642" y="2514"/>
                  </a:lnTo>
                  <a:lnTo>
                    <a:pt x="3636" y="2514"/>
                  </a:lnTo>
                  <a:lnTo>
                    <a:pt x="3636" y="2508"/>
                  </a:lnTo>
                  <a:lnTo>
                    <a:pt x="3630" y="2508"/>
                  </a:lnTo>
                  <a:lnTo>
                    <a:pt x="3636" y="2508"/>
                  </a:lnTo>
                  <a:lnTo>
                    <a:pt x="3630" y="2508"/>
                  </a:lnTo>
                  <a:lnTo>
                    <a:pt x="3636" y="2508"/>
                  </a:lnTo>
                  <a:lnTo>
                    <a:pt x="3630" y="2514"/>
                  </a:lnTo>
                  <a:lnTo>
                    <a:pt x="3636" y="2514"/>
                  </a:lnTo>
                  <a:lnTo>
                    <a:pt x="3630" y="2514"/>
                  </a:lnTo>
                  <a:lnTo>
                    <a:pt x="3636" y="2514"/>
                  </a:lnTo>
                  <a:lnTo>
                    <a:pt x="3630" y="2514"/>
                  </a:lnTo>
                  <a:lnTo>
                    <a:pt x="3630" y="2520"/>
                  </a:lnTo>
                  <a:lnTo>
                    <a:pt x="3624" y="2520"/>
                  </a:lnTo>
                  <a:lnTo>
                    <a:pt x="3624" y="2514"/>
                  </a:lnTo>
                  <a:lnTo>
                    <a:pt x="3624" y="2508"/>
                  </a:lnTo>
                  <a:lnTo>
                    <a:pt x="3618" y="2508"/>
                  </a:lnTo>
                  <a:lnTo>
                    <a:pt x="3624" y="2508"/>
                  </a:lnTo>
                  <a:lnTo>
                    <a:pt x="3618" y="2508"/>
                  </a:lnTo>
                  <a:lnTo>
                    <a:pt x="3618" y="2502"/>
                  </a:lnTo>
                  <a:lnTo>
                    <a:pt x="3624" y="2502"/>
                  </a:lnTo>
                  <a:lnTo>
                    <a:pt x="3624" y="2496"/>
                  </a:lnTo>
                  <a:lnTo>
                    <a:pt x="3624" y="2502"/>
                  </a:lnTo>
                  <a:lnTo>
                    <a:pt x="3630" y="2502"/>
                  </a:lnTo>
                  <a:lnTo>
                    <a:pt x="3636" y="2502"/>
                  </a:lnTo>
                  <a:lnTo>
                    <a:pt x="3630" y="2502"/>
                  </a:lnTo>
                  <a:lnTo>
                    <a:pt x="3636" y="2502"/>
                  </a:lnTo>
                  <a:lnTo>
                    <a:pt x="3636" y="2496"/>
                  </a:lnTo>
                  <a:lnTo>
                    <a:pt x="3630" y="2496"/>
                  </a:lnTo>
                  <a:lnTo>
                    <a:pt x="3636" y="2496"/>
                  </a:lnTo>
                  <a:lnTo>
                    <a:pt x="3630" y="2496"/>
                  </a:lnTo>
                  <a:lnTo>
                    <a:pt x="3630" y="2490"/>
                  </a:lnTo>
                  <a:lnTo>
                    <a:pt x="3624" y="2490"/>
                  </a:lnTo>
                  <a:lnTo>
                    <a:pt x="3618" y="2490"/>
                  </a:lnTo>
                  <a:lnTo>
                    <a:pt x="3624" y="2490"/>
                  </a:lnTo>
                  <a:lnTo>
                    <a:pt x="3618" y="2490"/>
                  </a:lnTo>
                  <a:lnTo>
                    <a:pt x="3618" y="2484"/>
                  </a:lnTo>
                  <a:lnTo>
                    <a:pt x="3612" y="2484"/>
                  </a:lnTo>
                  <a:lnTo>
                    <a:pt x="3606" y="2484"/>
                  </a:lnTo>
                  <a:lnTo>
                    <a:pt x="3612" y="2484"/>
                  </a:lnTo>
                  <a:lnTo>
                    <a:pt x="3606" y="2484"/>
                  </a:lnTo>
                  <a:lnTo>
                    <a:pt x="3612" y="2484"/>
                  </a:lnTo>
                  <a:lnTo>
                    <a:pt x="3612" y="2490"/>
                  </a:lnTo>
                  <a:lnTo>
                    <a:pt x="3612" y="2484"/>
                  </a:lnTo>
                  <a:lnTo>
                    <a:pt x="3612" y="2490"/>
                  </a:lnTo>
                  <a:lnTo>
                    <a:pt x="3612" y="2484"/>
                  </a:lnTo>
                  <a:lnTo>
                    <a:pt x="3618" y="2484"/>
                  </a:lnTo>
                  <a:lnTo>
                    <a:pt x="3618" y="2490"/>
                  </a:lnTo>
                  <a:lnTo>
                    <a:pt x="3612" y="2490"/>
                  </a:lnTo>
                  <a:lnTo>
                    <a:pt x="3612" y="2496"/>
                  </a:lnTo>
                  <a:lnTo>
                    <a:pt x="3612" y="2502"/>
                  </a:lnTo>
                  <a:lnTo>
                    <a:pt x="3612" y="2496"/>
                  </a:lnTo>
                  <a:lnTo>
                    <a:pt x="3612" y="2502"/>
                  </a:lnTo>
                  <a:lnTo>
                    <a:pt x="3606" y="2502"/>
                  </a:lnTo>
                  <a:lnTo>
                    <a:pt x="3612" y="2502"/>
                  </a:lnTo>
                  <a:lnTo>
                    <a:pt x="3606" y="2502"/>
                  </a:lnTo>
                  <a:lnTo>
                    <a:pt x="3600" y="2502"/>
                  </a:lnTo>
                  <a:lnTo>
                    <a:pt x="3606" y="2502"/>
                  </a:lnTo>
                  <a:lnTo>
                    <a:pt x="3600" y="2502"/>
                  </a:lnTo>
                  <a:lnTo>
                    <a:pt x="3600" y="2496"/>
                  </a:lnTo>
                  <a:lnTo>
                    <a:pt x="3606" y="2496"/>
                  </a:lnTo>
                  <a:lnTo>
                    <a:pt x="3600" y="2496"/>
                  </a:lnTo>
                  <a:lnTo>
                    <a:pt x="3606" y="2496"/>
                  </a:lnTo>
                  <a:lnTo>
                    <a:pt x="3606" y="2502"/>
                  </a:lnTo>
                  <a:lnTo>
                    <a:pt x="3606" y="2496"/>
                  </a:lnTo>
                  <a:lnTo>
                    <a:pt x="3612" y="2496"/>
                  </a:lnTo>
                  <a:lnTo>
                    <a:pt x="3606" y="2496"/>
                  </a:lnTo>
                  <a:lnTo>
                    <a:pt x="3612" y="2496"/>
                  </a:lnTo>
                  <a:lnTo>
                    <a:pt x="3606" y="2496"/>
                  </a:lnTo>
                  <a:lnTo>
                    <a:pt x="3606" y="2490"/>
                  </a:lnTo>
                  <a:lnTo>
                    <a:pt x="3600" y="2490"/>
                  </a:lnTo>
                  <a:lnTo>
                    <a:pt x="3600" y="2484"/>
                  </a:lnTo>
                  <a:lnTo>
                    <a:pt x="3594" y="2484"/>
                  </a:lnTo>
                  <a:lnTo>
                    <a:pt x="3594" y="2478"/>
                  </a:lnTo>
                  <a:lnTo>
                    <a:pt x="3588" y="2478"/>
                  </a:lnTo>
                  <a:lnTo>
                    <a:pt x="3588" y="2484"/>
                  </a:lnTo>
                  <a:lnTo>
                    <a:pt x="3588" y="2478"/>
                  </a:lnTo>
                  <a:lnTo>
                    <a:pt x="3594" y="2478"/>
                  </a:lnTo>
                  <a:lnTo>
                    <a:pt x="3594" y="2484"/>
                  </a:lnTo>
                  <a:lnTo>
                    <a:pt x="3600" y="2484"/>
                  </a:lnTo>
                  <a:lnTo>
                    <a:pt x="3594" y="2490"/>
                  </a:lnTo>
                  <a:lnTo>
                    <a:pt x="3600" y="2490"/>
                  </a:lnTo>
                  <a:lnTo>
                    <a:pt x="3600" y="2496"/>
                  </a:lnTo>
                  <a:lnTo>
                    <a:pt x="3594" y="2496"/>
                  </a:lnTo>
                  <a:lnTo>
                    <a:pt x="3600" y="2502"/>
                  </a:lnTo>
                  <a:lnTo>
                    <a:pt x="3594" y="2502"/>
                  </a:lnTo>
                  <a:lnTo>
                    <a:pt x="3600" y="2502"/>
                  </a:lnTo>
                  <a:lnTo>
                    <a:pt x="3594" y="2502"/>
                  </a:lnTo>
                  <a:lnTo>
                    <a:pt x="3594" y="2508"/>
                  </a:lnTo>
                  <a:lnTo>
                    <a:pt x="3588" y="2508"/>
                  </a:lnTo>
                  <a:lnTo>
                    <a:pt x="3588" y="2514"/>
                  </a:lnTo>
                  <a:lnTo>
                    <a:pt x="3588" y="2520"/>
                  </a:lnTo>
                  <a:lnTo>
                    <a:pt x="3582" y="2520"/>
                  </a:lnTo>
                  <a:lnTo>
                    <a:pt x="3576" y="2520"/>
                  </a:lnTo>
                  <a:lnTo>
                    <a:pt x="3576" y="2514"/>
                  </a:lnTo>
                  <a:lnTo>
                    <a:pt x="3582" y="2514"/>
                  </a:lnTo>
                  <a:lnTo>
                    <a:pt x="3576" y="2514"/>
                  </a:lnTo>
                  <a:lnTo>
                    <a:pt x="3582" y="2514"/>
                  </a:lnTo>
                  <a:lnTo>
                    <a:pt x="3576" y="2514"/>
                  </a:lnTo>
                  <a:lnTo>
                    <a:pt x="3582" y="2514"/>
                  </a:lnTo>
                  <a:lnTo>
                    <a:pt x="3576" y="2514"/>
                  </a:lnTo>
                  <a:lnTo>
                    <a:pt x="3570" y="2514"/>
                  </a:lnTo>
                  <a:lnTo>
                    <a:pt x="3570" y="2508"/>
                  </a:lnTo>
                  <a:lnTo>
                    <a:pt x="3576" y="2508"/>
                  </a:lnTo>
                  <a:lnTo>
                    <a:pt x="3576" y="2502"/>
                  </a:lnTo>
                  <a:lnTo>
                    <a:pt x="3576" y="2508"/>
                  </a:lnTo>
                  <a:lnTo>
                    <a:pt x="3570" y="2508"/>
                  </a:lnTo>
                  <a:lnTo>
                    <a:pt x="3570" y="2514"/>
                  </a:lnTo>
                  <a:lnTo>
                    <a:pt x="3570" y="2520"/>
                  </a:lnTo>
                  <a:lnTo>
                    <a:pt x="3576" y="2520"/>
                  </a:lnTo>
                  <a:lnTo>
                    <a:pt x="3576" y="2526"/>
                  </a:lnTo>
                  <a:lnTo>
                    <a:pt x="3570" y="2526"/>
                  </a:lnTo>
                  <a:lnTo>
                    <a:pt x="3576" y="2526"/>
                  </a:lnTo>
                  <a:lnTo>
                    <a:pt x="3570" y="2526"/>
                  </a:lnTo>
                  <a:lnTo>
                    <a:pt x="3570" y="2532"/>
                  </a:lnTo>
                  <a:lnTo>
                    <a:pt x="3564" y="2532"/>
                  </a:lnTo>
                  <a:lnTo>
                    <a:pt x="3570" y="2532"/>
                  </a:lnTo>
                  <a:lnTo>
                    <a:pt x="3570" y="2538"/>
                  </a:lnTo>
                  <a:lnTo>
                    <a:pt x="3564" y="2538"/>
                  </a:lnTo>
                  <a:lnTo>
                    <a:pt x="3570" y="2538"/>
                  </a:lnTo>
                  <a:lnTo>
                    <a:pt x="3564" y="2538"/>
                  </a:lnTo>
                  <a:lnTo>
                    <a:pt x="3564" y="2544"/>
                  </a:lnTo>
                  <a:lnTo>
                    <a:pt x="3564" y="2538"/>
                  </a:lnTo>
                  <a:lnTo>
                    <a:pt x="3558" y="2538"/>
                  </a:lnTo>
                  <a:lnTo>
                    <a:pt x="3558" y="2544"/>
                  </a:lnTo>
                  <a:lnTo>
                    <a:pt x="3564" y="2544"/>
                  </a:lnTo>
                  <a:lnTo>
                    <a:pt x="3558" y="2544"/>
                  </a:lnTo>
                  <a:lnTo>
                    <a:pt x="3558" y="2550"/>
                  </a:lnTo>
                  <a:lnTo>
                    <a:pt x="3552" y="2550"/>
                  </a:lnTo>
                  <a:lnTo>
                    <a:pt x="3558" y="2550"/>
                  </a:lnTo>
                  <a:lnTo>
                    <a:pt x="3558" y="2544"/>
                  </a:lnTo>
                  <a:lnTo>
                    <a:pt x="3552" y="2544"/>
                  </a:lnTo>
                  <a:lnTo>
                    <a:pt x="3546" y="2544"/>
                  </a:lnTo>
                  <a:lnTo>
                    <a:pt x="3546" y="2550"/>
                  </a:lnTo>
                  <a:lnTo>
                    <a:pt x="3546" y="2544"/>
                  </a:lnTo>
                  <a:lnTo>
                    <a:pt x="3540" y="2544"/>
                  </a:lnTo>
                  <a:lnTo>
                    <a:pt x="3546" y="2544"/>
                  </a:lnTo>
                  <a:lnTo>
                    <a:pt x="3540" y="2544"/>
                  </a:lnTo>
                  <a:lnTo>
                    <a:pt x="3540" y="2538"/>
                  </a:lnTo>
                  <a:lnTo>
                    <a:pt x="3534" y="2538"/>
                  </a:lnTo>
                  <a:lnTo>
                    <a:pt x="3540" y="2538"/>
                  </a:lnTo>
                  <a:lnTo>
                    <a:pt x="3534" y="2538"/>
                  </a:lnTo>
                  <a:lnTo>
                    <a:pt x="3528" y="2538"/>
                  </a:lnTo>
                  <a:lnTo>
                    <a:pt x="3522" y="2538"/>
                  </a:lnTo>
                  <a:lnTo>
                    <a:pt x="3516" y="2544"/>
                  </a:lnTo>
                  <a:lnTo>
                    <a:pt x="3516" y="2538"/>
                  </a:lnTo>
                  <a:lnTo>
                    <a:pt x="3510" y="2538"/>
                  </a:lnTo>
                  <a:lnTo>
                    <a:pt x="3516" y="2538"/>
                  </a:lnTo>
                  <a:lnTo>
                    <a:pt x="3510" y="2538"/>
                  </a:lnTo>
                  <a:lnTo>
                    <a:pt x="3504" y="2538"/>
                  </a:lnTo>
                  <a:lnTo>
                    <a:pt x="3504" y="2544"/>
                  </a:lnTo>
                  <a:lnTo>
                    <a:pt x="3504" y="2538"/>
                  </a:lnTo>
                  <a:lnTo>
                    <a:pt x="3504" y="2544"/>
                  </a:lnTo>
                  <a:lnTo>
                    <a:pt x="3498" y="2544"/>
                  </a:lnTo>
                  <a:lnTo>
                    <a:pt x="3498" y="2538"/>
                  </a:lnTo>
                  <a:lnTo>
                    <a:pt x="3498" y="2532"/>
                  </a:lnTo>
                  <a:lnTo>
                    <a:pt x="3498" y="2538"/>
                  </a:lnTo>
                  <a:lnTo>
                    <a:pt x="3498" y="2532"/>
                  </a:lnTo>
                  <a:lnTo>
                    <a:pt x="3498" y="2526"/>
                  </a:lnTo>
                  <a:lnTo>
                    <a:pt x="3492" y="2526"/>
                  </a:lnTo>
                  <a:lnTo>
                    <a:pt x="3492" y="2532"/>
                  </a:lnTo>
                  <a:lnTo>
                    <a:pt x="3492" y="2526"/>
                  </a:lnTo>
                  <a:lnTo>
                    <a:pt x="3498" y="2526"/>
                  </a:lnTo>
                  <a:lnTo>
                    <a:pt x="3498" y="2532"/>
                  </a:lnTo>
                  <a:lnTo>
                    <a:pt x="3498" y="2526"/>
                  </a:lnTo>
                  <a:lnTo>
                    <a:pt x="3504" y="2526"/>
                  </a:lnTo>
                  <a:lnTo>
                    <a:pt x="3510" y="2526"/>
                  </a:lnTo>
                  <a:lnTo>
                    <a:pt x="3510" y="2532"/>
                  </a:lnTo>
                  <a:lnTo>
                    <a:pt x="3510" y="2526"/>
                  </a:lnTo>
                  <a:lnTo>
                    <a:pt x="3510" y="2532"/>
                  </a:lnTo>
                  <a:lnTo>
                    <a:pt x="3510" y="2526"/>
                  </a:lnTo>
                  <a:lnTo>
                    <a:pt x="3516" y="2526"/>
                  </a:lnTo>
                  <a:lnTo>
                    <a:pt x="3516" y="2532"/>
                  </a:lnTo>
                  <a:lnTo>
                    <a:pt x="3516" y="2526"/>
                  </a:lnTo>
                  <a:lnTo>
                    <a:pt x="3510" y="2526"/>
                  </a:lnTo>
                  <a:lnTo>
                    <a:pt x="3510" y="2520"/>
                  </a:lnTo>
                  <a:lnTo>
                    <a:pt x="3510" y="2526"/>
                  </a:lnTo>
                  <a:lnTo>
                    <a:pt x="3504" y="2526"/>
                  </a:lnTo>
                  <a:lnTo>
                    <a:pt x="3504" y="2520"/>
                  </a:lnTo>
                  <a:lnTo>
                    <a:pt x="3504" y="2526"/>
                  </a:lnTo>
                  <a:lnTo>
                    <a:pt x="3498" y="2526"/>
                  </a:lnTo>
                  <a:lnTo>
                    <a:pt x="3498" y="2520"/>
                  </a:lnTo>
                  <a:lnTo>
                    <a:pt x="3498" y="2514"/>
                  </a:lnTo>
                  <a:lnTo>
                    <a:pt x="3492" y="2514"/>
                  </a:lnTo>
                  <a:lnTo>
                    <a:pt x="3498" y="2514"/>
                  </a:lnTo>
                  <a:lnTo>
                    <a:pt x="3492" y="2514"/>
                  </a:lnTo>
                  <a:lnTo>
                    <a:pt x="3498" y="2514"/>
                  </a:lnTo>
                  <a:lnTo>
                    <a:pt x="3492" y="2514"/>
                  </a:lnTo>
                  <a:lnTo>
                    <a:pt x="3498" y="2520"/>
                  </a:lnTo>
                  <a:lnTo>
                    <a:pt x="3492" y="2520"/>
                  </a:lnTo>
                  <a:lnTo>
                    <a:pt x="3492" y="2526"/>
                  </a:lnTo>
                  <a:lnTo>
                    <a:pt x="3486" y="2526"/>
                  </a:lnTo>
                  <a:lnTo>
                    <a:pt x="3486" y="2520"/>
                  </a:lnTo>
                  <a:lnTo>
                    <a:pt x="3492" y="2520"/>
                  </a:lnTo>
                  <a:lnTo>
                    <a:pt x="3486" y="2520"/>
                  </a:lnTo>
                  <a:lnTo>
                    <a:pt x="3486" y="2514"/>
                  </a:lnTo>
                  <a:lnTo>
                    <a:pt x="3480" y="2508"/>
                  </a:lnTo>
                  <a:lnTo>
                    <a:pt x="3480" y="2502"/>
                  </a:lnTo>
                  <a:lnTo>
                    <a:pt x="3480" y="2508"/>
                  </a:lnTo>
                  <a:lnTo>
                    <a:pt x="3480" y="2502"/>
                  </a:lnTo>
                  <a:lnTo>
                    <a:pt x="3474" y="2502"/>
                  </a:lnTo>
                  <a:lnTo>
                    <a:pt x="3474" y="2496"/>
                  </a:lnTo>
                  <a:lnTo>
                    <a:pt x="3468" y="2496"/>
                  </a:lnTo>
                  <a:lnTo>
                    <a:pt x="3468" y="2502"/>
                  </a:lnTo>
                  <a:lnTo>
                    <a:pt x="3468" y="2496"/>
                  </a:lnTo>
                  <a:lnTo>
                    <a:pt x="3468" y="2490"/>
                  </a:lnTo>
                  <a:lnTo>
                    <a:pt x="3468" y="2496"/>
                  </a:lnTo>
                  <a:lnTo>
                    <a:pt x="3462" y="2496"/>
                  </a:lnTo>
                  <a:lnTo>
                    <a:pt x="3468" y="2490"/>
                  </a:lnTo>
                  <a:lnTo>
                    <a:pt x="3462" y="2490"/>
                  </a:lnTo>
                  <a:lnTo>
                    <a:pt x="3462" y="2484"/>
                  </a:lnTo>
                  <a:lnTo>
                    <a:pt x="3462" y="2478"/>
                  </a:lnTo>
                  <a:lnTo>
                    <a:pt x="3462" y="2472"/>
                  </a:lnTo>
                  <a:lnTo>
                    <a:pt x="3456" y="2472"/>
                  </a:lnTo>
                  <a:lnTo>
                    <a:pt x="3462" y="2472"/>
                  </a:lnTo>
                  <a:lnTo>
                    <a:pt x="3456" y="2472"/>
                  </a:lnTo>
                  <a:lnTo>
                    <a:pt x="3456" y="2466"/>
                  </a:lnTo>
                  <a:lnTo>
                    <a:pt x="3456" y="2460"/>
                  </a:lnTo>
                  <a:lnTo>
                    <a:pt x="3456" y="2454"/>
                  </a:lnTo>
                  <a:lnTo>
                    <a:pt x="3456" y="2448"/>
                  </a:lnTo>
                  <a:lnTo>
                    <a:pt x="3450" y="2448"/>
                  </a:lnTo>
                  <a:lnTo>
                    <a:pt x="3456" y="2448"/>
                  </a:lnTo>
                  <a:lnTo>
                    <a:pt x="3456" y="2442"/>
                  </a:lnTo>
                  <a:lnTo>
                    <a:pt x="3450" y="2442"/>
                  </a:lnTo>
                  <a:lnTo>
                    <a:pt x="3456" y="2442"/>
                  </a:lnTo>
                  <a:lnTo>
                    <a:pt x="3450" y="2442"/>
                  </a:lnTo>
                  <a:lnTo>
                    <a:pt x="3456" y="2442"/>
                  </a:lnTo>
                  <a:lnTo>
                    <a:pt x="3450" y="2442"/>
                  </a:lnTo>
                  <a:lnTo>
                    <a:pt x="3456" y="2442"/>
                  </a:lnTo>
                  <a:lnTo>
                    <a:pt x="3456" y="2448"/>
                  </a:lnTo>
                  <a:lnTo>
                    <a:pt x="3462" y="2448"/>
                  </a:lnTo>
                  <a:lnTo>
                    <a:pt x="3462" y="2454"/>
                  </a:lnTo>
                  <a:lnTo>
                    <a:pt x="3468" y="2454"/>
                  </a:lnTo>
                  <a:lnTo>
                    <a:pt x="3468" y="2460"/>
                  </a:lnTo>
                  <a:lnTo>
                    <a:pt x="3468" y="2466"/>
                  </a:lnTo>
                  <a:lnTo>
                    <a:pt x="3468" y="2460"/>
                  </a:lnTo>
                  <a:lnTo>
                    <a:pt x="3474" y="2460"/>
                  </a:lnTo>
                  <a:lnTo>
                    <a:pt x="3468" y="2460"/>
                  </a:lnTo>
                  <a:lnTo>
                    <a:pt x="3474" y="2460"/>
                  </a:lnTo>
                  <a:lnTo>
                    <a:pt x="3468" y="2460"/>
                  </a:lnTo>
                  <a:lnTo>
                    <a:pt x="3474" y="2454"/>
                  </a:lnTo>
                  <a:lnTo>
                    <a:pt x="3474" y="2460"/>
                  </a:lnTo>
                  <a:lnTo>
                    <a:pt x="3474" y="2454"/>
                  </a:lnTo>
                  <a:lnTo>
                    <a:pt x="3480" y="2454"/>
                  </a:lnTo>
                  <a:lnTo>
                    <a:pt x="3474" y="2454"/>
                  </a:lnTo>
                  <a:lnTo>
                    <a:pt x="3474" y="2448"/>
                  </a:lnTo>
                  <a:lnTo>
                    <a:pt x="3468" y="2448"/>
                  </a:lnTo>
                  <a:lnTo>
                    <a:pt x="3468" y="2442"/>
                  </a:lnTo>
                  <a:lnTo>
                    <a:pt x="3462" y="2442"/>
                  </a:lnTo>
                  <a:lnTo>
                    <a:pt x="3468" y="2436"/>
                  </a:lnTo>
                  <a:lnTo>
                    <a:pt x="3462" y="2436"/>
                  </a:lnTo>
                  <a:lnTo>
                    <a:pt x="3456" y="2442"/>
                  </a:lnTo>
                  <a:lnTo>
                    <a:pt x="3462" y="2442"/>
                  </a:lnTo>
                  <a:lnTo>
                    <a:pt x="3456" y="2442"/>
                  </a:lnTo>
                  <a:lnTo>
                    <a:pt x="3456" y="2436"/>
                  </a:lnTo>
                  <a:lnTo>
                    <a:pt x="3462" y="2436"/>
                  </a:lnTo>
                  <a:lnTo>
                    <a:pt x="3462" y="2430"/>
                  </a:lnTo>
                  <a:lnTo>
                    <a:pt x="3456" y="2430"/>
                  </a:lnTo>
                  <a:lnTo>
                    <a:pt x="3462" y="2424"/>
                  </a:lnTo>
                  <a:lnTo>
                    <a:pt x="3456" y="2424"/>
                  </a:lnTo>
                  <a:lnTo>
                    <a:pt x="3456" y="2418"/>
                  </a:lnTo>
                  <a:lnTo>
                    <a:pt x="3450" y="2418"/>
                  </a:lnTo>
                  <a:lnTo>
                    <a:pt x="3450" y="2412"/>
                  </a:lnTo>
                  <a:lnTo>
                    <a:pt x="3444" y="2412"/>
                  </a:lnTo>
                  <a:lnTo>
                    <a:pt x="3444" y="2406"/>
                  </a:lnTo>
                  <a:lnTo>
                    <a:pt x="3438" y="2406"/>
                  </a:lnTo>
                  <a:lnTo>
                    <a:pt x="3438" y="2400"/>
                  </a:lnTo>
                  <a:lnTo>
                    <a:pt x="3438" y="2394"/>
                  </a:lnTo>
                  <a:lnTo>
                    <a:pt x="3438" y="2388"/>
                  </a:lnTo>
                  <a:lnTo>
                    <a:pt x="3432" y="2388"/>
                  </a:lnTo>
                  <a:lnTo>
                    <a:pt x="3432" y="2382"/>
                  </a:lnTo>
                  <a:lnTo>
                    <a:pt x="3432" y="2376"/>
                  </a:lnTo>
                  <a:lnTo>
                    <a:pt x="3432" y="2370"/>
                  </a:lnTo>
                  <a:lnTo>
                    <a:pt x="3426" y="2370"/>
                  </a:lnTo>
                  <a:lnTo>
                    <a:pt x="3432" y="2370"/>
                  </a:lnTo>
                  <a:lnTo>
                    <a:pt x="3426" y="2370"/>
                  </a:lnTo>
                  <a:lnTo>
                    <a:pt x="3426" y="2364"/>
                  </a:lnTo>
                  <a:lnTo>
                    <a:pt x="3426" y="2358"/>
                  </a:lnTo>
                  <a:lnTo>
                    <a:pt x="3426" y="2352"/>
                  </a:lnTo>
                  <a:close/>
                  <a:moveTo>
                    <a:pt x="3564" y="2184"/>
                  </a:moveTo>
                  <a:lnTo>
                    <a:pt x="3564" y="2190"/>
                  </a:lnTo>
                  <a:lnTo>
                    <a:pt x="3565" y="2190"/>
                  </a:lnTo>
                  <a:lnTo>
                    <a:pt x="3564" y="2184"/>
                  </a:lnTo>
                  <a:close/>
                  <a:moveTo>
                    <a:pt x="3258" y="2154"/>
                  </a:moveTo>
                  <a:lnTo>
                    <a:pt x="3264" y="2154"/>
                  </a:lnTo>
                  <a:lnTo>
                    <a:pt x="3258" y="2154"/>
                  </a:lnTo>
                  <a:close/>
                  <a:moveTo>
                    <a:pt x="3582" y="2172"/>
                  </a:moveTo>
                  <a:lnTo>
                    <a:pt x="3588" y="2172"/>
                  </a:lnTo>
                  <a:lnTo>
                    <a:pt x="3588" y="2178"/>
                  </a:lnTo>
                  <a:lnTo>
                    <a:pt x="3582" y="2178"/>
                  </a:lnTo>
                  <a:lnTo>
                    <a:pt x="3582" y="2172"/>
                  </a:lnTo>
                  <a:close/>
                  <a:moveTo>
                    <a:pt x="3582" y="2232"/>
                  </a:moveTo>
                  <a:lnTo>
                    <a:pt x="3588" y="2232"/>
                  </a:lnTo>
                  <a:lnTo>
                    <a:pt x="3582" y="2232"/>
                  </a:lnTo>
                  <a:close/>
                  <a:moveTo>
                    <a:pt x="3558" y="2202"/>
                  </a:moveTo>
                  <a:lnTo>
                    <a:pt x="3558" y="2208"/>
                  </a:lnTo>
                  <a:lnTo>
                    <a:pt x="3559" y="2208"/>
                  </a:lnTo>
                  <a:lnTo>
                    <a:pt x="3558" y="2202"/>
                  </a:lnTo>
                  <a:close/>
                  <a:moveTo>
                    <a:pt x="3600" y="2172"/>
                  </a:moveTo>
                  <a:lnTo>
                    <a:pt x="3606" y="2172"/>
                  </a:lnTo>
                  <a:lnTo>
                    <a:pt x="3600" y="2172"/>
                  </a:lnTo>
                  <a:close/>
                  <a:moveTo>
                    <a:pt x="3498" y="2136"/>
                  </a:moveTo>
                  <a:lnTo>
                    <a:pt x="3498" y="2142"/>
                  </a:lnTo>
                  <a:lnTo>
                    <a:pt x="3499" y="2142"/>
                  </a:lnTo>
                  <a:lnTo>
                    <a:pt x="3498" y="2136"/>
                  </a:lnTo>
                  <a:close/>
                  <a:moveTo>
                    <a:pt x="3576" y="2178"/>
                  </a:moveTo>
                  <a:lnTo>
                    <a:pt x="3582" y="2178"/>
                  </a:lnTo>
                  <a:lnTo>
                    <a:pt x="3576" y="2178"/>
                  </a:lnTo>
                  <a:close/>
                  <a:moveTo>
                    <a:pt x="3588" y="2178"/>
                  </a:moveTo>
                  <a:lnTo>
                    <a:pt x="3594" y="2178"/>
                  </a:lnTo>
                  <a:lnTo>
                    <a:pt x="3588" y="2178"/>
                  </a:lnTo>
                  <a:close/>
                  <a:moveTo>
                    <a:pt x="3612" y="2166"/>
                  </a:moveTo>
                  <a:lnTo>
                    <a:pt x="3612" y="2172"/>
                  </a:lnTo>
                  <a:lnTo>
                    <a:pt x="3613" y="2172"/>
                  </a:lnTo>
                  <a:lnTo>
                    <a:pt x="3612" y="2166"/>
                  </a:lnTo>
                  <a:close/>
                  <a:moveTo>
                    <a:pt x="3600" y="2172"/>
                  </a:moveTo>
                  <a:lnTo>
                    <a:pt x="3606" y="2172"/>
                  </a:lnTo>
                  <a:lnTo>
                    <a:pt x="3600" y="2172"/>
                  </a:lnTo>
                  <a:close/>
                  <a:moveTo>
                    <a:pt x="3594" y="2172"/>
                  </a:moveTo>
                  <a:lnTo>
                    <a:pt x="3600" y="2172"/>
                  </a:lnTo>
                  <a:lnTo>
                    <a:pt x="3594" y="2172"/>
                  </a:lnTo>
                  <a:close/>
                  <a:moveTo>
                    <a:pt x="3678" y="2112"/>
                  </a:moveTo>
                  <a:lnTo>
                    <a:pt x="3678" y="2118"/>
                  </a:lnTo>
                  <a:lnTo>
                    <a:pt x="3679" y="2118"/>
                  </a:lnTo>
                  <a:lnTo>
                    <a:pt x="3678" y="2112"/>
                  </a:lnTo>
                  <a:close/>
                  <a:moveTo>
                    <a:pt x="3588" y="2172"/>
                  </a:moveTo>
                  <a:lnTo>
                    <a:pt x="3594" y="2172"/>
                  </a:lnTo>
                  <a:lnTo>
                    <a:pt x="3594" y="2178"/>
                  </a:lnTo>
                  <a:lnTo>
                    <a:pt x="3588" y="2178"/>
                  </a:lnTo>
                  <a:lnTo>
                    <a:pt x="3588" y="2172"/>
                  </a:lnTo>
                  <a:close/>
                  <a:moveTo>
                    <a:pt x="3600" y="2166"/>
                  </a:moveTo>
                  <a:lnTo>
                    <a:pt x="3612" y="2166"/>
                  </a:lnTo>
                  <a:lnTo>
                    <a:pt x="3606" y="2172"/>
                  </a:lnTo>
                  <a:lnTo>
                    <a:pt x="3600" y="2172"/>
                  </a:lnTo>
                  <a:lnTo>
                    <a:pt x="3600" y="2166"/>
                  </a:lnTo>
                  <a:close/>
                  <a:moveTo>
                    <a:pt x="3594" y="2172"/>
                  </a:moveTo>
                  <a:lnTo>
                    <a:pt x="3600" y="2172"/>
                  </a:lnTo>
                  <a:lnTo>
                    <a:pt x="3600" y="2178"/>
                  </a:lnTo>
                  <a:lnTo>
                    <a:pt x="3594" y="2178"/>
                  </a:lnTo>
                  <a:lnTo>
                    <a:pt x="3594" y="2172"/>
                  </a:lnTo>
                  <a:close/>
                  <a:moveTo>
                    <a:pt x="3576" y="2178"/>
                  </a:moveTo>
                  <a:lnTo>
                    <a:pt x="3582" y="2178"/>
                  </a:lnTo>
                  <a:lnTo>
                    <a:pt x="3588" y="2178"/>
                  </a:lnTo>
                  <a:lnTo>
                    <a:pt x="3594" y="2178"/>
                  </a:lnTo>
                  <a:lnTo>
                    <a:pt x="3588" y="2178"/>
                  </a:lnTo>
                  <a:lnTo>
                    <a:pt x="3588" y="2184"/>
                  </a:lnTo>
                  <a:lnTo>
                    <a:pt x="3582" y="2184"/>
                  </a:lnTo>
                  <a:lnTo>
                    <a:pt x="3582" y="2178"/>
                  </a:lnTo>
                  <a:lnTo>
                    <a:pt x="3576" y="2178"/>
                  </a:lnTo>
                  <a:close/>
                  <a:moveTo>
                    <a:pt x="3486" y="2160"/>
                  </a:moveTo>
                  <a:lnTo>
                    <a:pt x="3492" y="2154"/>
                  </a:lnTo>
                  <a:lnTo>
                    <a:pt x="3498" y="2154"/>
                  </a:lnTo>
                  <a:lnTo>
                    <a:pt x="3498" y="2160"/>
                  </a:lnTo>
                  <a:lnTo>
                    <a:pt x="3504" y="2160"/>
                  </a:lnTo>
                  <a:lnTo>
                    <a:pt x="3498" y="2160"/>
                  </a:lnTo>
                  <a:lnTo>
                    <a:pt x="3498" y="2166"/>
                  </a:lnTo>
                  <a:lnTo>
                    <a:pt x="3498" y="2160"/>
                  </a:lnTo>
                  <a:lnTo>
                    <a:pt x="3492" y="2160"/>
                  </a:lnTo>
                  <a:lnTo>
                    <a:pt x="3486" y="2160"/>
                  </a:lnTo>
                  <a:close/>
                  <a:moveTo>
                    <a:pt x="3498" y="2154"/>
                  </a:moveTo>
                  <a:lnTo>
                    <a:pt x="3498" y="2148"/>
                  </a:lnTo>
                  <a:lnTo>
                    <a:pt x="3498" y="2142"/>
                  </a:lnTo>
                  <a:lnTo>
                    <a:pt x="3504" y="2148"/>
                  </a:lnTo>
                  <a:lnTo>
                    <a:pt x="3510" y="2148"/>
                  </a:lnTo>
                  <a:lnTo>
                    <a:pt x="3504" y="2148"/>
                  </a:lnTo>
                  <a:lnTo>
                    <a:pt x="3504" y="2154"/>
                  </a:lnTo>
                  <a:lnTo>
                    <a:pt x="3498" y="2154"/>
                  </a:lnTo>
                  <a:close/>
                  <a:moveTo>
                    <a:pt x="4038" y="1722"/>
                  </a:moveTo>
                  <a:lnTo>
                    <a:pt x="4038" y="1728"/>
                  </a:lnTo>
                  <a:lnTo>
                    <a:pt x="4039" y="1728"/>
                  </a:lnTo>
                  <a:lnTo>
                    <a:pt x="4038" y="1722"/>
                  </a:lnTo>
                  <a:close/>
                  <a:moveTo>
                    <a:pt x="4158" y="1470"/>
                  </a:moveTo>
                  <a:lnTo>
                    <a:pt x="4158" y="1476"/>
                  </a:lnTo>
                  <a:lnTo>
                    <a:pt x="4159" y="1476"/>
                  </a:lnTo>
                  <a:lnTo>
                    <a:pt x="4158" y="1470"/>
                  </a:lnTo>
                  <a:close/>
                  <a:moveTo>
                    <a:pt x="4176" y="1386"/>
                  </a:moveTo>
                  <a:lnTo>
                    <a:pt x="4182" y="1386"/>
                  </a:lnTo>
                  <a:lnTo>
                    <a:pt x="4176" y="1386"/>
                  </a:lnTo>
                  <a:close/>
                  <a:moveTo>
                    <a:pt x="3966" y="1788"/>
                  </a:moveTo>
                  <a:lnTo>
                    <a:pt x="3972" y="1788"/>
                  </a:lnTo>
                  <a:lnTo>
                    <a:pt x="3966" y="1788"/>
                  </a:lnTo>
                  <a:close/>
                  <a:moveTo>
                    <a:pt x="3870" y="1992"/>
                  </a:moveTo>
                  <a:lnTo>
                    <a:pt x="3876" y="1992"/>
                  </a:lnTo>
                  <a:lnTo>
                    <a:pt x="3870" y="1992"/>
                  </a:lnTo>
                  <a:close/>
                  <a:moveTo>
                    <a:pt x="4068" y="1686"/>
                  </a:moveTo>
                  <a:lnTo>
                    <a:pt x="4074" y="1686"/>
                  </a:lnTo>
                  <a:lnTo>
                    <a:pt x="4068" y="1686"/>
                  </a:lnTo>
                  <a:close/>
                  <a:moveTo>
                    <a:pt x="4044" y="1728"/>
                  </a:moveTo>
                  <a:lnTo>
                    <a:pt x="4050" y="1728"/>
                  </a:lnTo>
                  <a:lnTo>
                    <a:pt x="4044" y="1728"/>
                  </a:lnTo>
                  <a:close/>
                  <a:moveTo>
                    <a:pt x="5232" y="1452"/>
                  </a:moveTo>
                  <a:lnTo>
                    <a:pt x="5238" y="1452"/>
                  </a:lnTo>
                  <a:lnTo>
                    <a:pt x="5232" y="1452"/>
                  </a:lnTo>
                  <a:close/>
                  <a:moveTo>
                    <a:pt x="4122" y="1578"/>
                  </a:moveTo>
                  <a:lnTo>
                    <a:pt x="4122" y="1584"/>
                  </a:lnTo>
                  <a:lnTo>
                    <a:pt x="4123" y="1584"/>
                  </a:lnTo>
                  <a:lnTo>
                    <a:pt x="4122" y="1578"/>
                  </a:lnTo>
                  <a:close/>
                  <a:moveTo>
                    <a:pt x="4152" y="1470"/>
                  </a:moveTo>
                  <a:lnTo>
                    <a:pt x="4158" y="1470"/>
                  </a:lnTo>
                  <a:lnTo>
                    <a:pt x="4152" y="1470"/>
                  </a:lnTo>
                  <a:close/>
                  <a:moveTo>
                    <a:pt x="5232" y="1440"/>
                  </a:moveTo>
                  <a:lnTo>
                    <a:pt x="5238" y="1440"/>
                  </a:lnTo>
                  <a:lnTo>
                    <a:pt x="5238" y="1446"/>
                  </a:lnTo>
                  <a:lnTo>
                    <a:pt x="5232" y="1446"/>
                  </a:lnTo>
                  <a:lnTo>
                    <a:pt x="5232" y="1440"/>
                  </a:lnTo>
                  <a:close/>
                  <a:moveTo>
                    <a:pt x="4560" y="1632"/>
                  </a:moveTo>
                  <a:lnTo>
                    <a:pt x="4566" y="1632"/>
                  </a:lnTo>
                  <a:lnTo>
                    <a:pt x="4560" y="1638"/>
                  </a:lnTo>
                  <a:lnTo>
                    <a:pt x="4560" y="1632"/>
                  </a:lnTo>
                  <a:close/>
                  <a:moveTo>
                    <a:pt x="3924" y="1902"/>
                  </a:moveTo>
                  <a:lnTo>
                    <a:pt x="3924" y="1908"/>
                  </a:lnTo>
                  <a:lnTo>
                    <a:pt x="3925" y="1908"/>
                  </a:lnTo>
                  <a:lnTo>
                    <a:pt x="3924" y="1902"/>
                  </a:lnTo>
                  <a:close/>
                  <a:moveTo>
                    <a:pt x="6" y="168"/>
                  </a:moveTo>
                  <a:lnTo>
                    <a:pt x="6" y="174"/>
                  </a:lnTo>
                  <a:lnTo>
                    <a:pt x="7" y="174"/>
                  </a:lnTo>
                  <a:lnTo>
                    <a:pt x="6" y="168"/>
                  </a:lnTo>
                  <a:close/>
                  <a:moveTo>
                    <a:pt x="0" y="168"/>
                  </a:moveTo>
                  <a:lnTo>
                    <a:pt x="0" y="174"/>
                  </a:lnTo>
                  <a:lnTo>
                    <a:pt x="1" y="174"/>
                  </a:lnTo>
                  <a:lnTo>
                    <a:pt x="0" y="168"/>
                  </a:lnTo>
                  <a:close/>
                  <a:moveTo>
                    <a:pt x="654" y="48"/>
                  </a:moveTo>
                  <a:lnTo>
                    <a:pt x="654" y="42"/>
                  </a:lnTo>
                  <a:lnTo>
                    <a:pt x="660" y="42"/>
                  </a:lnTo>
                  <a:lnTo>
                    <a:pt x="654" y="42"/>
                  </a:lnTo>
                  <a:lnTo>
                    <a:pt x="660" y="42"/>
                  </a:lnTo>
                  <a:lnTo>
                    <a:pt x="666" y="42"/>
                  </a:lnTo>
                  <a:lnTo>
                    <a:pt x="666" y="36"/>
                  </a:lnTo>
                  <a:lnTo>
                    <a:pt x="666" y="42"/>
                  </a:lnTo>
                  <a:lnTo>
                    <a:pt x="672" y="42"/>
                  </a:lnTo>
                  <a:lnTo>
                    <a:pt x="666" y="42"/>
                  </a:lnTo>
                  <a:lnTo>
                    <a:pt x="666" y="48"/>
                  </a:lnTo>
                  <a:lnTo>
                    <a:pt x="660" y="48"/>
                  </a:lnTo>
                  <a:lnTo>
                    <a:pt x="660" y="42"/>
                  </a:lnTo>
                  <a:lnTo>
                    <a:pt x="660" y="48"/>
                  </a:lnTo>
                  <a:lnTo>
                    <a:pt x="654" y="48"/>
                  </a:lnTo>
                  <a:close/>
                  <a:moveTo>
                    <a:pt x="1992" y="498"/>
                  </a:moveTo>
                  <a:lnTo>
                    <a:pt x="1998" y="498"/>
                  </a:lnTo>
                  <a:lnTo>
                    <a:pt x="1992" y="498"/>
                  </a:lnTo>
                  <a:close/>
                  <a:moveTo>
                    <a:pt x="2142" y="336"/>
                  </a:moveTo>
                  <a:lnTo>
                    <a:pt x="2142" y="342"/>
                  </a:lnTo>
                  <a:lnTo>
                    <a:pt x="2143" y="342"/>
                  </a:lnTo>
                  <a:lnTo>
                    <a:pt x="2142" y="336"/>
                  </a:lnTo>
                  <a:close/>
                  <a:moveTo>
                    <a:pt x="2172" y="330"/>
                  </a:moveTo>
                  <a:lnTo>
                    <a:pt x="2172" y="336"/>
                  </a:lnTo>
                  <a:lnTo>
                    <a:pt x="2173" y="336"/>
                  </a:lnTo>
                  <a:lnTo>
                    <a:pt x="2172" y="330"/>
                  </a:lnTo>
                  <a:close/>
                  <a:moveTo>
                    <a:pt x="2166" y="336"/>
                  </a:moveTo>
                  <a:lnTo>
                    <a:pt x="2172" y="336"/>
                  </a:lnTo>
                  <a:lnTo>
                    <a:pt x="2166" y="336"/>
                  </a:lnTo>
                  <a:close/>
                  <a:moveTo>
                    <a:pt x="1398" y="864"/>
                  </a:moveTo>
                  <a:lnTo>
                    <a:pt x="1398" y="870"/>
                  </a:lnTo>
                  <a:lnTo>
                    <a:pt x="1399" y="870"/>
                  </a:lnTo>
                  <a:lnTo>
                    <a:pt x="1398" y="864"/>
                  </a:lnTo>
                  <a:close/>
                  <a:moveTo>
                    <a:pt x="2082" y="408"/>
                  </a:moveTo>
                  <a:lnTo>
                    <a:pt x="2088" y="408"/>
                  </a:lnTo>
                  <a:lnTo>
                    <a:pt x="2082" y="408"/>
                  </a:lnTo>
                  <a:close/>
                  <a:moveTo>
                    <a:pt x="1974" y="492"/>
                  </a:moveTo>
                  <a:lnTo>
                    <a:pt x="1968" y="492"/>
                  </a:lnTo>
                  <a:lnTo>
                    <a:pt x="1969" y="492"/>
                  </a:lnTo>
                  <a:lnTo>
                    <a:pt x="1974" y="492"/>
                  </a:lnTo>
                  <a:close/>
                  <a:moveTo>
                    <a:pt x="2184" y="330"/>
                  </a:moveTo>
                  <a:lnTo>
                    <a:pt x="2184" y="336"/>
                  </a:lnTo>
                  <a:lnTo>
                    <a:pt x="2185" y="336"/>
                  </a:lnTo>
                  <a:lnTo>
                    <a:pt x="2184" y="330"/>
                  </a:lnTo>
                  <a:close/>
                  <a:moveTo>
                    <a:pt x="1830" y="1812"/>
                  </a:moveTo>
                  <a:lnTo>
                    <a:pt x="1836" y="1812"/>
                  </a:lnTo>
                  <a:lnTo>
                    <a:pt x="1830" y="1812"/>
                  </a:lnTo>
                  <a:close/>
                  <a:moveTo>
                    <a:pt x="1482" y="810"/>
                  </a:moveTo>
                  <a:lnTo>
                    <a:pt x="1482" y="816"/>
                  </a:lnTo>
                  <a:lnTo>
                    <a:pt x="1483" y="816"/>
                  </a:lnTo>
                  <a:lnTo>
                    <a:pt x="1482" y="810"/>
                  </a:lnTo>
                  <a:close/>
                  <a:moveTo>
                    <a:pt x="2136" y="390"/>
                  </a:moveTo>
                  <a:lnTo>
                    <a:pt x="2142" y="390"/>
                  </a:lnTo>
                  <a:lnTo>
                    <a:pt x="2136" y="390"/>
                  </a:lnTo>
                  <a:close/>
                  <a:moveTo>
                    <a:pt x="2064" y="486"/>
                  </a:moveTo>
                  <a:lnTo>
                    <a:pt x="2064" y="492"/>
                  </a:lnTo>
                  <a:lnTo>
                    <a:pt x="2065" y="492"/>
                  </a:lnTo>
                  <a:lnTo>
                    <a:pt x="2064" y="486"/>
                  </a:lnTo>
                  <a:close/>
                  <a:moveTo>
                    <a:pt x="2130" y="342"/>
                  </a:moveTo>
                  <a:lnTo>
                    <a:pt x="2136" y="342"/>
                  </a:lnTo>
                  <a:lnTo>
                    <a:pt x="2130" y="342"/>
                  </a:lnTo>
                  <a:close/>
                  <a:moveTo>
                    <a:pt x="2112" y="414"/>
                  </a:moveTo>
                  <a:lnTo>
                    <a:pt x="2112" y="420"/>
                  </a:lnTo>
                  <a:lnTo>
                    <a:pt x="2113" y="420"/>
                  </a:lnTo>
                  <a:lnTo>
                    <a:pt x="2112" y="414"/>
                  </a:lnTo>
                  <a:close/>
                  <a:moveTo>
                    <a:pt x="1482" y="810"/>
                  </a:moveTo>
                  <a:lnTo>
                    <a:pt x="1482" y="816"/>
                  </a:lnTo>
                  <a:lnTo>
                    <a:pt x="1483" y="816"/>
                  </a:lnTo>
                  <a:lnTo>
                    <a:pt x="1482" y="810"/>
                  </a:lnTo>
                  <a:close/>
                  <a:moveTo>
                    <a:pt x="2076" y="402"/>
                  </a:moveTo>
                  <a:lnTo>
                    <a:pt x="2082" y="402"/>
                  </a:lnTo>
                  <a:lnTo>
                    <a:pt x="2076" y="402"/>
                  </a:lnTo>
                  <a:close/>
                  <a:moveTo>
                    <a:pt x="1392" y="816"/>
                  </a:moveTo>
                  <a:lnTo>
                    <a:pt x="1392" y="822"/>
                  </a:lnTo>
                  <a:lnTo>
                    <a:pt x="1393" y="822"/>
                  </a:lnTo>
                  <a:lnTo>
                    <a:pt x="1392" y="816"/>
                  </a:lnTo>
                  <a:close/>
                  <a:moveTo>
                    <a:pt x="1836" y="1818"/>
                  </a:moveTo>
                  <a:lnTo>
                    <a:pt x="1842" y="1818"/>
                  </a:lnTo>
                  <a:lnTo>
                    <a:pt x="1836" y="1818"/>
                  </a:lnTo>
                  <a:close/>
                  <a:moveTo>
                    <a:pt x="2112" y="342"/>
                  </a:moveTo>
                  <a:lnTo>
                    <a:pt x="2118" y="342"/>
                  </a:lnTo>
                  <a:lnTo>
                    <a:pt x="2118" y="348"/>
                  </a:lnTo>
                  <a:lnTo>
                    <a:pt x="2112" y="348"/>
                  </a:lnTo>
                  <a:lnTo>
                    <a:pt x="2112" y="342"/>
                  </a:lnTo>
                  <a:close/>
                  <a:moveTo>
                    <a:pt x="2328" y="432"/>
                  </a:moveTo>
                  <a:lnTo>
                    <a:pt x="2334" y="432"/>
                  </a:lnTo>
                  <a:lnTo>
                    <a:pt x="2328" y="432"/>
                  </a:lnTo>
                  <a:close/>
                  <a:moveTo>
                    <a:pt x="2124" y="378"/>
                  </a:moveTo>
                  <a:lnTo>
                    <a:pt x="2130" y="378"/>
                  </a:lnTo>
                  <a:lnTo>
                    <a:pt x="2124" y="378"/>
                  </a:lnTo>
                  <a:close/>
                  <a:moveTo>
                    <a:pt x="2124" y="366"/>
                  </a:moveTo>
                  <a:lnTo>
                    <a:pt x="2124" y="372"/>
                  </a:lnTo>
                  <a:lnTo>
                    <a:pt x="2125" y="372"/>
                  </a:lnTo>
                  <a:lnTo>
                    <a:pt x="2124" y="366"/>
                  </a:lnTo>
                  <a:close/>
                  <a:moveTo>
                    <a:pt x="2178" y="294"/>
                  </a:moveTo>
                  <a:lnTo>
                    <a:pt x="2178" y="300"/>
                  </a:lnTo>
                  <a:lnTo>
                    <a:pt x="2179" y="300"/>
                  </a:lnTo>
                  <a:lnTo>
                    <a:pt x="2178" y="294"/>
                  </a:lnTo>
                  <a:close/>
                  <a:moveTo>
                    <a:pt x="2112" y="402"/>
                  </a:moveTo>
                  <a:lnTo>
                    <a:pt x="2118" y="402"/>
                  </a:lnTo>
                  <a:lnTo>
                    <a:pt x="2112" y="402"/>
                  </a:lnTo>
                  <a:close/>
                  <a:moveTo>
                    <a:pt x="2136" y="330"/>
                  </a:moveTo>
                  <a:lnTo>
                    <a:pt x="2142" y="330"/>
                  </a:lnTo>
                  <a:lnTo>
                    <a:pt x="2136" y="330"/>
                  </a:lnTo>
                  <a:close/>
                  <a:moveTo>
                    <a:pt x="1998" y="498"/>
                  </a:moveTo>
                  <a:lnTo>
                    <a:pt x="2004" y="498"/>
                  </a:lnTo>
                  <a:lnTo>
                    <a:pt x="1998" y="498"/>
                  </a:lnTo>
                  <a:close/>
                  <a:moveTo>
                    <a:pt x="1296" y="942"/>
                  </a:moveTo>
                  <a:lnTo>
                    <a:pt x="1296" y="948"/>
                  </a:lnTo>
                  <a:lnTo>
                    <a:pt x="1297" y="948"/>
                  </a:lnTo>
                  <a:lnTo>
                    <a:pt x="1296" y="942"/>
                  </a:lnTo>
                  <a:close/>
                  <a:moveTo>
                    <a:pt x="1320" y="918"/>
                  </a:moveTo>
                  <a:lnTo>
                    <a:pt x="1320" y="924"/>
                  </a:lnTo>
                  <a:lnTo>
                    <a:pt x="1321" y="924"/>
                  </a:lnTo>
                  <a:lnTo>
                    <a:pt x="1320" y="918"/>
                  </a:lnTo>
                  <a:close/>
                  <a:moveTo>
                    <a:pt x="1896" y="1818"/>
                  </a:moveTo>
                  <a:lnTo>
                    <a:pt x="1896" y="1824"/>
                  </a:lnTo>
                  <a:lnTo>
                    <a:pt x="1897" y="1824"/>
                  </a:lnTo>
                  <a:lnTo>
                    <a:pt x="1896" y="1818"/>
                  </a:lnTo>
                  <a:close/>
                  <a:moveTo>
                    <a:pt x="2058" y="414"/>
                  </a:moveTo>
                  <a:lnTo>
                    <a:pt x="2064" y="414"/>
                  </a:lnTo>
                  <a:lnTo>
                    <a:pt x="2058" y="414"/>
                  </a:lnTo>
                  <a:close/>
                  <a:moveTo>
                    <a:pt x="1398" y="798"/>
                  </a:moveTo>
                  <a:lnTo>
                    <a:pt x="1398" y="804"/>
                  </a:lnTo>
                  <a:lnTo>
                    <a:pt x="1399" y="804"/>
                  </a:lnTo>
                  <a:lnTo>
                    <a:pt x="1398" y="798"/>
                  </a:lnTo>
                  <a:close/>
                  <a:moveTo>
                    <a:pt x="1980" y="486"/>
                  </a:moveTo>
                  <a:lnTo>
                    <a:pt x="1986" y="486"/>
                  </a:lnTo>
                  <a:lnTo>
                    <a:pt x="1980" y="486"/>
                  </a:lnTo>
                  <a:close/>
                  <a:moveTo>
                    <a:pt x="2010" y="486"/>
                  </a:moveTo>
                  <a:lnTo>
                    <a:pt x="2016" y="486"/>
                  </a:lnTo>
                  <a:lnTo>
                    <a:pt x="2010" y="486"/>
                  </a:lnTo>
                  <a:close/>
                  <a:moveTo>
                    <a:pt x="2070" y="456"/>
                  </a:moveTo>
                  <a:lnTo>
                    <a:pt x="2076" y="456"/>
                  </a:lnTo>
                  <a:lnTo>
                    <a:pt x="2070" y="456"/>
                  </a:lnTo>
                  <a:close/>
                  <a:moveTo>
                    <a:pt x="2316" y="324"/>
                  </a:moveTo>
                  <a:lnTo>
                    <a:pt x="2322" y="324"/>
                  </a:lnTo>
                  <a:lnTo>
                    <a:pt x="2316" y="324"/>
                  </a:lnTo>
                  <a:close/>
                  <a:moveTo>
                    <a:pt x="2154" y="318"/>
                  </a:moveTo>
                  <a:lnTo>
                    <a:pt x="2160" y="318"/>
                  </a:lnTo>
                  <a:lnTo>
                    <a:pt x="2154" y="318"/>
                  </a:lnTo>
                  <a:close/>
                  <a:moveTo>
                    <a:pt x="2022" y="480"/>
                  </a:moveTo>
                  <a:lnTo>
                    <a:pt x="2028" y="480"/>
                  </a:lnTo>
                  <a:lnTo>
                    <a:pt x="2022" y="480"/>
                  </a:lnTo>
                  <a:close/>
                  <a:moveTo>
                    <a:pt x="2328" y="426"/>
                  </a:moveTo>
                  <a:lnTo>
                    <a:pt x="2328" y="432"/>
                  </a:lnTo>
                  <a:lnTo>
                    <a:pt x="2329" y="432"/>
                  </a:lnTo>
                  <a:lnTo>
                    <a:pt x="2328" y="426"/>
                  </a:lnTo>
                  <a:close/>
                  <a:moveTo>
                    <a:pt x="2106" y="378"/>
                  </a:moveTo>
                  <a:lnTo>
                    <a:pt x="2112" y="378"/>
                  </a:lnTo>
                  <a:lnTo>
                    <a:pt x="2106" y="378"/>
                  </a:lnTo>
                  <a:close/>
                  <a:moveTo>
                    <a:pt x="2094" y="378"/>
                  </a:moveTo>
                  <a:lnTo>
                    <a:pt x="2100" y="378"/>
                  </a:lnTo>
                  <a:lnTo>
                    <a:pt x="2100" y="384"/>
                  </a:lnTo>
                  <a:lnTo>
                    <a:pt x="2094" y="384"/>
                  </a:lnTo>
                  <a:lnTo>
                    <a:pt x="2094" y="378"/>
                  </a:lnTo>
                  <a:close/>
                  <a:moveTo>
                    <a:pt x="1950" y="1818"/>
                  </a:moveTo>
                  <a:lnTo>
                    <a:pt x="1950" y="1824"/>
                  </a:lnTo>
                  <a:lnTo>
                    <a:pt x="1951" y="1824"/>
                  </a:lnTo>
                  <a:lnTo>
                    <a:pt x="1950" y="1818"/>
                  </a:lnTo>
                  <a:close/>
                  <a:moveTo>
                    <a:pt x="1992" y="498"/>
                  </a:moveTo>
                  <a:lnTo>
                    <a:pt x="1998" y="498"/>
                  </a:lnTo>
                  <a:lnTo>
                    <a:pt x="1992" y="498"/>
                  </a:lnTo>
                  <a:close/>
                  <a:moveTo>
                    <a:pt x="1896" y="522"/>
                  </a:moveTo>
                  <a:lnTo>
                    <a:pt x="1896" y="528"/>
                  </a:lnTo>
                  <a:lnTo>
                    <a:pt x="1890" y="528"/>
                  </a:lnTo>
                  <a:lnTo>
                    <a:pt x="1896" y="522"/>
                  </a:lnTo>
                  <a:close/>
                  <a:moveTo>
                    <a:pt x="1548" y="1896"/>
                  </a:moveTo>
                  <a:lnTo>
                    <a:pt x="1548" y="1902"/>
                  </a:lnTo>
                  <a:lnTo>
                    <a:pt x="1549" y="1902"/>
                  </a:lnTo>
                  <a:lnTo>
                    <a:pt x="1548" y="1896"/>
                  </a:lnTo>
                  <a:close/>
                  <a:moveTo>
                    <a:pt x="2022" y="468"/>
                  </a:moveTo>
                  <a:lnTo>
                    <a:pt x="2022" y="474"/>
                  </a:lnTo>
                  <a:lnTo>
                    <a:pt x="2023" y="474"/>
                  </a:lnTo>
                  <a:lnTo>
                    <a:pt x="2022" y="468"/>
                  </a:lnTo>
                  <a:close/>
                  <a:moveTo>
                    <a:pt x="2016" y="480"/>
                  </a:moveTo>
                  <a:lnTo>
                    <a:pt x="2022" y="480"/>
                  </a:lnTo>
                  <a:lnTo>
                    <a:pt x="2016" y="480"/>
                  </a:lnTo>
                  <a:close/>
                  <a:moveTo>
                    <a:pt x="1836" y="1830"/>
                  </a:moveTo>
                  <a:lnTo>
                    <a:pt x="1842" y="1830"/>
                  </a:lnTo>
                  <a:lnTo>
                    <a:pt x="1836" y="1830"/>
                  </a:lnTo>
                  <a:close/>
                  <a:moveTo>
                    <a:pt x="1992" y="558"/>
                  </a:moveTo>
                  <a:lnTo>
                    <a:pt x="1992" y="564"/>
                  </a:lnTo>
                  <a:lnTo>
                    <a:pt x="1993" y="564"/>
                  </a:lnTo>
                  <a:lnTo>
                    <a:pt x="1992" y="558"/>
                  </a:lnTo>
                  <a:close/>
                  <a:moveTo>
                    <a:pt x="2106" y="378"/>
                  </a:moveTo>
                  <a:lnTo>
                    <a:pt x="2106" y="384"/>
                  </a:lnTo>
                  <a:lnTo>
                    <a:pt x="2107" y="384"/>
                  </a:lnTo>
                  <a:lnTo>
                    <a:pt x="2106" y="378"/>
                  </a:lnTo>
                  <a:close/>
                  <a:moveTo>
                    <a:pt x="2370" y="372"/>
                  </a:moveTo>
                  <a:lnTo>
                    <a:pt x="2370" y="378"/>
                  </a:lnTo>
                  <a:lnTo>
                    <a:pt x="2371" y="378"/>
                  </a:lnTo>
                  <a:lnTo>
                    <a:pt x="2370" y="372"/>
                  </a:lnTo>
                  <a:close/>
                  <a:moveTo>
                    <a:pt x="2208" y="318"/>
                  </a:moveTo>
                  <a:lnTo>
                    <a:pt x="2208" y="324"/>
                  </a:lnTo>
                  <a:lnTo>
                    <a:pt x="2209" y="324"/>
                  </a:lnTo>
                  <a:lnTo>
                    <a:pt x="2208" y="318"/>
                  </a:lnTo>
                  <a:close/>
                  <a:moveTo>
                    <a:pt x="2214" y="318"/>
                  </a:moveTo>
                  <a:lnTo>
                    <a:pt x="2214" y="324"/>
                  </a:lnTo>
                  <a:lnTo>
                    <a:pt x="2215" y="324"/>
                  </a:lnTo>
                  <a:lnTo>
                    <a:pt x="2214" y="318"/>
                  </a:lnTo>
                  <a:close/>
                  <a:moveTo>
                    <a:pt x="1242" y="1386"/>
                  </a:moveTo>
                  <a:lnTo>
                    <a:pt x="1242" y="1392"/>
                  </a:lnTo>
                  <a:lnTo>
                    <a:pt x="1236" y="1392"/>
                  </a:lnTo>
                  <a:lnTo>
                    <a:pt x="1242" y="1386"/>
                  </a:lnTo>
                  <a:close/>
                  <a:moveTo>
                    <a:pt x="1554" y="810"/>
                  </a:moveTo>
                  <a:lnTo>
                    <a:pt x="1560" y="810"/>
                  </a:lnTo>
                  <a:lnTo>
                    <a:pt x="1554" y="810"/>
                  </a:lnTo>
                  <a:close/>
                  <a:moveTo>
                    <a:pt x="2166" y="318"/>
                  </a:moveTo>
                  <a:lnTo>
                    <a:pt x="2166" y="324"/>
                  </a:lnTo>
                  <a:lnTo>
                    <a:pt x="2167" y="324"/>
                  </a:lnTo>
                  <a:lnTo>
                    <a:pt x="2166" y="318"/>
                  </a:lnTo>
                  <a:close/>
                  <a:moveTo>
                    <a:pt x="2034" y="474"/>
                  </a:moveTo>
                  <a:lnTo>
                    <a:pt x="2034" y="480"/>
                  </a:lnTo>
                  <a:lnTo>
                    <a:pt x="2035" y="480"/>
                  </a:lnTo>
                  <a:lnTo>
                    <a:pt x="2034" y="474"/>
                  </a:lnTo>
                  <a:close/>
                  <a:moveTo>
                    <a:pt x="2172" y="318"/>
                  </a:moveTo>
                  <a:lnTo>
                    <a:pt x="2178" y="318"/>
                  </a:lnTo>
                  <a:lnTo>
                    <a:pt x="2178" y="324"/>
                  </a:lnTo>
                  <a:lnTo>
                    <a:pt x="2172" y="324"/>
                  </a:lnTo>
                  <a:lnTo>
                    <a:pt x="2172" y="318"/>
                  </a:lnTo>
                  <a:close/>
                  <a:moveTo>
                    <a:pt x="2148" y="348"/>
                  </a:moveTo>
                  <a:lnTo>
                    <a:pt x="2148" y="354"/>
                  </a:lnTo>
                  <a:lnTo>
                    <a:pt x="2149" y="354"/>
                  </a:lnTo>
                  <a:lnTo>
                    <a:pt x="2148" y="348"/>
                  </a:lnTo>
                  <a:close/>
                  <a:moveTo>
                    <a:pt x="2040" y="480"/>
                  </a:moveTo>
                  <a:lnTo>
                    <a:pt x="2046" y="480"/>
                  </a:lnTo>
                  <a:lnTo>
                    <a:pt x="2040" y="480"/>
                  </a:lnTo>
                  <a:close/>
                  <a:moveTo>
                    <a:pt x="2022" y="474"/>
                  </a:moveTo>
                  <a:lnTo>
                    <a:pt x="2028" y="474"/>
                  </a:lnTo>
                  <a:lnTo>
                    <a:pt x="2022" y="474"/>
                  </a:lnTo>
                  <a:close/>
                  <a:moveTo>
                    <a:pt x="1254" y="1254"/>
                  </a:moveTo>
                  <a:lnTo>
                    <a:pt x="1254" y="1260"/>
                  </a:lnTo>
                  <a:lnTo>
                    <a:pt x="1255" y="1260"/>
                  </a:lnTo>
                  <a:lnTo>
                    <a:pt x="1254" y="1254"/>
                  </a:lnTo>
                  <a:close/>
                  <a:moveTo>
                    <a:pt x="1506" y="792"/>
                  </a:moveTo>
                  <a:lnTo>
                    <a:pt x="1506" y="798"/>
                  </a:lnTo>
                  <a:lnTo>
                    <a:pt x="1507" y="798"/>
                  </a:lnTo>
                  <a:lnTo>
                    <a:pt x="1506" y="792"/>
                  </a:lnTo>
                  <a:close/>
                  <a:moveTo>
                    <a:pt x="2004" y="468"/>
                  </a:moveTo>
                  <a:lnTo>
                    <a:pt x="2004" y="474"/>
                  </a:lnTo>
                  <a:lnTo>
                    <a:pt x="2005" y="474"/>
                  </a:lnTo>
                  <a:lnTo>
                    <a:pt x="2004" y="468"/>
                  </a:lnTo>
                  <a:close/>
                  <a:moveTo>
                    <a:pt x="2088" y="378"/>
                  </a:moveTo>
                  <a:lnTo>
                    <a:pt x="2094" y="378"/>
                  </a:lnTo>
                  <a:lnTo>
                    <a:pt x="2094" y="384"/>
                  </a:lnTo>
                  <a:lnTo>
                    <a:pt x="2088" y="384"/>
                  </a:lnTo>
                  <a:lnTo>
                    <a:pt x="2088" y="378"/>
                  </a:lnTo>
                  <a:close/>
                  <a:moveTo>
                    <a:pt x="1380" y="870"/>
                  </a:moveTo>
                  <a:lnTo>
                    <a:pt x="1386" y="870"/>
                  </a:lnTo>
                  <a:lnTo>
                    <a:pt x="1380" y="870"/>
                  </a:lnTo>
                  <a:close/>
                  <a:moveTo>
                    <a:pt x="1572" y="798"/>
                  </a:moveTo>
                  <a:lnTo>
                    <a:pt x="1578" y="798"/>
                  </a:lnTo>
                  <a:lnTo>
                    <a:pt x="1572" y="798"/>
                  </a:lnTo>
                  <a:close/>
                  <a:moveTo>
                    <a:pt x="2190" y="330"/>
                  </a:moveTo>
                  <a:lnTo>
                    <a:pt x="2190" y="336"/>
                  </a:lnTo>
                  <a:lnTo>
                    <a:pt x="2191" y="336"/>
                  </a:lnTo>
                  <a:lnTo>
                    <a:pt x="2190" y="330"/>
                  </a:lnTo>
                  <a:close/>
                  <a:moveTo>
                    <a:pt x="2328" y="426"/>
                  </a:moveTo>
                  <a:lnTo>
                    <a:pt x="2334" y="426"/>
                  </a:lnTo>
                  <a:lnTo>
                    <a:pt x="2328" y="426"/>
                  </a:lnTo>
                  <a:close/>
                  <a:moveTo>
                    <a:pt x="2094" y="384"/>
                  </a:moveTo>
                  <a:lnTo>
                    <a:pt x="2100" y="384"/>
                  </a:lnTo>
                  <a:lnTo>
                    <a:pt x="2094" y="384"/>
                  </a:lnTo>
                  <a:close/>
                  <a:moveTo>
                    <a:pt x="1482" y="798"/>
                  </a:moveTo>
                  <a:lnTo>
                    <a:pt x="1482" y="804"/>
                  </a:lnTo>
                  <a:lnTo>
                    <a:pt x="1483" y="804"/>
                  </a:lnTo>
                  <a:lnTo>
                    <a:pt x="1482" y="798"/>
                  </a:lnTo>
                  <a:close/>
                  <a:moveTo>
                    <a:pt x="1998" y="468"/>
                  </a:moveTo>
                  <a:lnTo>
                    <a:pt x="2004" y="468"/>
                  </a:lnTo>
                  <a:lnTo>
                    <a:pt x="2004" y="474"/>
                  </a:lnTo>
                  <a:lnTo>
                    <a:pt x="1998" y="474"/>
                  </a:lnTo>
                  <a:lnTo>
                    <a:pt x="1998" y="468"/>
                  </a:lnTo>
                  <a:close/>
                  <a:moveTo>
                    <a:pt x="2100" y="384"/>
                  </a:moveTo>
                  <a:lnTo>
                    <a:pt x="2106" y="384"/>
                  </a:lnTo>
                  <a:lnTo>
                    <a:pt x="2100" y="384"/>
                  </a:lnTo>
                  <a:close/>
                  <a:moveTo>
                    <a:pt x="1998" y="558"/>
                  </a:moveTo>
                  <a:lnTo>
                    <a:pt x="2004" y="558"/>
                  </a:lnTo>
                  <a:lnTo>
                    <a:pt x="1998" y="558"/>
                  </a:lnTo>
                  <a:close/>
                  <a:moveTo>
                    <a:pt x="2004" y="486"/>
                  </a:moveTo>
                  <a:lnTo>
                    <a:pt x="2010" y="486"/>
                  </a:lnTo>
                  <a:lnTo>
                    <a:pt x="2004" y="486"/>
                  </a:lnTo>
                  <a:close/>
                  <a:moveTo>
                    <a:pt x="1992" y="1806"/>
                  </a:moveTo>
                  <a:lnTo>
                    <a:pt x="1998" y="1806"/>
                  </a:lnTo>
                  <a:lnTo>
                    <a:pt x="1998" y="1812"/>
                  </a:lnTo>
                  <a:lnTo>
                    <a:pt x="1992" y="1812"/>
                  </a:lnTo>
                  <a:lnTo>
                    <a:pt x="1992" y="1806"/>
                  </a:lnTo>
                  <a:close/>
                  <a:moveTo>
                    <a:pt x="1974" y="420"/>
                  </a:moveTo>
                  <a:lnTo>
                    <a:pt x="1974" y="426"/>
                  </a:lnTo>
                  <a:lnTo>
                    <a:pt x="1975" y="426"/>
                  </a:lnTo>
                  <a:lnTo>
                    <a:pt x="1974" y="420"/>
                  </a:lnTo>
                  <a:close/>
                  <a:moveTo>
                    <a:pt x="1968" y="492"/>
                  </a:moveTo>
                  <a:lnTo>
                    <a:pt x="1974" y="492"/>
                  </a:lnTo>
                  <a:lnTo>
                    <a:pt x="1968" y="492"/>
                  </a:lnTo>
                  <a:close/>
                  <a:moveTo>
                    <a:pt x="1836" y="1824"/>
                  </a:moveTo>
                  <a:lnTo>
                    <a:pt x="1842" y="1824"/>
                  </a:lnTo>
                  <a:lnTo>
                    <a:pt x="1836" y="1824"/>
                  </a:lnTo>
                  <a:close/>
                  <a:moveTo>
                    <a:pt x="1398" y="810"/>
                  </a:moveTo>
                  <a:lnTo>
                    <a:pt x="1398" y="816"/>
                  </a:lnTo>
                  <a:lnTo>
                    <a:pt x="1399" y="816"/>
                  </a:lnTo>
                  <a:lnTo>
                    <a:pt x="1398" y="810"/>
                  </a:lnTo>
                  <a:close/>
                  <a:moveTo>
                    <a:pt x="2106" y="378"/>
                  </a:moveTo>
                  <a:lnTo>
                    <a:pt x="2112" y="378"/>
                  </a:lnTo>
                  <a:lnTo>
                    <a:pt x="2106" y="378"/>
                  </a:lnTo>
                  <a:close/>
                  <a:moveTo>
                    <a:pt x="2214" y="300"/>
                  </a:moveTo>
                  <a:lnTo>
                    <a:pt x="2214" y="306"/>
                  </a:lnTo>
                  <a:lnTo>
                    <a:pt x="2215" y="306"/>
                  </a:lnTo>
                  <a:lnTo>
                    <a:pt x="2214" y="300"/>
                  </a:lnTo>
                  <a:close/>
                  <a:moveTo>
                    <a:pt x="2028" y="480"/>
                  </a:moveTo>
                  <a:lnTo>
                    <a:pt x="2028" y="486"/>
                  </a:lnTo>
                  <a:lnTo>
                    <a:pt x="2029" y="486"/>
                  </a:lnTo>
                  <a:lnTo>
                    <a:pt x="2028" y="480"/>
                  </a:lnTo>
                  <a:close/>
                  <a:moveTo>
                    <a:pt x="2346" y="396"/>
                  </a:moveTo>
                  <a:lnTo>
                    <a:pt x="2346" y="402"/>
                  </a:lnTo>
                  <a:lnTo>
                    <a:pt x="2347" y="402"/>
                  </a:lnTo>
                  <a:lnTo>
                    <a:pt x="2346" y="396"/>
                  </a:lnTo>
                  <a:close/>
                  <a:moveTo>
                    <a:pt x="1968" y="492"/>
                  </a:moveTo>
                  <a:lnTo>
                    <a:pt x="1974" y="492"/>
                  </a:lnTo>
                  <a:lnTo>
                    <a:pt x="1968" y="492"/>
                  </a:lnTo>
                  <a:close/>
                  <a:moveTo>
                    <a:pt x="1992" y="462"/>
                  </a:moveTo>
                  <a:lnTo>
                    <a:pt x="1992" y="468"/>
                  </a:lnTo>
                  <a:lnTo>
                    <a:pt x="1993" y="468"/>
                  </a:lnTo>
                  <a:lnTo>
                    <a:pt x="1992" y="462"/>
                  </a:lnTo>
                  <a:close/>
                  <a:moveTo>
                    <a:pt x="1236" y="1242"/>
                  </a:moveTo>
                  <a:lnTo>
                    <a:pt x="1236" y="1248"/>
                  </a:lnTo>
                  <a:lnTo>
                    <a:pt x="1237" y="1248"/>
                  </a:lnTo>
                  <a:lnTo>
                    <a:pt x="1236" y="1242"/>
                  </a:lnTo>
                  <a:close/>
                  <a:moveTo>
                    <a:pt x="2094" y="378"/>
                  </a:moveTo>
                  <a:lnTo>
                    <a:pt x="2094" y="384"/>
                  </a:lnTo>
                  <a:lnTo>
                    <a:pt x="2095" y="384"/>
                  </a:lnTo>
                  <a:lnTo>
                    <a:pt x="2094" y="378"/>
                  </a:lnTo>
                  <a:close/>
                  <a:moveTo>
                    <a:pt x="1998" y="504"/>
                  </a:moveTo>
                  <a:lnTo>
                    <a:pt x="2004" y="504"/>
                  </a:lnTo>
                  <a:lnTo>
                    <a:pt x="1998" y="504"/>
                  </a:lnTo>
                  <a:close/>
                  <a:moveTo>
                    <a:pt x="1836" y="1824"/>
                  </a:moveTo>
                  <a:lnTo>
                    <a:pt x="1842" y="1824"/>
                  </a:lnTo>
                  <a:lnTo>
                    <a:pt x="1836" y="1824"/>
                  </a:lnTo>
                  <a:close/>
                  <a:moveTo>
                    <a:pt x="1512" y="792"/>
                  </a:moveTo>
                  <a:lnTo>
                    <a:pt x="1512" y="798"/>
                  </a:lnTo>
                  <a:lnTo>
                    <a:pt x="1513" y="798"/>
                  </a:lnTo>
                  <a:lnTo>
                    <a:pt x="1512" y="792"/>
                  </a:lnTo>
                  <a:close/>
                  <a:moveTo>
                    <a:pt x="2082" y="402"/>
                  </a:moveTo>
                  <a:lnTo>
                    <a:pt x="2088" y="402"/>
                  </a:lnTo>
                  <a:lnTo>
                    <a:pt x="2088" y="408"/>
                  </a:lnTo>
                  <a:lnTo>
                    <a:pt x="2082" y="408"/>
                  </a:lnTo>
                  <a:lnTo>
                    <a:pt x="2082" y="402"/>
                  </a:lnTo>
                  <a:close/>
                  <a:moveTo>
                    <a:pt x="2082" y="444"/>
                  </a:moveTo>
                  <a:lnTo>
                    <a:pt x="2088" y="444"/>
                  </a:lnTo>
                  <a:lnTo>
                    <a:pt x="2082" y="444"/>
                  </a:lnTo>
                  <a:close/>
                  <a:moveTo>
                    <a:pt x="2004" y="474"/>
                  </a:moveTo>
                  <a:lnTo>
                    <a:pt x="2004" y="480"/>
                  </a:lnTo>
                  <a:lnTo>
                    <a:pt x="2005" y="480"/>
                  </a:lnTo>
                  <a:lnTo>
                    <a:pt x="2004" y="474"/>
                  </a:lnTo>
                  <a:close/>
                  <a:moveTo>
                    <a:pt x="2100" y="408"/>
                  </a:moveTo>
                  <a:lnTo>
                    <a:pt x="2106" y="408"/>
                  </a:lnTo>
                  <a:lnTo>
                    <a:pt x="2100" y="408"/>
                  </a:lnTo>
                  <a:close/>
                  <a:moveTo>
                    <a:pt x="2028" y="486"/>
                  </a:moveTo>
                  <a:lnTo>
                    <a:pt x="2034" y="486"/>
                  </a:lnTo>
                  <a:lnTo>
                    <a:pt x="2028" y="486"/>
                  </a:lnTo>
                  <a:close/>
                  <a:moveTo>
                    <a:pt x="2004" y="486"/>
                  </a:moveTo>
                  <a:lnTo>
                    <a:pt x="2010" y="486"/>
                  </a:lnTo>
                  <a:lnTo>
                    <a:pt x="2004" y="486"/>
                  </a:lnTo>
                  <a:close/>
                  <a:moveTo>
                    <a:pt x="1992" y="468"/>
                  </a:moveTo>
                  <a:lnTo>
                    <a:pt x="1998" y="468"/>
                  </a:lnTo>
                  <a:lnTo>
                    <a:pt x="1992" y="468"/>
                  </a:lnTo>
                  <a:close/>
                  <a:moveTo>
                    <a:pt x="1896" y="1818"/>
                  </a:moveTo>
                  <a:lnTo>
                    <a:pt x="1902" y="1818"/>
                  </a:lnTo>
                  <a:lnTo>
                    <a:pt x="1896" y="1818"/>
                  </a:lnTo>
                  <a:close/>
                  <a:moveTo>
                    <a:pt x="2112" y="336"/>
                  </a:moveTo>
                  <a:lnTo>
                    <a:pt x="2112" y="342"/>
                  </a:lnTo>
                  <a:lnTo>
                    <a:pt x="2113" y="342"/>
                  </a:lnTo>
                  <a:lnTo>
                    <a:pt x="2112" y="336"/>
                  </a:lnTo>
                  <a:close/>
                  <a:moveTo>
                    <a:pt x="1974" y="492"/>
                  </a:moveTo>
                  <a:lnTo>
                    <a:pt x="1980" y="492"/>
                  </a:lnTo>
                  <a:lnTo>
                    <a:pt x="1974" y="492"/>
                  </a:lnTo>
                  <a:close/>
                  <a:moveTo>
                    <a:pt x="1494" y="792"/>
                  </a:moveTo>
                  <a:lnTo>
                    <a:pt x="1494" y="798"/>
                  </a:lnTo>
                  <a:lnTo>
                    <a:pt x="1495" y="798"/>
                  </a:lnTo>
                  <a:lnTo>
                    <a:pt x="1494" y="792"/>
                  </a:lnTo>
                  <a:close/>
                  <a:moveTo>
                    <a:pt x="1248" y="1128"/>
                  </a:moveTo>
                  <a:lnTo>
                    <a:pt x="1248" y="1134"/>
                  </a:lnTo>
                  <a:lnTo>
                    <a:pt x="1249" y="1134"/>
                  </a:lnTo>
                  <a:lnTo>
                    <a:pt x="1248" y="1128"/>
                  </a:lnTo>
                  <a:close/>
                  <a:moveTo>
                    <a:pt x="1380" y="828"/>
                  </a:moveTo>
                  <a:lnTo>
                    <a:pt x="1380" y="834"/>
                  </a:lnTo>
                  <a:lnTo>
                    <a:pt x="1381" y="834"/>
                  </a:lnTo>
                  <a:lnTo>
                    <a:pt x="1380" y="828"/>
                  </a:lnTo>
                  <a:close/>
                  <a:moveTo>
                    <a:pt x="1998" y="552"/>
                  </a:moveTo>
                  <a:lnTo>
                    <a:pt x="2004" y="552"/>
                  </a:lnTo>
                  <a:lnTo>
                    <a:pt x="2004" y="558"/>
                  </a:lnTo>
                  <a:lnTo>
                    <a:pt x="1998" y="558"/>
                  </a:lnTo>
                  <a:lnTo>
                    <a:pt x="1998" y="552"/>
                  </a:lnTo>
                  <a:close/>
                  <a:moveTo>
                    <a:pt x="2040" y="468"/>
                  </a:moveTo>
                  <a:lnTo>
                    <a:pt x="2046" y="468"/>
                  </a:lnTo>
                  <a:lnTo>
                    <a:pt x="2046" y="474"/>
                  </a:lnTo>
                  <a:lnTo>
                    <a:pt x="2040" y="474"/>
                  </a:lnTo>
                  <a:lnTo>
                    <a:pt x="2040" y="468"/>
                  </a:lnTo>
                  <a:close/>
                  <a:moveTo>
                    <a:pt x="1248" y="1260"/>
                  </a:moveTo>
                  <a:lnTo>
                    <a:pt x="1248" y="1266"/>
                  </a:lnTo>
                  <a:lnTo>
                    <a:pt x="1249" y="1266"/>
                  </a:lnTo>
                  <a:lnTo>
                    <a:pt x="1248" y="1260"/>
                  </a:lnTo>
                  <a:close/>
                  <a:moveTo>
                    <a:pt x="2088" y="486"/>
                  </a:moveTo>
                  <a:lnTo>
                    <a:pt x="2088" y="492"/>
                  </a:lnTo>
                  <a:lnTo>
                    <a:pt x="2089" y="492"/>
                  </a:lnTo>
                  <a:lnTo>
                    <a:pt x="2088" y="486"/>
                  </a:lnTo>
                  <a:close/>
                  <a:moveTo>
                    <a:pt x="1992" y="468"/>
                  </a:moveTo>
                  <a:lnTo>
                    <a:pt x="1998" y="468"/>
                  </a:lnTo>
                  <a:lnTo>
                    <a:pt x="1998" y="474"/>
                  </a:lnTo>
                  <a:lnTo>
                    <a:pt x="1992" y="474"/>
                  </a:lnTo>
                  <a:lnTo>
                    <a:pt x="1992" y="468"/>
                  </a:lnTo>
                  <a:close/>
                  <a:moveTo>
                    <a:pt x="2112" y="408"/>
                  </a:moveTo>
                  <a:lnTo>
                    <a:pt x="2112" y="414"/>
                  </a:lnTo>
                  <a:lnTo>
                    <a:pt x="2113" y="414"/>
                  </a:lnTo>
                  <a:lnTo>
                    <a:pt x="2112" y="408"/>
                  </a:lnTo>
                  <a:close/>
                  <a:moveTo>
                    <a:pt x="2130" y="354"/>
                  </a:moveTo>
                  <a:lnTo>
                    <a:pt x="2130" y="360"/>
                  </a:lnTo>
                  <a:lnTo>
                    <a:pt x="2131" y="360"/>
                  </a:lnTo>
                  <a:lnTo>
                    <a:pt x="2130" y="354"/>
                  </a:lnTo>
                  <a:close/>
                  <a:moveTo>
                    <a:pt x="2130" y="390"/>
                  </a:moveTo>
                  <a:lnTo>
                    <a:pt x="2136" y="390"/>
                  </a:lnTo>
                  <a:lnTo>
                    <a:pt x="2130" y="390"/>
                  </a:lnTo>
                  <a:close/>
                  <a:moveTo>
                    <a:pt x="1998" y="480"/>
                  </a:moveTo>
                  <a:lnTo>
                    <a:pt x="2004" y="480"/>
                  </a:lnTo>
                  <a:lnTo>
                    <a:pt x="1998" y="480"/>
                  </a:lnTo>
                  <a:close/>
                  <a:moveTo>
                    <a:pt x="2076" y="486"/>
                  </a:moveTo>
                  <a:lnTo>
                    <a:pt x="2082" y="486"/>
                  </a:lnTo>
                  <a:lnTo>
                    <a:pt x="2076" y="486"/>
                  </a:lnTo>
                  <a:close/>
                  <a:moveTo>
                    <a:pt x="2190" y="324"/>
                  </a:moveTo>
                  <a:lnTo>
                    <a:pt x="2196" y="324"/>
                  </a:lnTo>
                  <a:lnTo>
                    <a:pt x="2196" y="330"/>
                  </a:lnTo>
                  <a:lnTo>
                    <a:pt x="2190" y="330"/>
                  </a:lnTo>
                  <a:lnTo>
                    <a:pt x="2190" y="324"/>
                  </a:lnTo>
                  <a:close/>
                  <a:moveTo>
                    <a:pt x="1992" y="480"/>
                  </a:moveTo>
                  <a:lnTo>
                    <a:pt x="1998" y="480"/>
                  </a:lnTo>
                  <a:lnTo>
                    <a:pt x="1992" y="480"/>
                  </a:lnTo>
                  <a:close/>
                  <a:moveTo>
                    <a:pt x="1308" y="882"/>
                  </a:moveTo>
                  <a:lnTo>
                    <a:pt x="1308" y="888"/>
                  </a:lnTo>
                  <a:lnTo>
                    <a:pt x="1309" y="888"/>
                  </a:lnTo>
                  <a:lnTo>
                    <a:pt x="1308" y="882"/>
                  </a:lnTo>
                  <a:close/>
                  <a:moveTo>
                    <a:pt x="1248" y="1398"/>
                  </a:moveTo>
                  <a:lnTo>
                    <a:pt x="1248" y="1404"/>
                  </a:lnTo>
                  <a:lnTo>
                    <a:pt x="1249" y="1404"/>
                  </a:lnTo>
                  <a:lnTo>
                    <a:pt x="1248" y="1398"/>
                  </a:lnTo>
                  <a:close/>
                  <a:moveTo>
                    <a:pt x="2370" y="378"/>
                  </a:moveTo>
                  <a:lnTo>
                    <a:pt x="2376" y="378"/>
                  </a:lnTo>
                  <a:lnTo>
                    <a:pt x="2370" y="378"/>
                  </a:lnTo>
                  <a:close/>
                  <a:moveTo>
                    <a:pt x="2130" y="354"/>
                  </a:moveTo>
                  <a:lnTo>
                    <a:pt x="2136" y="354"/>
                  </a:lnTo>
                  <a:lnTo>
                    <a:pt x="2136" y="360"/>
                  </a:lnTo>
                  <a:lnTo>
                    <a:pt x="2130" y="360"/>
                  </a:lnTo>
                  <a:lnTo>
                    <a:pt x="2130" y="354"/>
                  </a:lnTo>
                  <a:close/>
                  <a:moveTo>
                    <a:pt x="1332" y="882"/>
                  </a:moveTo>
                  <a:lnTo>
                    <a:pt x="1332" y="888"/>
                  </a:lnTo>
                  <a:lnTo>
                    <a:pt x="1333" y="888"/>
                  </a:lnTo>
                  <a:lnTo>
                    <a:pt x="1332" y="882"/>
                  </a:lnTo>
                  <a:close/>
                  <a:moveTo>
                    <a:pt x="2220" y="306"/>
                  </a:moveTo>
                  <a:lnTo>
                    <a:pt x="2220" y="312"/>
                  </a:lnTo>
                  <a:lnTo>
                    <a:pt x="2221" y="312"/>
                  </a:lnTo>
                  <a:lnTo>
                    <a:pt x="2220" y="306"/>
                  </a:lnTo>
                  <a:close/>
                  <a:moveTo>
                    <a:pt x="2202" y="306"/>
                  </a:moveTo>
                  <a:lnTo>
                    <a:pt x="2208" y="306"/>
                  </a:lnTo>
                  <a:lnTo>
                    <a:pt x="2202" y="306"/>
                  </a:lnTo>
                  <a:close/>
                  <a:moveTo>
                    <a:pt x="1998" y="462"/>
                  </a:moveTo>
                  <a:lnTo>
                    <a:pt x="2004" y="462"/>
                  </a:lnTo>
                  <a:lnTo>
                    <a:pt x="1998" y="462"/>
                  </a:lnTo>
                  <a:close/>
                  <a:moveTo>
                    <a:pt x="2004" y="468"/>
                  </a:moveTo>
                  <a:lnTo>
                    <a:pt x="2010" y="468"/>
                  </a:lnTo>
                  <a:lnTo>
                    <a:pt x="2004" y="468"/>
                  </a:lnTo>
                  <a:close/>
                  <a:moveTo>
                    <a:pt x="1506" y="810"/>
                  </a:moveTo>
                  <a:lnTo>
                    <a:pt x="1512" y="810"/>
                  </a:lnTo>
                  <a:lnTo>
                    <a:pt x="1506" y="810"/>
                  </a:lnTo>
                  <a:close/>
                  <a:moveTo>
                    <a:pt x="2148" y="342"/>
                  </a:moveTo>
                  <a:lnTo>
                    <a:pt x="2154" y="342"/>
                  </a:lnTo>
                  <a:lnTo>
                    <a:pt x="2154" y="348"/>
                  </a:lnTo>
                  <a:lnTo>
                    <a:pt x="2148" y="348"/>
                  </a:lnTo>
                  <a:lnTo>
                    <a:pt x="2148" y="342"/>
                  </a:lnTo>
                  <a:close/>
                  <a:moveTo>
                    <a:pt x="1854" y="1830"/>
                  </a:moveTo>
                  <a:lnTo>
                    <a:pt x="1860" y="1830"/>
                  </a:lnTo>
                  <a:lnTo>
                    <a:pt x="1854" y="1830"/>
                  </a:lnTo>
                  <a:close/>
                  <a:moveTo>
                    <a:pt x="2004" y="462"/>
                  </a:moveTo>
                  <a:lnTo>
                    <a:pt x="2004" y="468"/>
                  </a:lnTo>
                  <a:lnTo>
                    <a:pt x="2005" y="468"/>
                  </a:lnTo>
                  <a:lnTo>
                    <a:pt x="2004" y="462"/>
                  </a:lnTo>
                  <a:close/>
                  <a:moveTo>
                    <a:pt x="2064" y="408"/>
                  </a:moveTo>
                  <a:lnTo>
                    <a:pt x="2064" y="414"/>
                  </a:lnTo>
                  <a:lnTo>
                    <a:pt x="2065" y="414"/>
                  </a:lnTo>
                  <a:lnTo>
                    <a:pt x="2064" y="408"/>
                  </a:lnTo>
                  <a:close/>
                  <a:moveTo>
                    <a:pt x="1476" y="810"/>
                  </a:moveTo>
                  <a:lnTo>
                    <a:pt x="1482" y="810"/>
                  </a:lnTo>
                  <a:lnTo>
                    <a:pt x="1476" y="810"/>
                  </a:lnTo>
                  <a:close/>
                  <a:moveTo>
                    <a:pt x="2070" y="450"/>
                  </a:moveTo>
                  <a:lnTo>
                    <a:pt x="2070" y="462"/>
                  </a:lnTo>
                  <a:lnTo>
                    <a:pt x="2071" y="462"/>
                  </a:lnTo>
                  <a:lnTo>
                    <a:pt x="2070" y="450"/>
                  </a:lnTo>
                  <a:close/>
                  <a:moveTo>
                    <a:pt x="1974" y="492"/>
                  </a:moveTo>
                  <a:lnTo>
                    <a:pt x="1980" y="492"/>
                  </a:lnTo>
                  <a:lnTo>
                    <a:pt x="1974" y="492"/>
                  </a:lnTo>
                  <a:close/>
                  <a:moveTo>
                    <a:pt x="1494" y="792"/>
                  </a:moveTo>
                  <a:lnTo>
                    <a:pt x="1494" y="798"/>
                  </a:lnTo>
                  <a:lnTo>
                    <a:pt x="1495" y="798"/>
                  </a:lnTo>
                  <a:lnTo>
                    <a:pt x="1494" y="792"/>
                  </a:lnTo>
                  <a:close/>
                  <a:moveTo>
                    <a:pt x="2040" y="468"/>
                  </a:moveTo>
                  <a:lnTo>
                    <a:pt x="2046" y="468"/>
                  </a:lnTo>
                  <a:lnTo>
                    <a:pt x="2040" y="468"/>
                  </a:lnTo>
                  <a:close/>
                  <a:moveTo>
                    <a:pt x="1926" y="1824"/>
                  </a:moveTo>
                  <a:lnTo>
                    <a:pt x="1926" y="1830"/>
                  </a:lnTo>
                  <a:lnTo>
                    <a:pt x="1927" y="1830"/>
                  </a:lnTo>
                  <a:lnTo>
                    <a:pt x="1926" y="1824"/>
                  </a:lnTo>
                  <a:close/>
                  <a:moveTo>
                    <a:pt x="2112" y="408"/>
                  </a:moveTo>
                  <a:lnTo>
                    <a:pt x="2118" y="408"/>
                  </a:lnTo>
                  <a:lnTo>
                    <a:pt x="2118" y="414"/>
                  </a:lnTo>
                  <a:lnTo>
                    <a:pt x="2112" y="414"/>
                  </a:lnTo>
                  <a:lnTo>
                    <a:pt x="2112" y="408"/>
                  </a:lnTo>
                  <a:close/>
                  <a:moveTo>
                    <a:pt x="1488" y="798"/>
                  </a:moveTo>
                  <a:lnTo>
                    <a:pt x="1494" y="798"/>
                  </a:lnTo>
                  <a:lnTo>
                    <a:pt x="1494" y="804"/>
                  </a:lnTo>
                  <a:lnTo>
                    <a:pt x="1488" y="804"/>
                  </a:lnTo>
                  <a:lnTo>
                    <a:pt x="1488" y="798"/>
                  </a:lnTo>
                  <a:close/>
                  <a:moveTo>
                    <a:pt x="1998" y="504"/>
                  </a:moveTo>
                  <a:lnTo>
                    <a:pt x="1998" y="510"/>
                  </a:lnTo>
                  <a:lnTo>
                    <a:pt x="1999" y="510"/>
                  </a:lnTo>
                  <a:lnTo>
                    <a:pt x="1998" y="504"/>
                  </a:lnTo>
                  <a:close/>
                  <a:moveTo>
                    <a:pt x="2052" y="486"/>
                  </a:moveTo>
                  <a:lnTo>
                    <a:pt x="2058" y="486"/>
                  </a:lnTo>
                  <a:lnTo>
                    <a:pt x="2058" y="492"/>
                  </a:lnTo>
                  <a:lnTo>
                    <a:pt x="2052" y="492"/>
                  </a:lnTo>
                  <a:lnTo>
                    <a:pt x="2052" y="486"/>
                  </a:lnTo>
                  <a:close/>
                  <a:moveTo>
                    <a:pt x="2052" y="456"/>
                  </a:moveTo>
                  <a:lnTo>
                    <a:pt x="2058" y="456"/>
                  </a:lnTo>
                  <a:lnTo>
                    <a:pt x="2052" y="456"/>
                  </a:lnTo>
                  <a:close/>
                  <a:moveTo>
                    <a:pt x="1302" y="888"/>
                  </a:moveTo>
                  <a:lnTo>
                    <a:pt x="1308" y="888"/>
                  </a:lnTo>
                  <a:lnTo>
                    <a:pt x="1308" y="894"/>
                  </a:lnTo>
                  <a:lnTo>
                    <a:pt x="1302" y="894"/>
                  </a:lnTo>
                  <a:lnTo>
                    <a:pt x="1302" y="888"/>
                  </a:lnTo>
                  <a:close/>
                  <a:moveTo>
                    <a:pt x="1986" y="498"/>
                  </a:moveTo>
                  <a:lnTo>
                    <a:pt x="1992" y="498"/>
                  </a:lnTo>
                  <a:lnTo>
                    <a:pt x="1992" y="504"/>
                  </a:lnTo>
                  <a:lnTo>
                    <a:pt x="1986" y="504"/>
                  </a:lnTo>
                  <a:lnTo>
                    <a:pt x="1986" y="498"/>
                  </a:lnTo>
                  <a:close/>
                  <a:moveTo>
                    <a:pt x="2184" y="330"/>
                  </a:moveTo>
                  <a:lnTo>
                    <a:pt x="2190" y="330"/>
                  </a:lnTo>
                  <a:lnTo>
                    <a:pt x="2190" y="336"/>
                  </a:lnTo>
                  <a:lnTo>
                    <a:pt x="2184" y="336"/>
                  </a:lnTo>
                  <a:lnTo>
                    <a:pt x="2184" y="330"/>
                  </a:lnTo>
                  <a:close/>
                  <a:moveTo>
                    <a:pt x="1398" y="792"/>
                  </a:moveTo>
                  <a:lnTo>
                    <a:pt x="1398" y="798"/>
                  </a:lnTo>
                  <a:lnTo>
                    <a:pt x="1399" y="798"/>
                  </a:lnTo>
                  <a:lnTo>
                    <a:pt x="1398" y="792"/>
                  </a:lnTo>
                  <a:close/>
                  <a:moveTo>
                    <a:pt x="2052" y="408"/>
                  </a:moveTo>
                  <a:lnTo>
                    <a:pt x="2058" y="408"/>
                  </a:lnTo>
                  <a:lnTo>
                    <a:pt x="2052" y="408"/>
                  </a:lnTo>
                  <a:close/>
                  <a:moveTo>
                    <a:pt x="2154" y="342"/>
                  </a:moveTo>
                  <a:lnTo>
                    <a:pt x="2160" y="342"/>
                  </a:lnTo>
                  <a:lnTo>
                    <a:pt x="2160" y="348"/>
                  </a:lnTo>
                  <a:lnTo>
                    <a:pt x="2154" y="348"/>
                  </a:lnTo>
                  <a:lnTo>
                    <a:pt x="2154" y="342"/>
                  </a:lnTo>
                  <a:close/>
                  <a:moveTo>
                    <a:pt x="1380" y="1680"/>
                  </a:moveTo>
                  <a:lnTo>
                    <a:pt x="1386" y="1680"/>
                  </a:lnTo>
                  <a:lnTo>
                    <a:pt x="1386" y="1686"/>
                  </a:lnTo>
                  <a:lnTo>
                    <a:pt x="1380" y="1686"/>
                  </a:lnTo>
                  <a:lnTo>
                    <a:pt x="1380" y="1680"/>
                  </a:lnTo>
                  <a:close/>
                  <a:moveTo>
                    <a:pt x="2028" y="480"/>
                  </a:moveTo>
                  <a:lnTo>
                    <a:pt x="2034" y="480"/>
                  </a:lnTo>
                  <a:lnTo>
                    <a:pt x="2028" y="480"/>
                  </a:lnTo>
                  <a:close/>
                  <a:moveTo>
                    <a:pt x="2076" y="450"/>
                  </a:moveTo>
                  <a:lnTo>
                    <a:pt x="2082" y="450"/>
                  </a:lnTo>
                  <a:lnTo>
                    <a:pt x="2082" y="456"/>
                  </a:lnTo>
                  <a:lnTo>
                    <a:pt x="2076" y="456"/>
                  </a:lnTo>
                  <a:lnTo>
                    <a:pt x="2076" y="450"/>
                  </a:lnTo>
                  <a:close/>
                  <a:moveTo>
                    <a:pt x="2190" y="330"/>
                  </a:moveTo>
                  <a:lnTo>
                    <a:pt x="2196" y="330"/>
                  </a:lnTo>
                  <a:lnTo>
                    <a:pt x="2196" y="336"/>
                  </a:lnTo>
                  <a:lnTo>
                    <a:pt x="2190" y="336"/>
                  </a:lnTo>
                  <a:lnTo>
                    <a:pt x="2190" y="330"/>
                  </a:lnTo>
                  <a:close/>
                  <a:moveTo>
                    <a:pt x="1476" y="816"/>
                  </a:moveTo>
                  <a:lnTo>
                    <a:pt x="1482" y="816"/>
                  </a:lnTo>
                  <a:lnTo>
                    <a:pt x="1476" y="816"/>
                  </a:lnTo>
                  <a:close/>
                  <a:moveTo>
                    <a:pt x="1368" y="1668"/>
                  </a:moveTo>
                  <a:lnTo>
                    <a:pt x="1374" y="1668"/>
                  </a:lnTo>
                  <a:lnTo>
                    <a:pt x="1368" y="1668"/>
                  </a:lnTo>
                  <a:close/>
                  <a:moveTo>
                    <a:pt x="1266" y="1434"/>
                  </a:moveTo>
                  <a:lnTo>
                    <a:pt x="1266" y="1440"/>
                  </a:lnTo>
                  <a:lnTo>
                    <a:pt x="1267" y="1440"/>
                  </a:lnTo>
                  <a:lnTo>
                    <a:pt x="1266" y="1434"/>
                  </a:lnTo>
                  <a:close/>
                  <a:moveTo>
                    <a:pt x="2100" y="402"/>
                  </a:moveTo>
                  <a:lnTo>
                    <a:pt x="2106" y="402"/>
                  </a:lnTo>
                  <a:lnTo>
                    <a:pt x="2100" y="408"/>
                  </a:lnTo>
                  <a:lnTo>
                    <a:pt x="2100" y="402"/>
                  </a:lnTo>
                  <a:close/>
                  <a:moveTo>
                    <a:pt x="2226" y="300"/>
                  </a:moveTo>
                  <a:lnTo>
                    <a:pt x="2238" y="300"/>
                  </a:lnTo>
                  <a:lnTo>
                    <a:pt x="2226" y="300"/>
                  </a:lnTo>
                  <a:close/>
                  <a:moveTo>
                    <a:pt x="1998" y="474"/>
                  </a:moveTo>
                  <a:lnTo>
                    <a:pt x="2004" y="474"/>
                  </a:lnTo>
                  <a:lnTo>
                    <a:pt x="2004" y="480"/>
                  </a:lnTo>
                  <a:lnTo>
                    <a:pt x="1998" y="480"/>
                  </a:lnTo>
                  <a:lnTo>
                    <a:pt x="1998" y="474"/>
                  </a:lnTo>
                  <a:close/>
                  <a:moveTo>
                    <a:pt x="2016" y="468"/>
                  </a:moveTo>
                  <a:lnTo>
                    <a:pt x="2022" y="468"/>
                  </a:lnTo>
                  <a:lnTo>
                    <a:pt x="2022" y="474"/>
                  </a:lnTo>
                  <a:lnTo>
                    <a:pt x="2016" y="474"/>
                  </a:lnTo>
                  <a:lnTo>
                    <a:pt x="2016" y="468"/>
                  </a:lnTo>
                  <a:close/>
                  <a:moveTo>
                    <a:pt x="1260" y="1200"/>
                  </a:moveTo>
                  <a:lnTo>
                    <a:pt x="1266" y="1200"/>
                  </a:lnTo>
                  <a:lnTo>
                    <a:pt x="1266" y="1206"/>
                  </a:lnTo>
                  <a:lnTo>
                    <a:pt x="1260" y="1206"/>
                  </a:lnTo>
                  <a:lnTo>
                    <a:pt x="1260" y="1200"/>
                  </a:lnTo>
                  <a:close/>
                  <a:moveTo>
                    <a:pt x="1476" y="804"/>
                  </a:moveTo>
                  <a:lnTo>
                    <a:pt x="1482" y="804"/>
                  </a:lnTo>
                  <a:lnTo>
                    <a:pt x="1482" y="810"/>
                  </a:lnTo>
                  <a:lnTo>
                    <a:pt x="1476" y="810"/>
                  </a:lnTo>
                  <a:lnTo>
                    <a:pt x="1476" y="804"/>
                  </a:lnTo>
                  <a:close/>
                  <a:moveTo>
                    <a:pt x="1494" y="792"/>
                  </a:moveTo>
                  <a:lnTo>
                    <a:pt x="1500" y="792"/>
                  </a:lnTo>
                  <a:lnTo>
                    <a:pt x="1500" y="804"/>
                  </a:lnTo>
                  <a:lnTo>
                    <a:pt x="1494" y="804"/>
                  </a:lnTo>
                  <a:lnTo>
                    <a:pt x="1494" y="792"/>
                  </a:lnTo>
                  <a:close/>
                  <a:moveTo>
                    <a:pt x="1464" y="804"/>
                  </a:moveTo>
                  <a:lnTo>
                    <a:pt x="1476" y="804"/>
                  </a:lnTo>
                  <a:lnTo>
                    <a:pt x="1476" y="810"/>
                  </a:lnTo>
                  <a:lnTo>
                    <a:pt x="1464" y="810"/>
                  </a:lnTo>
                  <a:lnTo>
                    <a:pt x="1464" y="804"/>
                  </a:lnTo>
                  <a:close/>
                  <a:moveTo>
                    <a:pt x="1494" y="786"/>
                  </a:moveTo>
                  <a:lnTo>
                    <a:pt x="1500" y="786"/>
                  </a:lnTo>
                  <a:lnTo>
                    <a:pt x="1500" y="792"/>
                  </a:lnTo>
                  <a:lnTo>
                    <a:pt x="1494" y="792"/>
                  </a:lnTo>
                  <a:lnTo>
                    <a:pt x="1494" y="786"/>
                  </a:lnTo>
                  <a:close/>
                  <a:moveTo>
                    <a:pt x="2364" y="378"/>
                  </a:moveTo>
                  <a:lnTo>
                    <a:pt x="2364" y="390"/>
                  </a:lnTo>
                  <a:lnTo>
                    <a:pt x="2365" y="390"/>
                  </a:lnTo>
                  <a:lnTo>
                    <a:pt x="2364" y="378"/>
                  </a:lnTo>
                  <a:close/>
                  <a:moveTo>
                    <a:pt x="2106" y="378"/>
                  </a:moveTo>
                  <a:lnTo>
                    <a:pt x="2112" y="378"/>
                  </a:lnTo>
                  <a:lnTo>
                    <a:pt x="2112" y="390"/>
                  </a:lnTo>
                  <a:lnTo>
                    <a:pt x="2106" y="390"/>
                  </a:lnTo>
                  <a:lnTo>
                    <a:pt x="2106" y="378"/>
                  </a:lnTo>
                  <a:close/>
                  <a:moveTo>
                    <a:pt x="2124" y="384"/>
                  </a:moveTo>
                  <a:lnTo>
                    <a:pt x="2130" y="384"/>
                  </a:lnTo>
                  <a:lnTo>
                    <a:pt x="2130" y="396"/>
                  </a:lnTo>
                  <a:lnTo>
                    <a:pt x="2124" y="396"/>
                  </a:lnTo>
                  <a:lnTo>
                    <a:pt x="2124" y="384"/>
                  </a:lnTo>
                  <a:close/>
                  <a:moveTo>
                    <a:pt x="2064" y="402"/>
                  </a:moveTo>
                  <a:lnTo>
                    <a:pt x="2076" y="402"/>
                  </a:lnTo>
                  <a:lnTo>
                    <a:pt x="2076" y="408"/>
                  </a:lnTo>
                  <a:lnTo>
                    <a:pt x="2064" y="408"/>
                  </a:lnTo>
                  <a:lnTo>
                    <a:pt x="2064" y="402"/>
                  </a:lnTo>
                  <a:close/>
                  <a:moveTo>
                    <a:pt x="1212" y="1140"/>
                  </a:moveTo>
                  <a:lnTo>
                    <a:pt x="1212" y="1134"/>
                  </a:lnTo>
                  <a:lnTo>
                    <a:pt x="1212" y="1128"/>
                  </a:lnTo>
                  <a:lnTo>
                    <a:pt x="1212" y="1122"/>
                  </a:lnTo>
                  <a:lnTo>
                    <a:pt x="1212" y="1128"/>
                  </a:lnTo>
                  <a:lnTo>
                    <a:pt x="1212" y="1134"/>
                  </a:lnTo>
                  <a:lnTo>
                    <a:pt x="1212" y="1140"/>
                  </a:lnTo>
                  <a:close/>
                  <a:moveTo>
                    <a:pt x="2346" y="396"/>
                  </a:moveTo>
                  <a:lnTo>
                    <a:pt x="2346" y="390"/>
                  </a:lnTo>
                  <a:lnTo>
                    <a:pt x="2352" y="390"/>
                  </a:lnTo>
                  <a:lnTo>
                    <a:pt x="2352" y="396"/>
                  </a:lnTo>
                  <a:lnTo>
                    <a:pt x="2352" y="402"/>
                  </a:lnTo>
                  <a:lnTo>
                    <a:pt x="2352" y="396"/>
                  </a:lnTo>
                  <a:lnTo>
                    <a:pt x="2346" y="396"/>
                  </a:lnTo>
                  <a:close/>
                  <a:moveTo>
                    <a:pt x="2364" y="384"/>
                  </a:moveTo>
                  <a:lnTo>
                    <a:pt x="2364" y="378"/>
                  </a:lnTo>
                  <a:lnTo>
                    <a:pt x="2370" y="378"/>
                  </a:lnTo>
                  <a:lnTo>
                    <a:pt x="2370" y="384"/>
                  </a:lnTo>
                  <a:lnTo>
                    <a:pt x="2370" y="390"/>
                  </a:lnTo>
                  <a:lnTo>
                    <a:pt x="2376" y="390"/>
                  </a:lnTo>
                  <a:lnTo>
                    <a:pt x="2370" y="390"/>
                  </a:lnTo>
                  <a:lnTo>
                    <a:pt x="2370" y="384"/>
                  </a:lnTo>
                  <a:lnTo>
                    <a:pt x="2364" y="384"/>
                  </a:lnTo>
                  <a:close/>
                  <a:moveTo>
                    <a:pt x="1206" y="1158"/>
                  </a:moveTo>
                  <a:lnTo>
                    <a:pt x="1206" y="1152"/>
                  </a:lnTo>
                  <a:lnTo>
                    <a:pt x="1206" y="1146"/>
                  </a:lnTo>
                  <a:lnTo>
                    <a:pt x="1206" y="1140"/>
                  </a:lnTo>
                  <a:lnTo>
                    <a:pt x="1212" y="1140"/>
                  </a:lnTo>
                  <a:lnTo>
                    <a:pt x="1212" y="1146"/>
                  </a:lnTo>
                  <a:lnTo>
                    <a:pt x="1206" y="1146"/>
                  </a:lnTo>
                  <a:lnTo>
                    <a:pt x="1206" y="1152"/>
                  </a:lnTo>
                  <a:lnTo>
                    <a:pt x="1212" y="1152"/>
                  </a:lnTo>
                  <a:lnTo>
                    <a:pt x="1206" y="1152"/>
                  </a:lnTo>
                  <a:lnTo>
                    <a:pt x="1206" y="1158"/>
                  </a:lnTo>
                  <a:close/>
                  <a:moveTo>
                    <a:pt x="2124" y="354"/>
                  </a:moveTo>
                  <a:lnTo>
                    <a:pt x="2124" y="348"/>
                  </a:lnTo>
                  <a:lnTo>
                    <a:pt x="2124" y="354"/>
                  </a:lnTo>
                  <a:lnTo>
                    <a:pt x="2124" y="348"/>
                  </a:lnTo>
                  <a:lnTo>
                    <a:pt x="2124" y="342"/>
                  </a:lnTo>
                  <a:lnTo>
                    <a:pt x="2130" y="342"/>
                  </a:lnTo>
                  <a:lnTo>
                    <a:pt x="2124" y="342"/>
                  </a:lnTo>
                  <a:lnTo>
                    <a:pt x="2130" y="342"/>
                  </a:lnTo>
                  <a:lnTo>
                    <a:pt x="2130" y="348"/>
                  </a:lnTo>
                  <a:lnTo>
                    <a:pt x="2130" y="354"/>
                  </a:lnTo>
                  <a:lnTo>
                    <a:pt x="2124" y="354"/>
                  </a:lnTo>
                  <a:lnTo>
                    <a:pt x="2124" y="360"/>
                  </a:lnTo>
                  <a:lnTo>
                    <a:pt x="2124" y="354"/>
                  </a:lnTo>
                  <a:lnTo>
                    <a:pt x="2124" y="360"/>
                  </a:lnTo>
                  <a:lnTo>
                    <a:pt x="2124" y="354"/>
                  </a:lnTo>
                  <a:close/>
                  <a:moveTo>
                    <a:pt x="1380" y="828"/>
                  </a:moveTo>
                  <a:lnTo>
                    <a:pt x="1380" y="822"/>
                  </a:lnTo>
                  <a:lnTo>
                    <a:pt x="1386" y="822"/>
                  </a:lnTo>
                  <a:lnTo>
                    <a:pt x="1386" y="816"/>
                  </a:lnTo>
                  <a:lnTo>
                    <a:pt x="1392" y="810"/>
                  </a:lnTo>
                  <a:lnTo>
                    <a:pt x="1392" y="816"/>
                  </a:lnTo>
                  <a:lnTo>
                    <a:pt x="1392" y="822"/>
                  </a:lnTo>
                  <a:lnTo>
                    <a:pt x="1392" y="828"/>
                  </a:lnTo>
                  <a:lnTo>
                    <a:pt x="1386" y="828"/>
                  </a:lnTo>
                  <a:lnTo>
                    <a:pt x="1380" y="828"/>
                  </a:lnTo>
                  <a:close/>
                  <a:moveTo>
                    <a:pt x="2076" y="414"/>
                  </a:moveTo>
                  <a:lnTo>
                    <a:pt x="2076" y="408"/>
                  </a:lnTo>
                  <a:lnTo>
                    <a:pt x="2076" y="414"/>
                  </a:lnTo>
                  <a:lnTo>
                    <a:pt x="2076" y="408"/>
                  </a:lnTo>
                  <a:lnTo>
                    <a:pt x="2082" y="408"/>
                  </a:lnTo>
                  <a:lnTo>
                    <a:pt x="2082" y="402"/>
                  </a:lnTo>
                  <a:lnTo>
                    <a:pt x="2082" y="408"/>
                  </a:lnTo>
                  <a:lnTo>
                    <a:pt x="2082" y="414"/>
                  </a:lnTo>
                  <a:lnTo>
                    <a:pt x="2088" y="414"/>
                  </a:lnTo>
                  <a:lnTo>
                    <a:pt x="2082" y="414"/>
                  </a:lnTo>
                  <a:lnTo>
                    <a:pt x="2082" y="420"/>
                  </a:lnTo>
                  <a:lnTo>
                    <a:pt x="2076" y="420"/>
                  </a:lnTo>
                  <a:lnTo>
                    <a:pt x="2076" y="414"/>
                  </a:lnTo>
                  <a:lnTo>
                    <a:pt x="2082" y="414"/>
                  </a:lnTo>
                  <a:lnTo>
                    <a:pt x="2076" y="414"/>
                  </a:lnTo>
                  <a:lnTo>
                    <a:pt x="2082" y="414"/>
                  </a:lnTo>
                  <a:lnTo>
                    <a:pt x="2076" y="414"/>
                  </a:lnTo>
                  <a:close/>
                  <a:moveTo>
                    <a:pt x="1194" y="1188"/>
                  </a:moveTo>
                  <a:lnTo>
                    <a:pt x="1194" y="1182"/>
                  </a:lnTo>
                  <a:lnTo>
                    <a:pt x="1194" y="1176"/>
                  </a:lnTo>
                  <a:lnTo>
                    <a:pt x="1200" y="1176"/>
                  </a:lnTo>
                  <a:lnTo>
                    <a:pt x="1200" y="1182"/>
                  </a:lnTo>
                  <a:lnTo>
                    <a:pt x="1200" y="1188"/>
                  </a:lnTo>
                  <a:lnTo>
                    <a:pt x="1206" y="1188"/>
                  </a:lnTo>
                  <a:lnTo>
                    <a:pt x="1206" y="1194"/>
                  </a:lnTo>
                  <a:lnTo>
                    <a:pt x="1206" y="1200"/>
                  </a:lnTo>
                  <a:lnTo>
                    <a:pt x="1206" y="1206"/>
                  </a:lnTo>
                  <a:lnTo>
                    <a:pt x="1212" y="1206"/>
                  </a:lnTo>
                  <a:lnTo>
                    <a:pt x="1206" y="1212"/>
                  </a:lnTo>
                  <a:lnTo>
                    <a:pt x="1212" y="1212"/>
                  </a:lnTo>
                  <a:lnTo>
                    <a:pt x="1212" y="1218"/>
                  </a:lnTo>
                  <a:lnTo>
                    <a:pt x="1218" y="1218"/>
                  </a:lnTo>
                  <a:lnTo>
                    <a:pt x="1218" y="1224"/>
                  </a:lnTo>
                  <a:lnTo>
                    <a:pt x="1218" y="1230"/>
                  </a:lnTo>
                  <a:lnTo>
                    <a:pt x="1212" y="1230"/>
                  </a:lnTo>
                  <a:lnTo>
                    <a:pt x="1212" y="1224"/>
                  </a:lnTo>
                  <a:lnTo>
                    <a:pt x="1212" y="1218"/>
                  </a:lnTo>
                  <a:lnTo>
                    <a:pt x="1206" y="1218"/>
                  </a:lnTo>
                  <a:lnTo>
                    <a:pt x="1206" y="1212"/>
                  </a:lnTo>
                  <a:lnTo>
                    <a:pt x="1200" y="1212"/>
                  </a:lnTo>
                  <a:lnTo>
                    <a:pt x="1200" y="1206"/>
                  </a:lnTo>
                  <a:lnTo>
                    <a:pt x="1200" y="1200"/>
                  </a:lnTo>
                  <a:lnTo>
                    <a:pt x="1194" y="1200"/>
                  </a:lnTo>
                  <a:lnTo>
                    <a:pt x="1200" y="1200"/>
                  </a:lnTo>
                  <a:lnTo>
                    <a:pt x="1200" y="1194"/>
                  </a:lnTo>
                  <a:lnTo>
                    <a:pt x="1194" y="1194"/>
                  </a:lnTo>
                  <a:lnTo>
                    <a:pt x="1194" y="1188"/>
                  </a:lnTo>
                  <a:close/>
                  <a:moveTo>
                    <a:pt x="3036" y="1878"/>
                  </a:moveTo>
                  <a:lnTo>
                    <a:pt x="3036" y="1884"/>
                  </a:lnTo>
                  <a:lnTo>
                    <a:pt x="3037" y="1884"/>
                  </a:lnTo>
                  <a:lnTo>
                    <a:pt x="3036" y="1878"/>
                  </a:lnTo>
                  <a:close/>
                  <a:moveTo>
                    <a:pt x="2670" y="1710"/>
                  </a:moveTo>
                  <a:lnTo>
                    <a:pt x="2670" y="1716"/>
                  </a:lnTo>
                  <a:lnTo>
                    <a:pt x="2671" y="1716"/>
                  </a:lnTo>
                  <a:lnTo>
                    <a:pt x="2670" y="1710"/>
                  </a:lnTo>
                  <a:close/>
                  <a:moveTo>
                    <a:pt x="2664" y="1686"/>
                  </a:moveTo>
                  <a:lnTo>
                    <a:pt x="2664" y="1692"/>
                  </a:lnTo>
                  <a:lnTo>
                    <a:pt x="2665" y="1692"/>
                  </a:lnTo>
                  <a:lnTo>
                    <a:pt x="2664" y="1686"/>
                  </a:lnTo>
                  <a:close/>
                  <a:moveTo>
                    <a:pt x="2874" y="1866"/>
                  </a:moveTo>
                  <a:lnTo>
                    <a:pt x="2880" y="1866"/>
                  </a:lnTo>
                  <a:lnTo>
                    <a:pt x="2874" y="1866"/>
                  </a:lnTo>
                  <a:close/>
                  <a:moveTo>
                    <a:pt x="2736" y="1722"/>
                  </a:moveTo>
                  <a:lnTo>
                    <a:pt x="2742" y="1722"/>
                  </a:lnTo>
                  <a:lnTo>
                    <a:pt x="2736" y="1722"/>
                  </a:lnTo>
                  <a:close/>
                  <a:moveTo>
                    <a:pt x="2994" y="1710"/>
                  </a:moveTo>
                  <a:lnTo>
                    <a:pt x="2994" y="1716"/>
                  </a:lnTo>
                  <a:lnTo>
                    <a:pt x="2995" y="1716"/>
                  </a:lnTo>
                  <a:lnTo>
                    <a:pt x="2994" y="1710"/>
                  </a:lnTo>
                  <a:close/>
                  <a:moveTo>
                    <a:pt x="2766" y="1758"/>
                  </a:moveTo>
                  <a:lnTo>
                    <a:pt x="2766" y="1764"/>
                  </a:lnTo>
                  <a:lnTo>
                    <a:pt x="2767" y="1764"/>
                  </a:lnTo>
                  <a:lnTo>
                    <a:pt x="2766" y="1758"/>
                  </a:lnTo>
                  <a:close/>
                  <a:moveTo>
                    <a:pt x="2766" y="1866"/>
                  </a:moveTo>
                  <a:lnTo>
                    <a:pt x="2766" y="1872"/>
                  </a:lnTo>
                  <a:lnTo>
                    <a:pt x="2767" y="1872"/>
                  </a:lnTo>
                  <a:lnTo>
                    <a:pt x="2766" y="1866"/>
                  </a:lnTo>
                  <a:close/>
                  <a:moveTo>
                    <a:pt x="2850" y="1884"/>
                  </a:moveTo>
                  <a:lnTo>
                    <a:pt x="2856" y="1884"/>
                  </a:lnTo>
                  <a:lnTo>
                    <a:pt x="2856" y="1890"/>
                  </a:lnTo>
                  <a:lnTo>
                    <a:pt x="2850" y="1890"/>
                  </a:lnTo>
                  <a:lnTo>
                    <a:pt x="2850" y="1884"/>
                  </a:lnTo>
                  <a:close/>
                  <a:moveTo>
                    <a:pt x="2694" y="1704"/>
                  </a:moveTo>
                  <a:lnTo>
                    <a:pt x="2700" y="1704"/>
                  </a:lnTo>
                  <a:lnTo>
                    <a:pt x="2694" y="1704"/>
                  </a:lnTo>
                  <a:close/>
                  <a:moveTo>
                    <a:pt x="2688" y="1692"/>
                  </a:moveTo>
                  <a:lnTo>
                    <a:pt x="2682" y="1692"/>
                  </a:lnTo>
                  <a:lnTo>
                    <a:pt x="2683" y="1692"/>
                  </a:lnTo>
                  <a:lnTo>
                    <a:pt x="2688" y="1692"/>
                  </a:lnTo>
                  <a:close/>
                  <a:moveTo>
                    <a:pt x="3036" y="1878"/>
                  </a:moveTo>
                  <a:lnTo>
                    <a:pt x="3036" y="1884"/>
                  </a:lnTo>
                  <a:lnTo>
                    <a:pt x="3037" y="1884"/>
                  </a:lnTo>
                  <a:lnTo>
                    <a:pt x="3036" y="1878"/>
                  </a:lnTo>
                  <a:close/>
                  <a:moveTo>
                    <a:pt x="2670" y="1704"/>
                  </a:moveTo>
                  <a:lnTo>
                    <a:pt x="2670" y="1710"/>
                  </a:lnTo>
                  <a:lnTo>
                    <a:pt x="2664" y="1710"/>
                  </a:lnTo>
                  <a:lnTo>
                    <a:pt x="2670" y="1704"/>
                  </a:lnTo>
                  <a:close/>
                  <a:moveTo>
                    <a:pt x="2880" y="1908"/>
                  </a:moveTo>
                  <a:lnTo>
                    <a:pt x="2886" y="1908"/>
                  </a:lnTo>
                  <a:lnTo>
                    <a:pt x="2880" y="1908"/>
                  </a:lnTo>
                  <a:close/>
                  <a:moveTo>
                    <a:pt x="2706" y="1698"/>
                  </a:moveTo>
                  <a:lnTo>
                    <a:pt x="2712" y="1698"/>
                  </a:lnTo>
                  <a:lnTo>
                    <a:pt x="2706" y="1698"/>
                  </a:lnTo>
                  <a:close/>
                  <a:moveTo>
                    <a:pt x="2850" y="1872"/>
                  </a:moveTo>
                  <a:lnTo>
                    <a:pt x="2850" y="1878"/>
                  </a:lnTo>
                  <a:lnTo>
                    <a:pt x="2844" y="1878"/>
                  </a:lnTo>
                  <a:lnTo>
                    <a:pt x="2850" y="1872"/>
                  </a:lnTo>
                  <a:close/>
                  <a:moveTo>
                    <a:pt x="2952" y="1854"/>
                  </a:moveTo>
                  <a:lnTo>
                    <a:pt x="2952" y="1860"/>
                  </a:lnTo>
                  <a:lnTo>
                    <a:pt x="2953" y="1860"/>
                  </a:lnTo>
                  <a:lnTo>
                    <a:pt x="2952" y="1854"/>
                  </a:lnTo>
                  <a:close/>
                  <a:moveTo>
                    <a:pt x="2748" y="1794"/>
                  </a:moveTo>
                  <a:lnTo>
                    <a:pt x="2754" y="1794"/>
                  </a:lnTo>
                  <a:lnTo>
                    <a:pt x="2754" y="1806"/>
                  </a:lnTo>
                  <a:lnTo>
                    <a:pt x="2748" y="1806"/>
                  </a:lnTo>
                  <a:lnTo>
                    <a:pt x="2748" y="1794"/>
                  </a:lnTo>
                  <a:close/>
                  <a:moveTo>
                    <a:pt x="2688" y="1686"/>
                  </a:moveTo>
                  <a:lnTo>
                    <a:pt x="2700" y="1686"/>
                  </a:lnTo>
                  <a:lnTo>
                    <a:pt x="2700" y="1692"/>
                  </a:lnTo>
                  <a:lnTo>
                    <a:pt x="2688" y="1692"/>
                  </a:lnTo>
                  <a:lnTo>
                    <a:pt x="2688" y="1686"/>
                  </a:lnTo>
                  <a:close/>
                  <a:moveTo>
                    <a:pt x="2856" y="1890"/>
                  </a:moveTo>
                  <a:lnTo>
                    <a:pt x="2868" y="1890"/>
                  </a:lnTo>
                  <a:lnTo>
                    <a:pt x="2868" y="1902"/>
                  </a:lnTo>
                  <a:lnTo>
                    <a:pt x="2856" y="1902"/>
                  </a:lnTo>
                  <a:lnTo>
                    <a:pt x="2856" y="1890"/>
                  </a:lnTo>
                  <a:close/>
                  <a:moveTo>
                    <a:pt x="2886" y="1962"/>
                  </a:moveTo>
                  <a:lnTo>
                    <a:pt x="2886" y="1956"/>
                  </a:lnTo>
                  <a:lnTo>
                    <a:pt x="2886" y="1950"/>
                  </a:lnTo>
                  <a:lnTo>
                    <a:pt x="2892" y="1950"/>
                  </a:lnTo>
                  <a:lnTo>
                    <a:pt x="2898" y="1950"/>
                  </a:lnTo>
                  <a:lnTo>
                    <a:pt x="2904" y="1950"/>
                  </a:lnTo>
                  <a:lnTo>
                    <a:pt x="2910" y="1950"/>
                  </a:lnTo>
                  <a:lnTo>
                    <a:pt x="2916" y="1944"/>
                  </a:lnTo>
                  <a:lnTo>
                    <a:pt x="2922" y="1944"/>
                  </a:lnTo>
                  <a:lnTo>
                    <a:pt x="2928" y="1944"/>
                  </a:lnTo>
                  <a:lnTo>
                    <a:pt x="2934" y="1944"/>
                  </a:lnTo>
                  <a:lnTo>
                    <a:pt x="2940" y="1944"/>
                  </a:lnTo>
                  <a:lnTo>
                    <a:pt x="2940" y="1938"/>
                  </a:lnTo>
                  <a:lnTo>
                    <a:pt x="2940" y="1944"/>
                  </a:lnTo>
                  <a:lnTo>
                    <a:pt x="2940" y="1938"/>
                  </a:lnTo>
                  <a:lnTo>
                    <a:pt x="2946" y="1938"/>
                  </a:lnTo>
                  <a:lnTo>
                    <a:pt x="2952" y="1938"/>
                  </a:lnTo>
                  <a:lnTo>
                    <a:pt x="2958" y="1938"/>
                  </a:lnTo>
                  <a:lnTo>
                    <a:pt x="2964" y="1938"/>
                  </a:lnTo>
                  <a:lnTo>
                    <a:pt x="2964" y="1944"/>
                  </a:lnTo>
                  <a:lnTo>
                    <a:pt x="2958" y="1944"/>
                  </a:lnTo>
                  <a:lnTo>
                    <a:pt x="2964" y="1944"/>
                  </a:lnTo>
                  <a:lnTo>
                    <a:pt x="2958" y="1944"/>
                  </a:lnTo>
                  <a:lnTo>
                    <a:pt x="2964" y="1944"/>
                  </a:lnTo>
                  <a:lnTo>
                    <a:pt x="2964" y="1950"/>
                  </a:lnTo>
                  <a:lnTo>
                    <a:pt x="2958" y="1950"/>
                  </a:lnTo>
                  <a:lnTo>
                    <a:pt x="2964" y="1950"/>
                  </a:lnTo>
                  <a:lnTo>
                    <a:pt x="2958" y="1950"/>
                  </a:lnTo>
                  <a:lnTo>
                    <a:pt x="2964" y="1950"/>
                  </a:lnTo>
                  <a:lnTo>
                    <a:pt x="2970" y="1950"/>
                  </a:lnTo>
                  <a:lnTo>
                    <a:pt x="2976" y="1950"/>
                  </a:lnTo>
                  <a:lnTo>
                    <a:pt x="2976" y="1956"/>
                  </a:lnTo>
                  <a:lnTo>
                    <a:pt x="2970" y="1956"/>
                  </a:lnTo>
                  <a:lnTo>
                    <a:pt x="2970" y="1962"/>
                  </a:lnTo>
                  <a:lnTo>
                    <a:pt x="2976" y="1962"/>
                  </a:lnTo>
                  <a:lnTo>
                    <a:pt x="2976" y="1956"/>
                  </a:lnTo>
                  <a:lnTo>
                    <a:pt x="2982" y="1956"/>
                  </a:lnTo>
                  <a:lnTo>
                    <a:pt x="2982" y="1950"/>
                  </a:lnTo>
                  <a:lnTo>
                    <a:pt x="2988" y="1950"/>
                  </a:lnTo>
                  <a:lnTo>
                    <a:pt x="2994" y="1950"/>
                  </a:lnTo>
                  <a:lnTo>
                    <a:pt x="2994" y="1956"/>
                  </a:lnTo>
                  <a:lnTo>
                    <a:pt x="3000" y="1956"/>
                  </a:lnTo>
                  <a:lnTo>
                    <a:pt x="3000" y="1962"/>
                  </a:lnTo>
                  <a:lnTo>
                    <a:pt x="2994" y="1962"/>
                  </a:lnTo>
                  <a:lnTo>
                    <a:pt x="2988" y="1962"/>
                  </a:lnTo>
                  <a:lnTo>
                    <a:pt x="2982" y="1962"/>
                  </a:lnTo>
                  <a:lnTo>
                    <a:pt x="2976" y="1962"/>
                  </a:lnTo>
                  <a:lnTo>
                    <a:pt x="2970" y="1962"/>
                  </a:lnTo>
                  <a:lnTo>
                    <a:pt x="2964" y="1962"/>
                  </a:lnTo>
                  <a:lnTo>
                    <a:pt x="2964" y="1968"/>
                  </a:lnTo>
                  <a:lnTo>
                    <a:pt x="2958" y="1968"/>
                  </a:lnTo>
                  <a:lnTo>
                    <a:pt x="2964" y="1968"/>
                  </a:lnTo>
                  <a:lnTo>
                    <a:pt x="2964" y="1974"/>
                  </a:lnTo>
                  <a:lnTo>
                    <a:pt x="2958" y="1974"/>
                  </a:lnTo>
                  <a:lnTo>
                    <a:pt x="2952" y="1974"/>
                  </a:lnTo>
                  <a:lnTo>
                    <a:pt x="2946" y="1974"/>
                  </a:lnTo>
                  <a:lnTo>
                    <a:pt x="2940" y="1968"/>
                  </a:lnTo>
                  <a:lnTo>
                    <a:pt x="2934" y="1968"/>
                  </a:lnTo>
                  <a:lnTo>
                    <a:pt x="2928" y="1968"/>
                  </a:lnTo>
                  <a:lnTo>
                    <a:pt x="2934" y="1974"/>
                  </a:lnTo>
                  <a:lnTo>
                    <a:pt x="2928" y="1974"/>
                  </a:lnTo>
                  <a:lnTo>
                    <a:pt x="2922" y="1974"/>
                  </a:lnTo>
                  <a:lnTo>
                    <a:pt x="2916" y="1974"/>
                  </a:lnTo>
                  <a:lnTo>
                    <a:pt x="2910" y="1974"/>
                  </a:lnTo>
                  <a:lnTo>
                    <a:pt x="2904" y="1974"/>
                  </a:lnTo>
                  <a:lnTo>
                    <a:pt x="2898" y="1974"/>
                  </a:lnTo>
                  <a:lnTo>
                    <a:pt x="2892" y="1974"/>
                  </a:lnTo>
                  <a:lnTo>
                    <a:pt x="2898" y="1974"/>
                  </a:lnTo>
                  <a:lnTo>
                    <a:pt x="2892" y="1974"/>
                  </a:lnTo>
                  <a:lnTo>
                    <a:pt x="2892" y="1968"/>
                  </a:lnTo>
                  <a:lnTo>
                    <a:pt x="2886" y="1968"/>
                  </a:lnTo>
                  <a:lnTo>
                    <a:pt x="2886" y="1962"/>
                  </a:lnTo>
                  <a:close/>
                  <a:moveTo>
                    <a:pt x="3012" y="330"/>
                  </a:moveTo>
                  <a:lnTo>
                    <a:pt x="3018" y="330"/>
                  </a:lnTo>
                  <a:lnTo>
                    <a:pt x="3012" y="330"/>
                  </a:lnTo>
                  <a:close/>
                  <a:moveTo>
                    <a:pt x="2862" y="366"/>
                  </a:moveTo>
                  <a:lnTo>
                    <a:pt x="2862" y="372"/>
                  </a:lnTo>
                  <a:lnTo>
                    <a:pt x="2863" y="372"/>
                  </a:lnTo>
                  <a:lnTo>
                    <a:pt x="2862" y="366"/>
                  </a:lnTo>
                  <a:close/>
                  <a:moveTo>
                    <a:pt x="2706" y="84"/>
                  </a:moveTo>
                  <a:lnTo>
                    <a:pt x="2712" y="84"/>
                  </a:lnTo>
                  <a:lnTo>
                    <a:pt x="2706" y="84"/>
                  </a:lnTo>
                  <a:close/>
                  <a:moveTo>
                    <a:pt x="2670" y="174"/>
                  </a:moveTo>
                  <a:lnTo>
                    <a:pt x="2676" y="174"/>
                  </a:lnTo>
                  <a:lnTo>
                    <a:pt x="2670" y="174"/>
                  </a:lnTo>
                  <a:close/>
                  <a:moveTo>
                    <a:pt x="2682" y="126"/>
                  </a:moveTo>
                  <a:lnTo>
                    <a:pt x="2682" y="132"/>
                  </a:lnTo>
                  <a:lnTo>
                    <a:pt x="2683" y="132"/>
                  </a:lnTo>
                  <a:lnTo>
                    <a:pt x="2682" y="126"/>
                  </a:lnTo>
                  <a:close/>
                  <a:moveTo>
                    <a:pt x="2988" y="222"/>
                  </a:moveTo>
                  <a:lnTo>
                    <a:pt x="2994" y="222"/>
                  </a:lnTo>
                  <a:lnTo>
                    <a:pt x="2988" y="222"/>
                  </a:lnTo>
                  <a:close/>
                  <a:moveTo>
                    <a:pt x="2562" y="198"/>
                  </a:moveTo>
                  <a:lnTo>
                    <a:pt x="2556" y="198"/>
                  </a:lnTo>
                  <a:lnTo>
                    <a:pt x="2557" y="198"/>
                  </a:lnTo>
                  <a:lnTo>
                    <a:pt x="2562" y="198"/>
                  </a:lnTo>
                  <a:close/>
                  <a:moveTo>
                    <a:pt x="2562" y="204"/>
                  </a:moveTo>
                  <a:lnTo>
                    <a:pt x="2568" y="204"/>
                  </a:lnTo>
                  <a:lnTo>
                    <a:pt x="2562" y="204"/>
                  </a:lnTo>
                  <a:close/>
                  <a:moveTo>
                    <a:pt x="2862" y="162"/>
                  </a:moveTo>
                  <a:lnTo>
                    <a:pt x="2868" y="162"/>
                  </a:lnTo>
                  <a:lnTo>
                    <a:pt x="2862" y="162"/>
                  </a:lnTo>
                  <a:close/>
                  <a:moveTo>
                    <a:pt x="2724" y="72"/>
                  </a:moveTo>
                  <a:lnTo>
                    <a:pt x="2724" y="78"/>
                  </a:lnTo>
                  <a:lnTo>
                    <a:pt x="2725" y="78"/>
                  </a:lnTo>
                  <a:lnTo>
                    <a:pt x="2724" y="72"/>
                  </a:lnTo>
                  <a:close/>
                  <a:moveTo>
                    <a:pt x="2946" y="168"/>
                  </a:moveTo>
                  <a:lnTo>
                    <a:pt x="2946" y="174"/>
                  </a:lnTo>
                  <a:lnTo>
                    <a:pt x="2947" y="174"/>
                  </a:lnTo>
                  <a:lnTo>
                    <a:pt x="2946" y="168"/>
                  </a:lnTo>
                  <a:close/>
                  <a:moveTo>
                    <a:pt x="2808" y="162"/>
                  </a:moveTo>
                  <a:lnTo>
                    <a:pt x="2808" y="168"/>
                  </a:lnTo>
                  <a:lnTo>
                    <a:pt x="2809" y="168"/>
                  </a:lnTo>
                  <a:lnTo>
                    <a:pt x="2808" y="162"/>
                  </a:lnTo>
                  <a:close/>
                  <a:moveTo>
                    <a:pt x="2970" y="282"/>
                  </a:moveTo>
                  <a:lnTo>
                    <a:pt x="2976" y="282"/>
                  </a:lnTo>
                  <a:lnTo>
                    <a:pt x="2970" y="282"/>
                  </a:lnTo>
                  <a:close/>
                  <a:moveTo>
                    <a:pt x="2862" y="162"/>
                  </a:moveTo>
                  <a:lnTo>
                    <a:pt x="2862" y="168"/>
                  </a:lnTo>
                  <a:lnTo>
                    <a:pt x="2863" y="168"/>
                  </a:lnTo>
                  <a:lnTo>
                    <a:pt x="2862" y="162"/>
                  </a:lnTo>
                  <a:close/>
                  <a:moveTo>
                    <a:pt x="2520" y="204"/>
                  </a:moveTo>
                  <a:lnTo>
                    <a:pt x="2526" y="204"/>
                  </a:lnTo>
                  <a:lnTo>
                    <a:pt x="2520" y="204"/>
                  </a:lnTo>
                  <a:close/>
                  <a:moveTo>
                    <a:pt x="2964" y="126"/>
                  </a:moveTo>
                  <a:lnTo>
                    <a:pt x="2964" y="132"/>
                  </a:lnTo>
                  <a:lnTo>
                    <a:pt x="2965" y="132"/>
                  </a:lnTo>
                  <a:lnTo>
                    <a:pt x="2964" y="126"/>
                  </a:lnTo>
                  <a:close/>
                  <a:moveTo>
                    <a:pt x="2868" y="162"/>
                  </a:moveTo>
                  <a:lnTo>
                    <a:pt x="2868" y="168"/>
                  </a:lnTo>
                  <a:lnTo>
                    <a:pt x="2869" y="168"/>
                  </a:lnTo>
                  <a:lnTo>
                    <a:pt x="2868" y="162"/>
                  </a:lnTo>
                  <a:close/>
                  <a:moveTo>
                    <a:pt x="2640" y="120"/>
                  </a:moveTo>
                  <a:lnTo>
                    <a:pt x="2646" y="120"/>
                  </a:lnTo>
                  <a:lnTo>
                    <a:pt x="2640" y="120"/>
                  </a:lnTo>
                  <a:close/>
                  <a:moveTo>
                    <a:pt x="2706" y="78"/>
                  </a:moveTo>
                  <a:lnTo>
                    <a:pt x="2712" y="78"/>
                  </a:lnTo>
                  <a:lnTo>
                    <a:pt x="2712" y="84"/>
                  </a:lnTo>
                  <a:lnTo>
                    <a:pt x="2706" y="84"/>
                  </a:lnTo>
                  <a:lnTo>
                    <a:pt x="2706" y="78"/>
                  </a:lnTo>
                  <a:close/>
                  <a:moveTo>
                    <a:pt x="2880" y="132"/>
                  </a:moveTo>
                  <a:lnTo>
                    <a:pt x="2886" y="132"/>
                  </a:lnTo>
                  <a:lnTo>
                    <a:pt x="2886" y="138"/>
                  </a:lnTo>
                  <a:lnTo>
                    <a:pt x="2880" y="138"/>
                  </a:lnTo>
                  <a:lnTo>
                    <a:pt x="2880" y="132"/>
                  </a:lnTo>
                  <a:close/>
                  <a:moveTo>
                    <a:pt x="2670" y="168"/>
                  </a:moveTo>
                  <a:lnTo>
                    <a:pt x="2670" y="174"/>
                  </a:lnTo>
                  <a:lnTo>
                    <a:pt x="2671" y="174"/>
                  </a:lnTo>
                  <a:lnTo>
                    <a:pt x="2670" y="168"/>
                  </a:lnTo>
                  <a:close/>
                  <a:moveTo>
                    <a:pt x="3006" y="132"/>
                  </a:moveTo>
                  <a:lnTo>
                    <a:pt x="3012" y="132"/>
                  </a:lnTo>
                  <a:lnTo>
                    <a:pt x="3006" y="132"/>
                  </a:lnTo>
                  <a:close/>
                  <a:moveTo>
                    <a:pt x="2946" y="144"/>
                  </a:moveTo>
                  <a:lnTo>
                    <a:pt x="2952" y="144"/>
                  </a:lnTo>
                  <a:lnTo>
                    <a:pt x="2946" y="144"/>
                  </a:lnTo>
                  <a:close/>
                  <a:moveTo>
                    <a:pt x="2682" y="114"/>
                  </a:moveTo>
                  <a:lnTo>
                    <a:pt x="2688" y="114"/>
                  </a:lnTo>
                  <a:lnTo>
                    <a:pt x="2688" y="120"/>
                  </a:lnTo>
                  <a:lnTo>
                    <a:pt x="2682" y="120"/>
                  </a:lnTo>
                  <a:lnTo>
                    <a:pt x="2682" y="114"/>
                  </a:lnTo>
                  <a:close/>
                  <a:moveTo>
                    <a:pt x="2706" y="108"/>
                  </a:moveTo>
                  <a:lnTo>
                    <a:pt x="2706" y="114"/>
                  </a:lnTo>
                  <a:lnTo>
                    <a:pt x="2707" y="114"/>
                  </a:lnTo>
                  <a:lnTo>
                    <a:pt x="2706" y="108"/>
                  </a:lnTo>
                  <a:close/>
                  <a:moveTo>
                    <a:pt x="2868" y="162"/>
                  </a:moveTo>
                  <a:lnTo>
                    <a:pt x="2868" y="168"/>
                  </a:lnTo>
                  <a:lnTo>
                    <a:pt x="2869" y="168"/>
                  </a:lnTo>
                  <a:lnTo>
                    <a:pt x="2868" y="162"/>
                  </a:lnTo>
                  <a:close/>
                  <a:moveTo>
                    <a:pt x="2688" y="120"/>
                  </a:moveTo>
                  <a:lnTo>
                    <a:pt x="2688" y="126"/>
                  </a:lnTo>
                  <a:lnTo>
                    <a:pt x="2689" y="126"/>
                  </a:lnTo>
                  <a:lnTo>
                    <a:pt x="2688" y="120"/>
                  </a:lnTo>
                  <a:close/>
                  <a:moveTo>
                    <a:pt x="2958" y="276"/>
                  </a:moveTo>
                  <a:lnTo>
                    <a:pt x="2964" y="276"/>
                  </a:lnTo>
                  <a:lnTo>
                    <a:pt x="2958" y="276"/>
                  </a:lnTo>
                  <a:close/>
                  <a:moveTo>
                    <a:pt x="2994" y="144"/>
                  </a:moveTo>
                  <a:lnTo>
                    <a:pt x="3000" y="144"/>
                  </a:lnTo>
                  <a:lnTo>
                    <a:pt x="2994" y="144"/>
                  </a:lnTo>
                  <a:close/>
                  <a:moveTo>
                    <a:pt x="2688" y="120"/>
                  </a:moveTo>
                  <a:lnTo>
                    <a:pt x="2688" y="126"/>
                  </a:lnTo>
                  <a:lnTo>
                    <a:pt x="2689" y="126"/>
                  </a:lnTo>
                  <a:lnTo>
                    <a:pt x="2688" y="120"/>
                  </a:lnTo>
                  <a:close/>
                  <a:moveTo>
                    <a:pt x="2964" y="264"/>
                  </a:moveTo>
                  <a:lnTo>
                    <a:pt x="2964" y="270"/>
                  </a:lnTo>
                  <a:lnTo>
                    <a:pt x="2965" y="270"/>
                  </a:lnTo>
                  <a:lnTo>
                    <a:pt x="2964" y="264"/>
                  </a:lnTo>
                  <a:close/>
                  <a:moveTo>
                    <a:pt x="2520" y="204"/>
                  </a:moveTo>
                  <a:lnTo>
                    <a:pt x="2526" y="204"/>
                  </a:lnTo>
                  <a:lnTo>
                    <a:pt x="2520" y="204"/>
                  </a:lnTo>
                  <a:close/>
                  <a:moveTo>
                    <a:pt x="2946" y="180"/>
                  </a:moveTo>
                  <a:lnTo>
                    <a:pt x="2952" y="180"/>
                  </a:lnTo>
                  <a:lnTo>
                    <a:pt x="2946" y="180"/>
                  </a:lnTo>
                  <a:close/>
                  <a:moveTo>
                    <a:pt x="2994" y="432"/>
                  </a:moveTo>
                  <a:lnTo>
                    <a:pt x="3000" y="432"/>
                  </a:lnTo>
                  <a:lnTo>
                    <a:pt x="2994" y="432"/>
                  </a:lnTo>
                  <a:close/>
                  <a:moveTo>
                    <a:pt x="2496" y="246"/>
                  </a:moveTo>
                  <a:lnTo>
                    <a:pt x="2502" y="246"/>
                  </a:lnTo>
                  <a:lnTo>
                    <a:pt x="2502" y="252"/>
                  </a:lnTo>
                  <a:lnTo>
                    <a:pt x="2496" y="252"/>
                  </a:lnTo>
                  <a:lnTo>
                    <a:pt x="2496" y="246"/>
                  </a:lnTo>
                  <a:close/>
                  <a:moveTo>
                    <a:pt x="2568" y="168"/>
                  </a:moveTo>
                  <a:lnTo>
                    <a:pt x="2574" y="168"/>
                  </a:lnTo>
                  <a:lnTo>
                    <a:pt x="2568" y="168"/>
                  </a:lnTo>
                  <a:close/>
                  <a:moveTo>
                    <a:pt x="2946" y="264"/>
                  </a:moveTo>
                  <a:lnTo>
                    <a:pt x="2952" y="264"/>
                  </a:lnTo>
                  <a:lnTo>
                    <a:pt x="2952" y="270"/>
                  </a:lnTo>
                  <a:lnTo>
                    <a:pt x="2946" y="270"/>
                  </a:lnTo>
                  <a:lnTo>
                    <a:pt x="2946" y="264"/>
                  </a:lnTo>
                  <a:close/>
                  <a:moveTo>
                    <a:pt x="2694" y="96"/>
                  </a:moveTo>
                  <a:lnTo>
                    <a:pt x="2700" y="96"/>
                  </a:lnTo>
                  <a:lnTo>
                    <a:pt x="2694" y="96"/>
                  </a:lnTo>
                  <a:close/>
                  <a:moveTo>
                    <a:pt x="2856" y="156"/>
                  </a:moveTo>
                  <a:lnTo>
                    <a:pt x="2862" y="156"/>
                  </a:lnTo>
                  <a:lnTo>
                    <a:pt x="2862" y="162"/>
                  </a:lnTo>
                  <a:lnTo>
                    <a:pt x="2856" y="162"/>
                  </a:lnTo>
                  <a:lnTo>
                    <a:pt x="2856" y="156"/>
                  </a:lnTo>
                  <a:close/>
                  <a:moveTo>
                    <a:pt x="2574" y="162"/>
                  </a:moveTo>
                  <a:lnTo>
                    <a:pt x="2580" y="162"/>
                  </a:lnTo>
                  <a:lnTo>
                    <a:pt x="2574" y="162"/>
                  </a:lnTo>
                  <a:close/>
                  <a:moveTo>
                    <a:pt x="2958" y="132"/>
                  </a:moveTo>
                  <a:lnTo>
                    <a:pt x="2958" y="138"/>
                  </a:lnTo>
                  <a:lnTo>
                    <a:pt x="2959" y="138"/>
                  </a:lnTo>
                  <a:lnTo>
                    <a:pt x="2958" y="132"/>
                  </a:lnTo>
                  <a:close/>
                  <a:moveTo>
                    <a:pt x="2940" y="138"/>
                  </a:moveTo>
                  <a:lnTo>
                    <a:pt x="2946" y="138"/>
                  </a:lnTo>
                  <a:lnTo>
                    <a:pt x="2940" y="138"/>
                  </a:lnTo>
                  <a:close/>
                  <a:moveTo>
                    <a:pt x="2970" y="294"/>
                  </a:moveTo>
                  <a:lnTo>
                    <a:pt x="2970" y="300"/>
                  </a:lnTo>
                  <a:lnTo>
                    <a:pt x="2971" y="300"/>
                  </a:lnTo>
                  <a:lnTo>
                    <a:pt x="2970" y="294"/>
                  </a:lnTo>
                  <a:close/>
                  <a:moveTo>
                    <a:pt x="2946" y="168"/>
                  </a:moveTo>
                  <a:lnTo>
                    <a:pt x="2952" y="168"/>
                  </a:lnTo>
                  <a:lnTo>
                    <a:pt x="2946" y="168"/>
                  </a:lnTo>
                  <a:close/>
                  <a:moveTo>
                    <a:pt x="2526" y="198"/>
                  </a:moveTo>
                  <a:lnTo>
                    <a:pt x="2526" y="204"/>
                  </a:lnTo>
                  <a:lnTo>
                    <a:pt x="2527" y="204"/>
                  </a:lnTo>
                  <a:lnTo>
                    <a:pt x="2526" y="198"/>
                  </a:lnTo>
                  <a:close/>
                  <a:moveTo>
                    <a:pt x="2952" y="168"/>
                  </a:moveTo>
                  <a:lnTo>
                    <a:pt x="2958" y="168"/>
                  </a:lnTo>
                  <a:lnTo>
                    <a:pt x="2958" y="174"/>
                  </a:lnTo>
                  <a:lnTo>
                    <a:pt x="2952" y="174"/>
                  </a:lnTo>
                  <a:lnTo>
                    <a:pt x="2952" y="168"/>
                  </a:lnTo>
                  <a:close/>
                  <a:moveTo>
                    <a:pt x="2568" y="162"/>
                  </a:moveTo>
                  <a:lnTo>
                    <a:pt x="2574" y="162"/>
                  </a:lnTo>
                  <a:lnTo>
                    <a:pt x="2568" y="162"/>
                  </a:lnTo>
                  <a:close/>
                  <a:moveTo>
                    <a:pt x="2718" y="84"/>
                  </a:moveTo>
                  <a:lnTo>
                    <a:pt x="2724" y="84"/>
                  </a:lnTo>
                  <a:lnTo>
                    <a:pt x="2724" y="90"/>
                  </a:lnTo>
                  <a:lnTo>
                    <a:pt x="2718" y="90"/>
                  </a:lnTo>
                  <a:lnTo>
                    <a:pt x="2718" y="84"/>
                  </a:lnTo>
                  <a:close/>
                  <a:moveTo>
                    <a:pt x="2532" y="198"/>
                  </a:moveTo>
                  <a:lnTo>
                    <a:pt x="2532" y="204"/>
                  </a:lnTo>
                  <a:lnTo>
                    <a:pt x="2533" y="204"/>
                  </a:lnTo>
                  <a:lnTo>
                    <a:pt x="2532" y="198"/>
                  </a:lnTo>
                  <a:close/>
                  <a:moveTo>
                    <a:pt x="2994" y="426"/>
                  </a:moveTo>
                  <a:lnTo>
                    <a:pt x="3000" y="426"/>
                  </a:lnTo>
                  <a:lnTo>
                    <a:pt x="2994" y="426"/>
                  </a:lnTo>
                  <a:close/>
                  <a:moveTo>
                    <a:pt x="2940" y="150"/>
                  </a:moveTo>
                  <a:lnTo>
                    <a:pt x="2946" y="150"/>
                  </a:lnTo>
                  <a:lnTo>
                    <a:pt x="2940" y="150"/>
                  </a:lnTo>
                  <a:close/>
                  <a:moveTo>
                    <a:pt x="2712" y="90"/>
                  </a:moveTo>
                  <a:lnTo>
                    <a:pt x="2718" y="90"/>
                  </a:lnTo>
                  <a:lnTo>
                    <a:pt x="2718" y="96"/>
                  </a:lnTo>
                  <a:lnTo>
                    <a:pt x="2712" y="96"/>
                  </a:lnTo>
                  <a:lnTo>
                    <a:pt x="2712" y="90"/>
                  </a:lnTo>
                  <a:close/>
                  <a:moveTo>
                    <a:pt x="2466" y="366"/>
                  </a:moveTo>
                  <a:lnTo>
                    <a:pt x="2472" y="366"/>
                  </a:lnTo>
                  <a:lnTo>
                    <a:pt x="2472" y="372"/>
                  </a:lnTo>
                  <a:lnTo>
                    <a:pt x="2466" y="372"/>
                  </a:lnTo>
                  <a:lnTo>
                    <a:pt x="2466" y="366"/>
                  </a:lnTo>
                  <a:close/>
                  <a:moveTo>
                    <a:pt x="3006" y="162"/>
                  </a:moveTo>
                  <a:lnTo>
                    <a:pt x="3006" y="168"/>
                  </a:lnTo>
                  <a:lnTo>
                    <a:pt x="3007" y="168"/>
                  </a:lnTo>
                  <a:lnTo>
                    <a:pt x="3006" y="162"/>
                  </a:lnTo>
                  <a:close/>
                  <a:moveTo>
                    <a:pt x="2682" y="120"/>
                  </a:moveTo>
                  <a:lnTo>
                    <a:pt x="2688" y="120"/>
                  </a:lnTo>
                  <a:lnTo>
                    <a:pt x="2682" y="120"/>
                  </a:lnTo>
                  <a:close/>
                  <a:moveTo>
                    <a:pt x="2694" y="132"/>
                  </a:moveTo>
                  <a:lnTo>
                    <a:pt x="2700" y="132"/>
                  </a:lnTo>
                  <a:lnTo>
                    <a:pt x="2694" y="132"/>
                  </a:lnTo>
                  <a:close/>
                  <a:moveTo>
                    <a:pt x="2652" y="126"/>
                  </a:moveTo>
                  <a:lnTo>
                    <a:pt x="2658" y="126"/>
                  </a:lnTo>
                  <a:lnTo>
                    <a:pt x="2658" y="132"/>
                  </a:lnTo>
                  <a:lnTo>
                    <a:pt x="2652" y="132"/>
                  </a:lnTo>
                  <a:lnTo>
                    <a:pt x="2652" y="126"/>
                  </a:lnTo>
                  <a:close/>
                  <a:moveTo>
                    <a:pt x="2976" y="150"/>
                  </a:moveTo>
                  <a:lnTo>
                    <a:pt x="2982" y="150"/>
                  </a:lnTo>
                  <a:lnTo>
                    <a:pt x="2976" y="150"/>
                  </a:lnTo>
                  <a:close/>
                  <a:moveTo>
                    <a:pt x="2874" y="150"/>
                  </a:moveTo>
                  <a:lnTo>
                    <a:pt x="2880" y="150"/>
                  </a:lnTo>
                  <a:lnTo>
                    <a:pt x="2880" y="156"/>
                  </a:lnTo>
                  <a:lnTo>
                    <a:pt x="2874" y="156"/>
                  </a:lnTo>
                  <a:lnTo>
                    <a:pt x="2874" y="150"/>
                  </a:lnTo>
                  <a:close/>
                  <a:moveTo>
                    <a:pt x="2430" y="372"/>
                  </a:moveTo>
                  <a:lnTo>
                    <a:pt x="2436" y="372"/>
                  </a:lnTo>
                  <a:lnTo>
                    <a:pt x="2436" y="378"/>
                  </a:lnTo>
                  <a:lnTo>
                    <a:pt x="2430" y="378"/>
                  </a:lnTo>
                  <a:lnTo>
                    <a:pt x="2430" y="372"/>
                  </a:lnTo>
                  <a:close/>
                  <a:moveTo>
                    <a:pt x="2862" y="162"/>
                  </a:moveTo>
                  <a:lnTo>
                    <a:pt x="2868" y="162"/>
                  </a:lnTo>
                  <a:lnTo>
                    <a:pt x="2862" y="162"/>
                  </a:lnTo>
                  <a:close/>
                  <a:moveTo>
                    <a:pt x="2496" y="240"/>
                  </a:moveTo>
                  <a:lnTo>
                    <a:pt x="2496" y="246"/>
                  </a:lnTo>
                  <a:lnTo>
                    <a:pt x="2497" y="246"/>
                  </a:lnTo>
                  <a:lnTo>
                    <a:pt x="2496" y="240"/>
                  </a:lnTo>
                  <a:close/>
                  <a:moveTo>
                    <a:pt x="2982" y="144"/>
                  </a:moveTo>
                  <a:lnTo>
                    <a:pt x="2982" y="150"/>
                  </a:lnTo>
                  <a:lnTo>
                    <a:pt x="2983" y="150"/>
                  </a:lnTo>
                  <a:lnTo>
                    <a:pt x="2982" y="144"/>
                  </a:lnTo>
                  <a:close/>
                  <a:moveTo>
                    <a:pt x="2460" y="366"/>
                  </a:moveTo>
                  <a:lnTo>
                    <a:pt x="2460" y="378"/>
                  </a:lnTo>
                  <a:lnTo>
                    <a:pt x="2461" y="378"/>
                  </a:lnTo>
                  <a:lnTo>
                    <a:pt x="2460" y="366"/>
                  </a:lnTo>
                  <a:close/>
                  <a:moveTo>
                    <a:pt x="2532" y="204"/>
                  </a:moveTo>
                  <a:lnTo>
                    <a:pt x="2538" y="204"/>
                  </a:lnTo>
                  <a:lnTo>
                    <a:pt x="2532" y="210"/>
                  </a:lnTo>
                  <a:lnTo>
                    <a:pt x="2532" y="204"/>
                  </a:lnTo>
                  <a:close/>
                  <a:moveTo>
                    <a:pt x="2670" y="162"/>
                  </a:moveTo>
                  <a:lnTo>
                    <a:pt x="2676" y="162"/>
                  </a:lnTo>
                  <a:lnTo>
                    <a:pt x="2676" y="168"/>
                  </a:lnTo>
                  <a:lnTo>
                    <a:pt x="2670" y="168"/>
                  </a:lnTo>
                  <a:lnTo>
                    <a:pt x="2670" y="162"/>
                  </a:lnTo>
                  <a:close/>
                  <a:moveTo>
                    <a:pt x="2916" y="372"/>
                  </a:moveTo>
                  <a:lnTo>
                    <a:pt x="2922" y="372"/>
                  </a:lnTo>
                  <a:lnTo>
                    <a:pt x="2922" y="378"/>
                  </a:lnTo>
                  <a:lnTo>
                    <a:pt x="2916" y="378"/>
                  </a:lnTo>
                  <a:lnTo>
                    <a:pt x="2916" y="372"/>
                  </a:lnTo>
                  <a:close/>
                  <a:moveTo>
                    <a:pt x="2976" y="288"/>
                  </a:moveTo>
                  <a:lnTo>
                    <a:pt x="2982" y="288"/>
                  </a:lnTo>
                  <a:lnTo>
                    <a:pt x="2982" y="294"/>
                  </a:lnTo>
                  <a:lnTo>
                    <a:pt x="2976" y="294"/>
                  </a:lnTo>
                  <a:lnTo>
                    <a:pt x="2976" y="288"/>
                  </a:lnTo>
                  <a:close/>
                  <a:moveTo>
                    <a:pt x="2862" y="162"/>
                  </a:moveTo>
                  <a:lnTo>
                    <a:pt x="2868" y="162"/>
                  </a:lnTo>
                  <a:lnTo>
                    <a:pt x="2868" y="168"/>
                  </a:lnTo>
                  <a:lnTo>
                    <a:pt x="2862" y="168"/>
                  </a:lnTo>
                  <a:lnTo>
                    <a:pt x="2862" y="162"/>
                  </a:lnTo>
                  <a:close/>
                  <a:moveTo>
                    <a:pt x="2988" y="138"/>
                  </a:moveTo>
                  <a:lnTo>
                    <a:pt x="2994" y="138"/>
                  </a:lnTo>
                  <a:lnTo>
                    <a:pt x="2994" y="144"/>
                  </a:lnTo>
                  <a:lnTo>
                    <a:pt x="2988" y="144"/>
                  </a:lnTo>
                  <a:lnTo>
                    <a:pt x="2988" y="138"/>
                  </a:lnTo>
                  <a:close/>
                  <a:moveTo>
                    <a:pt x="2946" y="132"/>
                  </a:moveTo>
                  <a:lnTo>
                    <a:pt x="2952" y="132"/>
                  </a:lnTo>
                  <a:lnTo>
                    <a:pt x="2952" y="138"/>
                  </a:lnTo>
                  <a:lnTo>
                    <a:pt x="2940" y="138"/>
                  </a:lnTo>
                  <a:lnTo>
                    <a:pt x="2946" y="132"/>
                  </a:lnTo>
                  <a:close/>
                  <a:moveTo>
                    <a:pt x="2910" y="390"/>
                  </a:moveTo>
                  <a:lnTo>
                    <a:pt x="2916" y="390"/>
                  </a:lnTo>
                  <a:lnTo>
                    <a:pt x="2916" y="402"/>
                  </a:lnTo>
                  <a:lnTo>
                    <a:pt x="2910" y="402"/>
                  </a:lnTo>
                  <a:lnTo>
                    <a:pt x="2910" y="390"/>
                  </a:lnTo>
                  <a:close/>
                  <a:moveTo>
                    <a:pt x="2748" y="120"/>
                  </a:moveTo>
                  <a:lnTo>
                    <a:pt x="2760" y="120"/>
                  </a:lnTo>
                  <a:lnTo>
                    <a:pt x="2760" y="126"/>
                  </a:lnTo>
                  <a:lnTo>
                    <a:pt x="2748" y="126"/>
                  </a:lnTo>
                  <a:lnTo>
                    <a:pt x="2748" y="120"/>
                  </a:lnTo>
                  <a:close/>
                  <a:moveTo>
                    <a:pt x="3000" y="420"/>
                  </a:moveTo>
                  <a:lnTo>
                    <a:pt x="3006" y="420"/>
                  </a:lnTo>
                  <a:lnTo>
                    <a:pt x="3006" y="432"/>
                  </a:lnTo>
                  <a:lnTo>
                    <a:pt x="3000" y="432"/>
                  </a:lnTo>
                  <a:lnTo>
                    <a:pt x="3000" y="420"/>
                  </a:lnTo>
                  <a:close/>
                  <a:moveTo>
                    <a:pt x="2976" y="120"/>
                  </a:moveTo>
                  <a:lnTo>
                    <a:pt x="2982" y="120"/>
                  </a:lnTo>
                  <a:lnTo>
                    <a:pt x="2982" y="126"/>
                  </a:lnTo>
                  <a:lnTo>
                    <a:pt x="2976" y="126"/>
                  </a:lnTo>
                  <a:lnTo>
                    <a:pt x="2976" y="120"/>
                  </a:lnTo>
                  <a:close/>
                  <a:moveTo>
                    <a:pt x="2748" y="126"/>
                  </a:moveTo>
                  <a:lnTo>
                    <a:pt x="2760" y="126"/>
                  </a:lnTo>
                  <a:lnTo>
                    <a:pt x="2760" y="132"/>
                  </a:lnTo>
                  <a:lnTo>
                    <a:pt x="2748" y="132"/>
                  </a:lnTo>
                  <a:lnTo>
                    <a:pt x="2748" y="126"/>
                  </a:lnTo>
                  <a:close/>
                  <a:moveTo>
                    <a:pt x="2994" y="432"/>
                  </a:moveTo>
                  <a:lnTo>
                    <a:pt x="3000" y="432"/>
                  </a:lnTo>
                  <a:lnTo>
                    <a:pt x="3000" y="444"/>
                  </a:lnTo>
                  <a:lnTo>
                    <a:pt x="2994" y="444"/>
                  </a:lnTo>
                  <a:lnTo>
                    <a:pt x="2994" y="432"/>
                  </a:lnTo>
                  <a:close/>
                  <a:moveTo>
                    <a:pt x="2682" y="132"/>
                  </a:moveTo>
                  <a:lnTo>
                    <a:pt x="2688" y="132"/>
                  </a:lnTo>
                  <a:lnTo>
                    <a:pt x="2694" y="132"/>
                  </a:lnTo>
                  <a:lnTo>
                    <a:pt x="2694" y="138"/>
                  </a:lnTo>
                  <a:lnTo>
                    <a:pt x="2688" y="138"/>
                  </a:lnTo>
                  <a:lnTo>
                    <a:pt x="2688" y="132"/>
                  </a:lnTo>
                  <a:lnTo>
                    <a:pt x="2682" y="132"/>
                  </a:lnTo>
                  <a:close/>
                  <a:moveTo>
                    <a:pt x="2460" y="360"/>
                  </a:moveTo>
                  <a:lnTo>
                    <a:pt x="2460" y="354"/>
                  </a:lnTo>
                  <a:lnTo>
                    <a:pt x="2460" y="360"/>
                  </a:lnTo>
                  <a:lnTo>
                    <a:pt x="2460" y="354"/>
                  </a:lnTo>
                  <a:lnTo>
                    <a:pt x="2466" y="354"/>
                  </a:lnTo>
                  <a:lnTo>
                    <a:pt x="2472" y="354"/>
                  </a:lnTo>
                  <a:lnTo>
                    <a:pt x="2466" y="354"/>
                  </a:lnTo>
                  <a:lnTo>
                    <a:pt x="2466" y="360"/>
                  </a:lnTo>
                  <a:lnTo>
                    <a:pt x="2460" y="360"/>
                  </a:lnTo>
                  <a:close/>
                  <a:moveTo>
                    <a:pt x="2976" y="426"/>
                  </a:moveTo>
                  <a:lnTo>
                    <a:pt x="2982" y="426"/>
                  </a:lnTo>
                  <a:lnTo>
                    <a:pt x="2982" y="432"/>
                  </a:lnTo>
                  <a:lnTo>
                    <a:pt x="2976" y="432"/>
                  </a:lnTo>
                  <a:lnTo>
                    <a:pt x="2976" y="426"/>
                  </a:lnTo>
                  <a:close/>
                  <a:moveTo>
                    <a:pt x="2454" y="372"/>
                  </a:moveTo>
                  <a:lnTo>
                    <a:pt x="2454" y="366"/>
                  </a:lnTo>
                  <a:lnTo>
                    <a:pt x="2454" y="372"/>
                  </a:lnTo>
                  <a:lnTo>
                    <a:pt x="2460" y="372"/>
                  </a:lnTo>
                  <a:lnTo>
                    <a:pt x="2460" y="378"/>
                  </a:lnTo>
                  <a:lnTo>
                    <a:pt x="2460" y="384"/>
                  </a:lnTo>
                  <a:lnTo>
                    <a:pt x="2460" y="378"/>
                  </a:lnTo>
                  <a:lnTo>
                    <a:pt x="2454" y="378"/>
                  </a:lnTo>
                  <a:lnTo>
                    <a:pt x="2454" y="372"/>
                  </a:lnTo>
                  <a:close/>
                  <a:moveTo>
                    <a:pt x="2958" y="162"/>
                  </a:moveTo>
                  <a:lnTo>
                    <a:pt x="2952" y="162"/>
                  </a:lnTo>
                  <a:lnTo>
                    <a:pt x="2958" y="162"/>
                  </a:lnTo>
                  <a:lnTo>
                    <a:pt x="2958" y="156"/>
                  </a:lnTo>
                  <a:lnTo>
                    <a:pt x="2964" y="156"/>
                  </a:lnTo>
                  <a:lnTo>
                    <a:pt x="2964" y="162"/>
                  </a:lnTo>
                  <a:lnTo>
                    <a:pt x="2964" y="156"/>
                  </a:lnTo>
                  <a:lnTo>
                    <a:pt x="2970" y="156"/>
                  </a:lnTo>
                  <a:lnTo>
                    <a:pt x="2964" y="156"/>
                  </a:lnTo>
                  <a:lnTo>
                    <a:pt x="2970" y="156"/>
                  </a:lnTo>
                  <a:lnTo>
                    <a:pt x="2970" y="162"/>
                  </a:lnTo>
                  <a:lnTo>
                    <a:pt x="2964" y="162"/>
                  </a:lnTo>
                  <a:lnTo>
                    <a:pt x="2958" y="162"/>
                  </a:lnTo>
                  <a:close/>
                  <a:moveTo>
                    <a:pt x="2952" y="264"/>
                  </a:moveTo>
                  <a:lnTo>
                    <a:pt x="2952" y="258"/>
                  </a:lnTo>
                  <a:lnTo>
                    <a:pt x="2952" y="264"/>
                  </a:lnTo>
                  <a:lnTo>
                    <a:pt x="2958" y="264"/>
                  </a:lnTo>
                  <a:lnTo>
                    <a:pt x="2958" y="270"/>
                  </a:lnTo>
                  <a:lnTo>
                    <a:pt x="2952" y="270"/>
                  </a:lnTo>
                  <a:lnTo>
                    <a:pt x="2958" y="270"/>
                  </a:lnTo>
                  <a:lnTo>
                    <a:pt x="2952" y="270"/>
                  </a:lnTo>
                  <a:lnTo>
                    <a:pt x="2952" y="276"/>
                  </a:lnTo>
                  <a:lnTo>
                    <a:pt x="2952" y="270"/>
                  </a:lnTo>
                  <a:lnTo>
                    <a:pt x="2952" y="264"/>
                  </a:lnTo>
                  <a:close/>
                  <a:moveTo>
                    <a:pt x="2958" y="132"/>
                  </a:moveTo>
                  <a:lnTo>
                    <a:pt x="2964" y="132"/>
                  </a:lnTo>
                  <a:lnTo>
                    <a:pt x="2964" y="126"/>
                  </a:lnTo>
                  <a:lnTo>
                    <a:pt x="2964" y="132"/>
                  </a:lnTo>
                  <a:lnTo>
                    <a:pt x="2964" y="126"/>
                  </a:lnTo>
                  <a:lnTo>
                    <a:pt x="2970" y="126"/>
                  </a:lnTo>
                  <a:lnTo>
                    <a:pt x="2976" y="126"/>
                  </a:lnTo>
                  <a:lnTo>
                    <a:pt x="2970" y="126"/>
                  </a:lnTo>
                  <a:lnTo>
                    <a:pt x="2970" y="132"/>
                  </a:lnTo>
                  <a:lnTo>
                    <a:pt x="2970" y="126"/>
                  </a:lnTo>
                  <a:lnTo>
                    <a:pt x="2970" y="132"/>
                  </a:lnTo>
                  <a:lnTo>
                    <a:pt x="2970" y="126"/>
                  </a:lnTo>
                  <a:lnTo>
                    <a:pt x="2964" y="132"/>
                  </a:lnTo>
                  <a:lnTo>
                    <a:pt x="2970" y="132"/>
                  </a:lnTo>
                  <a:lnTo>
                    <a:pt x="2964" y="132"/>
                  </a:lnTo>
                  <a:lnTo>
                    <a:pt x="2958" y="132"/>
                  </a:lnTo>
                  <a:close/>
                  <a:moveTo>
                    <a:pt x="2952" y="294"/>
                  </a:moveTo>
                  <a:lnTo>
                    <a:pt x="2952" y="288"/>
                  </a:lnTo>
                  <a:lnTo>
                    <a:pt x="2958" y="288"/>
                  </a:lnTo>
                  <a:lnTo>
                    <a:pt x="2958" y="282"/>
                  </a:lnTo>
                  <a:lnTo>
                    <a:pt x="2964" y="282"/>
                  </a:lnTo>
                  <a:lnTo>
                    <a:pt x="2964" y="288"/>
                  </a:lnTo>
                  <a:lnTo>
                    <a:pt x="2964" y="294"/>
                  </a:lnTo>
                  <a:lnTo>
                    <a:pt x="2958" y="294"/>
                  </a:lnTo>
                  <a:lnTo>
                    <a:pt x="2958" y="300"/>
                  </a:lnTo>
                  <a:lnTo>
                    <a:pt x="2958" y="294"/>
                  </a:lnTo>
                  <a:lnTo>
                    <a:pt x="2952" y="294"/>
                  </a:lnTo>
                  <a:lnTo>
                    <a:pt x="2958" y="294"/>
                  </a:lnTo>
                  <a:lnTo>
                    <a:pt x="2952" y="294"/>
                  </a:lnTo>
                  <a:close/>
                  <a:moveTo>
                    <a:pt x="3006" y="438"/>
                  </a:moveTo>
                  <a:lnTo>
                    <a:pt x="3006" y="432"/>
                  </a:lnTo>
                  <a:lnTo>
                    <a:pt x="3012" y="432"/>
                  </a:lnTo>
                  <a:lnTo>
                    <a:pt x="3012" y="438"/>
                  </a:lnTo>
                  <a:lnTo>
                    <a:pt x="3012" y="432"/>
                  </a:lnTo>
                  <a:lnTo>
                    <a:pt x="3012" y="426"/>
                  </a:lnTo>
                  <a:lnTo>
                    <a:pt x="3012" y="432"/>
                  </a:lnTo>
                  <a:lnTo>
                    <a:pt x="3012" y="426"/>
                  </a:lnTo>
                  <a:lnTo>
                    <a:pt x="3012" y="432"/>
                  </a:lnTo>
                  <a:lnTo>
                    <a:pt x="3018" y="432"/>
                  </a:lnTo>
                  <a:lnTo>
                    <a:pt x="3018" y="438"/>
                  </a:lnTo>
                  <a:lnTo>
                    <a:pt x="3018" y="444"/>
                  </a:lnTo>
                  <a:lnTo>
                    <a:pt x="3018" y="450"/>
                  </a:lnTo>
                  <a:lnTo>
                    <a:pt x="3018" y="444"/>
                  </a:lnTo>
                  <a:lnTo>
                    <a:pt x="3012" y="444"/>
                  </a:lnTo>
                  <a:lnTo>
                    <a:pt x="3012" y="438"/>
                  </a:lnTo>
                  <a:lnTo>
                    <a:pt x="3006" y="438"/>
                  </a:lnTo>
                  <a:lnTo>
                    <a:pt x="3012" y="438"/>
                  </a:lnTo>
                  <a:lnTo>
                    <a:pt x="3006" y="438"/>
                  </a:lnTo>
                  <a:close/>
                  <a:moveTo>
                    <a:pt x="2682" y="84"/>
                  </a:moveTo>
                  <a:lnTo>
                    <a:pt x="2688" y="84"/>
                  </a:lnTo>
                  <a:lnTo>
                    <a:pt x="2688" y="78"/>
                  </a:lnTo>
                  <a:lnTo>
                    <a:pt x="2694" y="78"/>
                  </a:lnTo>
                  <a:lnTo>
                    <a:pt x="2694" y="84"/>
                  </a:lnTo>
                  <a:lnTo>
                    <a:pt x="2688" y="84"/>
                  </a:lnTo>
                  <a:lnTo>
                    <a:pt x="2694" y="84"/>
                  </a:lnTo>
                  <a:lnTo>
                    <a:pt x="2694" y="90"/>
                  </a:lnTo>
                  <a:lnTo>
                    <a:pt x="2688" y="96"/>
                  </a:lnTo>
                  <a:lnTo>
                    <a:pt x="2694" y="96"/>
                  </a:lnTo>
                  <a:lnTo>
                    <a:pt x="2694" y="102"/>
                  </a:lnTo>
                  <a:lnTo>
                    <a:pt x="2694" y="108"/>
                  </a:lnTo>
                  <a:lnTo>
                    <a:pt x="2688" y="108"/>
                  </a:lnTo>
                  <a:lnTo>
                    <a:pt x="2688" y="102"/>
                  </a:lnTo>
                  <a:lnTo>
                    <a:pt x="2688" y="96"/>
                  </a:lnTo>
                  <a:lnTo>
                    <a:pt x="2682" y="96"/>
                  </a:lnTo>
                  <a:lnTo>
                    <a:pt x="2688" y="90"/>
                  </a:lnTo>
                  <a:lnTo>
                    <a:pt x="2682" y="90"/>
                  </a:lnTo>
                  <a:lnTo>
                    <a:pt x="2682" y="84"/>
                  </a:lnTo>
                  <a:close/>
                  <a:moveTo>
                    <a:pt x="2916" y="162"/>
                  </a:moveTo>
                  <a:lnTo>
                    <a:pt x="2910" y="162"/>
                  </a:lnTo>
                  <a:lnTo>
                    <a:pt x="2916" y="162"/>
                  </a:lnTo>
                  <a:lnTo>
                    <a:pt x="2916" y="156"/>
                  </a:lnTo>
                  <a:lnTo>
                    <a:pt x="2922" y="156"/>
                  </a:lnTo>
                  <a:lnTo>
                    <a:pt x="2922" y="150"/>
                  </a:lnTo>
                  <a:lnTo>
                    <a:pt x="2922" y="156"/>
                  </a:lnTo>
                  <a:lnTo>
                    <a:pt x="2922" y="150"/>
                  </a:lnTo>
                  <a:lnTo>
                    <a:pt x="2928" y="150"/>
                  </a:lnTo>
                  <a:lnTo>
                    <a:pt x="2928" y="156"/>
                  </a:lnTo>
                  <a:lnTo>
                    <a:pt x="2928" y="150"/>
                  </a:lnTo>
                  <a:lnTo>
                    <a:pt x="2934" y="150"/>
                  </a:lnTo>
                  <a:lnTo>
                    <a:pt x="2934" y="144"/>
                  </a:lnTo>
                  <a:lnTo>
                    <a:pt x="2940" y="144"/>
                  </a:lnTo>
                  <a:lnTo>
                    <a:pt x="2934" y="144"/>
                  </a:lnTo>
                  <a:lnTo>
                    <a:pt x="2934" y="138"/>
                  </a:lnTo>
                  <a:lnTo>
                    <a:pt x="2940" y="138"/>
                  </a:lnTo>
                  <a:lnTo>
                    <a:pt x="2940" y="144"/>
                  </a:lnTo>
                  <a:lnTo>
                    <a:pt x="2940" y="150"/>
                  </a:lnTo>
                  <a:lnTo>
                    <a:pt x="2934" y="150"/>
                  </a:lnTo>
                  <a:lnTo>
                    <a:pt x="2934" y="156"/>
                  </a:lnTo>
                  <a:lnTo>
                    <a:pt x="2928" y="156"/>
                  </a:lnTo>
                  <a:lnTo>
                    <a:pt x="2922" y="156"/>
                  </a:lnTo>
                  <a:lnTo>
                    <a:pt x="2922" y="162"/>
                  </a:lnTo>
                  <a:lnTo>
                    <a:pt x="2916" y="162"/>
                  </a:lnTo>
                  <a:close/>
                  <a:moveTo>
                    <a:pt x="2982" y="114"/>
                  </a:moveTo>
                  <a:lnTo>
                    <a:pt x="2988" y="114"/>
                  </a:lnTo>
                  <a:lnTo>
                    <a:pt x="2982" y="114"/>
                  </a:lnTo>
                  <a:lnTo>
                    <a:pt x="2988" y="114"/>
                  </a:lnTo>
                  <a:lnTo>
                    <a:pt x="2988" y="108"/>
                  </a:lnTo>
                  <a:lnTo>
                    <a:pt x="2994" y="108"/>
                  </a:lnTo>
                  <a:lnTo>
                    <a:pt x="2988" y="108"/>
                  </a:lnTo>
                  <a:lnTo>
                    <a:pt x="2994" y="102"/>
                  </a:lnTo>
                  <a:lnTo>
                    <a:pt x="2994" y="96"/>
                  </a:lnTo>
                  <a:lnTo>
                    <a:pt x="3000" y="96"/>
                  </a:lnTo>
                  <a:lnTo>
                    <a:pt x="3000" y="90"/>
                  </a:lnTo>
                  <a:lnTo>
                    <a:pt x="3006" y="90"/>
                  </a:lnTo>
                  <a:lnTo>
                    <a:pt x="3006" y="84"/>
                  </a:lnTo>
                  <a:lnTo>
                    <a:pt x="3000" y="84"/>
                  </a:lnTo>
                  <a:lnTo>
                    <a:pt x="3006" y="84"/>
                  </a:lnTo>
                  <a:lnTo>
                    <a:pt x="3006" y="90"/>
                  </a:lnTo>
                  <a:lnTo>
                    <a:pt x="3000" y="96"/>
                  </a:lnTo>
                  <a:lnTo>
                    <a:pt x="3000" y="102"/>
                  </a:lnTo>
                  <a:lnTo>
                    <a:pt x="2994" y="102"/>
                  </a:lnTo>
                  <a:lnTo>
                    <a:pt x="2994" y="108"/>
                  </a:lnTo>
                  <a:lnTo>
                    <a:pt x="2994" y="114"/>
                  </a:lnTo>
                  <a:lnTo>
                    <a:pt x="2988" y="114"/>
                  </a:lnTo>
                  <a:lnTo>
                    <a:pt x="2982" y="114"/>
                  </a:lnTo>
                  <a:close/>
                  <a:moveTo>
                    <a:pt x="2496" y="144"/>
                  </a:moveTo>
                  <a:lnTo>
                    <a:pt x="2496" y="138"/>
                  </a:lnTo>
                  <a:lnTo>
                    <a:pt x="2502" y="138"/>
                  </a:lnTo>
                  <a:lnTo>
                    <a:pt x="2502" y="132"/>
                  </a:lnTo>
                  <a:lnTo>
                    <a:pt x="2502" y="138"/>
                  </a:lnTo>
                  <a:lnTo>
                    <a:pt x="2508" y="138"/>
                  </a:lnTo>
                  <a:lnTo>
                    <a:pt x="2508" y="132"/>
                  </a:lnTo>
                  <a:lnTo>
                    <a:pt x="2514" y="132"/>
                  </a:lnTo>
                  <a:lnTo>
                    <a:pt x="2508" y="132"/>
                  </a:lnTo>
                  <a:lnTo>
                    <a:pt x="2508" y="138"/>
                  </a:lnTo>
                  <a:lnTo>
                    <a:pt x="2514" y="138"/>
                  </a:lnTo>
                  <a:lnTo>
                    <a:pt x="2514" y="132"/>
                  </a:lnTo>
                  <a:lnTo>
                    <a:pt x="2514" y="138"/>
                  </a:lnTo>
                  <a:lnTo>
                    <a:pt x="2520" y="138"/>
                  </a:lnTo>
                  <a:lnTo>
                    <a:pt x="2520" y="132"/>
                  </a:lnTo>
                  <a:lnTo>
                    <a:pt x="2514" y="132"/>
                  </a:lnTo>
                  <a:lnTo>
                    <a:pt x="2508" y="132"/>
                  </a:lnTo>
                  <a:lnTo>
                    <a:pt x="2508" y="126"/>
                  </a:lnTo>
                  <a:lnTo>
                    <a:pt x="2508" y="120"/>
                  </a:lnTo>
                  <a:lnTo>
                    <a:pt x="2514" y="120"/>
                  </a:lnTo>
                  <a:lnTo>
                    <a:pt x="2514" y="126"/>
                  </a:lnTo>
                  <a:lnTo>
                    <a:pt x="2514" y="120"/>
                  </a:lnTo>
                  <a:lnTo>
                    <a:pt x="2508" y="120"/>
                  </a:lnTo>
                  <a:lnTo>
                    <a:pt x="2508" y="114"/>
                  </a:lnTo>
                  <a:lnTo>
                    <a:pt x="2514" y="114"/>
                  </a:lnTo>
                  <a:lnTo>
                    <a:pt x="2514" y="108"/>
                  </a:lnTo>
                  <a:lnTo>
                    <a:pt x="2514" y="114"/>
                  </a:lnTo>
                  <a:lnTo>
                    <a:pt x="2514" y="108"/>
                  </a:lnTo>
                  <a:lnTo>
                    <a:pt x="2520" y="108"/>
                  </a:lnTo>
                  <a:lnTo>
                    <a:pt x="2526" y="114"/>
                  </a:lnTo>
                  <a:lnTo>
                    <a:pt x="2526" y="120"/>
                  </a:lnTo>
                  <a:lnTo>
                    <a:pt x="2526" y="126"/>
                  </a:lnTo>
                  <a:lnTo>
                    <a:pt x="2520" y="126"/>
                  </a:lnTo>
                  <a:lnTo>
                    <a:pt x="2526" y="126"/>
                  </a:lnTo>
                  <a:lnTo>
                    <a:pt x="2532" y="126"/>
                  </a:lnTo>
                  <a:lnTo>
                    <a:pt x="2532" y="132"/>
                  </a:lnTo>
                  <a:lnTo>
                    <a:pt x="2526" y="132"/>
                  </a:lnTo>
                  <a:lnTo>
                    <a:pt x="2526" y="138"/>
                  </a:lnTo>
                  <a:lnTo>
                    <a:pt x="2532" y="138"/>
                  </a:lnTo>
                  <a:lnTo>
                    <a:pt x="2532" y="132"/>
                  </a:lnTo>
                  <a:lnTo>
                    <a:pt x="2538" y="138"/>
                  </a:lnTo>
                  <a:lnTo>
                    <a:pt x="2538" y="132"/>
                  </a:lnTo>
                  <a:lnTo>
                    <a:pt x="2538" y="138"/>
                  </a:lnTo>
                  <a:lnTo>
                    <a:pt x="2544" y="138"/>
                  </a:lnTo>
                  <a:lnTo>
                    <a:pt x="2544" y="144"/>
                  </a:lnTo>
                  <a:lnTo>
                    <a:pt x="2538" y="144"/>
                  </a:lnTo>
                  <a:lnTo>
                    <a:pt x="2532" y="144"/>
                  </a:lnTo>
                  <a:lnTo>
                    <a:pt x="2526" y="144"/>
                  </a:lnTo>
                  <a:lnTo>
                    <a:pt x="2520" y="144"/>
                  </a:lnTo>
                  <a:lnTo>
                    <a:pt x="2520" y="138"/>
                  </a:lnTo>
                  <a:lnTo>
                    <a:pt x="2520" y="144"/>
                  </a:lnTo>
                  <a:lnTo>
                    <a:pt x="2514" y="144"/>
                  </a:lnTo>
                  <a:lnTo>
                    <a:pt x="2508" y="144"/>
                  </a:lnTo>
                  <a:lnTo>
                    <a:pt x="2502" y="144"/>
                  </a:lnTo>
                  <a:lnTo>
                    <a:pt x="2496" y="144"/>
                  </a:lnTo>
                  <a:close/>
                  <a:moveTo>
                    <a:pt x="2964" y="330"/>
                  </a:moveTo>
                  <a:lnTo>
                    <a:pt x="2964" y="324"/>
                  </a:lnTo>
                  <a:lnTo>
                    <a:pt x="2970" y="324"/>
                  </a:lnTo>
                  <a:lnTo>
                    <a:pt x="2976" y="318"/>
                  </a:lnTo>
                  <a:lnTo>
                    <a:pt x="2970" y="318"/>
                  </a:lnTo>
                  <a:lnTo>
                    <a:pt x="2976" y="318"/>
                  </a:lnTo>
                  <a:lnTo>
                    <a:pt x="2976" y="312"/>
                  </a:lnTo>
                  <a:lnTo>
                    <a:pt x="2976" y="306"/>
                  </a:lnTo>
                  <a:lnTo>
                    <a:pt x="2970" y="306"/>
                  </a:lnTo>
                  <a:lnTo>
                    <a:pt x="2976" y="306"/>
                  </a:lnTo>
                  <a:lnTo>
                    <a:pt x="2976" y="300"/>
                  </a:lnTo>
                  <a:lnTo>
                    <a:pt x="2970" y="294"/>
                  </a:lnTo>
                  <a:lnTo>
                    <a:pt x="2976" y="294"/>
                  </a:lnTo>
                  <a:lnTo>
                    <a:pt x="2982" y="294"/>
                  </a:lnTo>
                  <a:lnTo>
                    <a:pt x="2988" y="294"/>
                  </a:lnTo>
                  <a:lnTo>
                    <a:pt x="2988" y="288"/>
                  </a:lnTo>
                  <a:lnTo>
                    <a:pt x="2988" y="282"/>
                  </a:lnTo>
                  <a:lnTo>
                    <a:pt x="2988" y="288"/>
                  </a:lnTo>
                  <a:lnTo>
                    <a:pt x="2988" y="282"/>
                  </a:lnTo>
                  <a:lnTo>
                    <a:pt x="2988" y="288"/>
                  </a:lnTo>
                  <a:lnTo>
                    <a:pt x="2994" y="288"/>
                  </a:lnTo>
                  <a:lnTo>
                    <a:pt x="2994" y="282"/>
                  </a:lnTo>
                  <a:lnTo>
                    <a:pt x="3000" y="282"/>
                  </a:lnTo>
                  <a:lnTo>
                    <a:pt x="3000" y="288"/>
                  </a:lnTo>
                  <a:lnTo>
                    <a:pt x="2994" y="288"/>
                  </a:lnTo>
                  <a:lnTo>
                    <a:pt x="2994" y="294"/>
                  </a:lnTo>
                  <a:lnTo>
                    <a:pt x="3000" y="294"/>
                  </a:lnTo>
                  <a:lnTo>
                    <a:pt x="2994" y="294"/>
                  </a:lnTo>
                  <a:lnTo>
                    <a:pt x="2994" y="300"/>
                  </a:lnTo>
                  <a:lnTo>
                    <a:pt x="3000" y="300"/>
                  </a:lnTo>
                  <a:lnTo>
                    <a:pt x="3000" y="294"/>
                  </a:lnTo>
                  <a:lnTo>
                    <a:pt x="3000" y="300"/>
                  </a:lnTo>
                  <a:lnTo>
                    <a:pt x="3006" y="300"/>
                  </a:lnTo>
                  <a:lnTo>
                    <a:pt x="3006" y="294"/>
                  </a:lnTo>
                  <a:lnTo>
                    <a:pt x="3000" y="294"/>
                  </a:lnTo>
                  <a:lnTo>
                    <a:pt x="3006" y="294"/>
                  </a:lnTo>
                  <a:lnTo>
                    <a:pt x="3006" y="288"/>
                  </a:lnTo>
                  <a:lnTo>
                    <a:pt x="3012" y="288"/>
                  </a:lnTo>
                  <a:lnTo>
                    <a:pt x="3012" y="294"/>
                  </a:lnTo>
                  <a:lnTo>
                    <a:pt x="3006" y="300"/>
                  </a:lnTo>
                  <a:lnTo>
                    <a:pt x="3000" y="300"/>
                  </a:lnTo>
                  <a:lnTo>
                    <a:pt x="3000" y="306"/>
                  </a:lnTo>
                  <a:lnTo>
                    <a:pt x="2994" y="306"/>
                  </a:lnTo>
                  <a:lnTo>
                    <a:pt x="3000" y="306"/>
                  </a:lnTo>
                  <a:lnTo>
                    <a:pt x="3000" y="312"/>
                  </a:lnTo>
                  <a:lnTo>
                    <a:pt x="3000" y="318"/>
                  </a:lnTo>
                  <a:lnTo>
                    <a:pt x="2994" y="318"/>
                  </a:lnTo>
                  <a:lnTo>
                    <a:pt x="3000" y="312"/>
                  </a:lnTo>
                  <a:lnTo>
                    <a:pt x="2994" y="312"/>
                  </a:lnTo>
                  <a:lnTo>
                    <a:pt x="2994" y="318"/>
                  </a:lnTo>
                  <a:lnTo>
                    <a:pt x="2994" y="324"/>
                  </a:lnTo>
                  <a:lnTo>
                    <a:pt x="3000" y="324"/>
                  </a:lnTo>
                  <a:lnTo>
                    <a:pt x="3000" y="318"/>
                  </a:lnTo>
                  <a:lnTo>
                    <a:pt x="3000" y="324"/>
                  </a:lnTo>
                  <a:lnTo>
                    <a:pt x="3006" y="324"/>
                  </a:lnTo>
                  <a:lnTo>
                    <a:pt x="3012" y="324"/>
                  </a:lnTo>
                  <a:lnTo>
                    <a:pt x="3012" y="318"/>
                  </a:lnTo>
                  <a:lnTo>
                    <a:pt x="3012" y="324"/>
                  </a:lnTo>
                  <a:lnTo>
                    <a:pt x="3012" y="330"/>
                  </a:lnTo>
                  <a:lnTo>
                    <a:pt x="3006" y="330"/>
                  </a:lnTo>
                  <a:lnTo>
                    <a:pt x="3000" y="330"/>
                  </a:lnTo>
                  <a:lnTo>
                    <a:pt x="2994" y="330"/>
                  </a:lnTo>
                  <a:lnTo>
                    <a:pt x="2988" y="330"/>
                  </a:lnTo>
                  <a:lnTo>
                    <a:pt x="2982" y="330"/>
                  </a:lnTo>
                  <a:lnTo>
                    <a:pt x="2982" y="324"/>
                  </a:lnTo>
                  <a:lnTo>
                    <a:pt x="2976" y="330"/>
                  </a:lnTo>
                  <a:lnTo>
                    <a:pt x="2976" y="324"/>
                  </a:lnTo>
                  <a:lnTo>
                    <a:pt x="2970" y="324"/>
                  </a:lnTo>
                  <a:lnTo>
                    <a:pt x="2964" y="330"/>
                  </a:lnTo>
                  <a:close/>
                  <a:moveTo>
                    <a:pt x="2526" y="102"/>
                  </a:moveTo>
                  <a:lnTo>
                    <a:pt x="2526" y="96"/>
                  </a:lnTo>
                  <a:lnTo>
                    <a:pt x="2532" y="102"/>
                  </a:lnTo>
                  <a:lnTo>
                    <a:pt x="2538" y="102"/>
                  </a:lnTo>
                  <a:lnTo>
                    <a:pt x="2544" y="102"/>
                  </a:lnTo>
                  <a:lnTo>
                    <a:pt x="2544" y="108"/>
                  </a:lnTo>
                  <a:lnTo>
                    <a:pt x="2538" y="108"/>
                  </a:lnTo>
                  <a:lnTo>
                    <a:pt x="2538" y="114"/>
                  </a:lnTo>
                  <a:lnTo>
                    <a:pt x="2544" y="114"/>
                  </a:lnTo>
                  <a:lnTo>
                    <a:pt x="2538" y="114"/>
                  </a:lnTo>
                  <a:lnTo>
                    <a:pt x="2544" y="114"/>
                  </a:lnTo>
                  <a:lnTo>
                    <a:pt x="2544" y="108"/>
                  </a:lnTo>
                  <a:lnTo>
                    <a:pt x="2544" y="114"/>
                  </a:lnTo>
                  <a:lnTo>
                    <a:pt x="2550" y="114"/>
                  </a:lnTo>
                  <a:lnTo>
                    <a:pt x="2550" y="120"/>
                  </a:lnTo>
                  <a:lnTo>
                    <a:pt x="2556" y="120"/>
                  </a:lnTo>
                  <a:lnTo>
                    <a:pt x="2550" y="114"/>
                  </a:lnTo>
                  <a:lnTo>
                    <a:pt x="2550" y="108"/>
                  </a:lnTo>
                  <a:lnTo>
                    <a:pt x="2556" y="108"/>
                  </a:lnTo>
                  <a:lnTo>
                    <a:pt x="2562" y="108"/>
                  </a:lnTo>
                  <a:lnTo>
                    <a:pt x="2568" y="108"/>
                  </a:lnTo>
                  <a:lnTo>
                    <a:pt x="2574" y="108"/>
                  </a:lnTo>
                  <a:lnTo>
                    <a:pt x="2574" y="114"/>
                  </a:lnTo>
                  <a:lnTo>
                    <a:pt x="2574" y="120"/>
                  </a:lnTo>
                  <a:lnTo>
                    <a:pt x="2574" y="114"/>
                  </a:lnTo>
                  <a:lnTo>
                    <a:pt x="2574" y="108"/>
                  </a:lnTo>
                  <a:lnTo>
                    <a:pt x="2580" y="108"/>
                  </a:lnTo>
                  <a:lnTo>
                    <a:pt x="2580" y="102"/>
                  </a:lnTo>
                  <a:lnTo>
                    <a:pt x="2586" y="102"/>
                  </a:lnTo>
                  <a:lnTo>
                    <a:pt x="2586" y="108"/>
                  </a:lnTo>
                  <a:lnTo>
                    <a:pt x="2586" y="114"/>
                  </a:lnTo>
                  <a:lnTo>
                    <a:pt x="2592" y="114"/>
                  </a:lnTo>
                  <a:lnTo>
                    <a:pt x="2592" y="120"/>
                  </a:lnTo>
                  <a:lnTo>
                    <a:pt x="2592" y="114"/>
                  </a:lnTo>
                  <a:lnTo>
                    <a:pt x="2586" y="114"/>
                  </a:lnTo>
                  <a:lnTo>
                    <a:pt x="2586" y="108"/>
                  </a:lnTo>
                  <a:lnTo>
                    <a:pt x="2586" y="102"/>
                  </a:lnTo>
                  <a:lnTo>
                    <a:pt x="2592" y="102"/>
                  </a:lnTo>
                  <a:lnTo>
                    <a:pt x="2592" y="96"/>
                  </a:lnTo>
                  <a:lnTo>
                    <a:pt x="2598" y="102"/>
                  </a:lnTo>
                  <a:lnTo>
                    <a:pt x="2592" y="102"/>
                  </a:lnTo>
                  <a:lnTo>
                    <a:pt x="2598" y="102"/>
                  </a:lnTo>
                  <a:lnTo>
                    <a:pt x="2604" y="102"/>
                  </a:lnTo>
                  <a:lnTo>
                    <a:pt x="2604" y="108"/>
                  </a:lnTo>
                  <a:lnTo>
                    <a:pt x="2604" y="114"/>
                  </a:lnTo>
                  <a:lnTo>
                    <a:pt x="2610" y="114"/>
                  </a:lnTo>
                  <a:lnTo>
                    <a:pt x="2610" y="120"/>
                  </a:lnTo>
                  <a:lnTo>
                    <a:pt x="2604" y="120"/>
                  </a:lnTo>
                  <a:lnTo>
                    <a:pt x="2604" y="126"/>
                  </a:lnTo>
                  <a:lnTo>
                    <a:pt x="2598" y="126"/>
                  </a:lnTo>
                  <a:lnTo>
                    <a:pt x="2598" y="132"/>
                  </a:lnTo>
                  <a:lnTo>
                    <a:pt x="2592" y="138"/>
                  </a:lnTo>
                  <a:lnTo>
                    <a:pt x="2586" y="138"/>
                  </a:lnTo>
                  <a:lnTo>
                    <a:pt x="2586" y="144"/>
                  </a:lnTo>
                  <a:lnTo>
                    <a:pt x="2580" y="144"/>
                  </a:lnTo>
                  <a:lnTo>
                    <a:pt x="2574" y="144"/>
                  </a:lnTo>
                  <a:lnTo>
                    <a:pt x="2574" y="150"/>
                  </a:lnTo>
                  <a:lnTo>
                    <a:pt x="2568" y="150"/>
                  </a:lnTo>
                  <a:lnTo>
                    <a:pt x="2568" y="156"/>
                  </a:lnTo>
                  <a:lnTo>
                    <a:pt x="2568" y="150"/>
                  </a:lnTo>
                  <a:lnTo>
                    <a:pt x="2562" y="150"/>
                  </a:lnTo>
                  <a:lnTo>
                    <a:pt x="2562" y="144"/>
                  </a:lnTo>
                  <a:lnTo>
                    <a:pt x="2556" y="144"/>
                  </a:lnTo>
                  <a:lnTo>
                    <a:pt x="2550" y="144"/>
                  </a:lnTo>
                  <a:lnTo>
                    <a:pt x="2544" y="144"/>
                  </a:lnTo>
                  <a:lnTo>
                    <a:pt x="2544" y="138"/>
                  </a:lnTo>
                  <a:lnTo>
                    <a:pt x="2550" y="138"/>
                  </a:lnTo>
                  <a:lnTo>
                    <a:pt x="2544" y="138"/>
                  </a:lnTo>
                  <a:lnTo>
                    <a:pt x="2538" y="138"/>
                  </a:lnTo>
                  <a:lnTo>
                    <a:pt x="2538" y="132"/>
                  </a:lnTo>
                  <a:lnTo>
                    <a:pt x="2538" y="138"/>
                  </a:lnTo>
                  <a:lnTo>
                    <a:pt x="2538" y="132"/>
                  </a:lnTo>
                  <a:lnTo>
                    <a:pt x="2532" y="132"/>
                  </a:lnTo>
                  <a:lnTo>
                    <a:pt x="2532" y="126"/>
                  </a:lnTo>
                  <a:lnTo>
                    <a:pt x="2532" y="120"/>
                  </a:lnTo>
                  <a:lnTo>
                    <a:pt x="2526" y="120"/>
                  </a:lnTo>
                  <a:lnTo>
                    <a:pt x="2526" y="114"/>
                  </a:lnTo>
                  <a:lnTo>
                    <a:pt x="2526" y="108"/>
                  </a:lnTo>
                  <a:lnTo>
                    <a:pt x="2526" y="102"/>
                  </a:lnTo>
                  <a:close/>
                </a:path>
              </a:pathLst>
            </a:custGeom>
            <a:solidFill>
              <a:schemeClr val="accent1"/>
            </a:solidFill>
            <a:ln w="9525" cmpd="sng">
              <a:solidFill>
                <a:schemeClr val="accent1"/>
              </a:solidFill>
              <a:round/>
              <a:headEnd/>
              <a:tailEnd/>
            </a:ln>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Rectangle 44">
              <a:extLst>
                <a:ext uri="{FF2B5EF4-FFF2-40B4-BE49-F238E27FC236}">
                  <a16:creationId xmlns:a16="http://schemas.microsoft.com/office/drawing/2014/main" id="{9FBC60E3-6CBE-4F0F-9710-26BE8465C6A9}"/>
                </a:ext>
              </a:extLst>
            </p:cNvPr>
            <p:cNvSpPr/>
            <p:nvPr/>
          </p:nvSpPr>
          <p:spPr>
            <a:xfrm>
              <a:off x="6184689" y="5526856"/>
              <a:ext cx="401554" cy="189142"/>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336" name="Rectangle 335">
              <a:extLst>
                <a:ext uri="{FF2B5EF4-FFF2-40B4-BE49-F238E27FC236}">
                  <a16:creationId xmlns:a16="http://schemas.microsoft.com/office/drawing/2014/main" id="{2C050E73-C5B4-4A63-B051-449E3942889D}"/>
                </a:ext>
              </a:extLst>
            </p:cNvPr>
            <p:cNvSpPr/>
            <p:nvPr/>
          </p:nvSpPr>
          <p:spPr>
            <a:xfrm>
              <a:off x="7544076" y="5934570"/>
              <a:ext cx="401554" cy="189142"/>
            </a:xfrm>
            <a:prstGeom prst="rect">
              <a:avLst/>
            </a:prstGeom>
            <a:solidFill>
              <a:schemeClr val="bg1"/>
            </a:solid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err="1">
                <a:solidFill>
                  <a:schemeClr val="tx1"/>
                </a:solidFill>
              </a:endParaRPr>
            </a:p>
          </p:txBody>
        </p:sp>
        <p:sp>
          <p:nvSpPr>
            <p:cNvPr id="632" name="Freeform 584">
              <a:extLst>
                <a:ext uri="{FF2B5EF4-FFF2-40B4-BE49-F238E27FC236}">
                  <a16:creationId xmlns:a16="http://schemas.microsoft.com/office/drawing/2014/main" id="{8B100418-7F5B-4ED9-9A87-B0D9A0EB5102}"/>
                </a:ext>
              </a:extLst>
            </p:cNvPr>
            <p:cNvSpPr>
              <a:spLocks noChangeAspect="1" noEditPoints="1"/>
            </p:cNvSpPr>
            <p:nvPr/>
          </p:nvSpPr>
          <p:spPr bwMode="auto">
            <a:xfrm>
              <a:off x="7366645" y="5824602"/>
              <a:ext cx="190734" cy="299563"/>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556" name="Arc 555">
            <a:extLst>
              <a:ext uri="{FF2B5EF4-FFF2-40B4-BE49-F238E27FC236}">
                <a16:creationId xmlns:a16="http://schemas.microsoft.com/office/drawing/2014/main" id="{2AF22B5D-1C6A-4769-9AC6-3AC811E24114}"/>
              </a:ext>
            </a:extLst>
          </p:cNvPr>
          <p:cNvSpPr/>
          <p:nvPr/>
        </p:nvSpPr>
        <p:spPr>
          <a:xfrm rot="1627234">
            <a:off x="6419289" y="4512181"/>
            <a:ext cx="3311964" cy="3311964"/>
          </a:xfrm>
          <a:prstGeom prst="arc">
            <a:avLst>
              <a:gd name="adj1" fmla="val 8839484"/>
              <a:gd name="adj2" fmla="val 14488787"/>
            </a:avLst>
          </a:prstGeom>
          <a:noFill/>
          <a:ln>
            <a:gradFill>
              <a:gsLst>
                <a:gs pos="0">
                  <a:schemeClr val="accent1">
                    <a:lumMod val="5000"/>
                    <a:lumOff val="95000"/>
                  </a:schemeClr>
                </a:gs>
                <a:gs pos="31000">
                  <a:schemeClr val="accent6"/>
                </a:gs>
                <a:gs pos="73000">
                  <a:schemeClr val="accent6"/>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8" name="TextBox 47">
            <a:extLst>
              <a:ext uri="{FF2B5EF4-FFF2-40B4-BE49-F238E27FC236}">
                <a16:creationId xmlns:a16="http://schemas.microsoft.com/office/drawing/2014/main" id="{FCB6AC2E-0FBC-4877-BA54-9DD429BF77AE}"/>
              </a:ext>
            </a:extLst>
          </p:cNvPr>
          <p:cNvSpPr txBox="1"/>
          <p:nvPr/>
        </p:nvSpPr>
        <p:spPr>
          <a:xfrm>
            <a:off x="415271" y="1599036"/>
            <a:ext cx="1360950"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Power markets</a:t>
            </a:r>
          </a:p>
        </p:txBody>
      </p:sp>
      <p:sp>
        <p:nvSpPr>
          <p:cNvPr id="337" name="TextBox 336">
            <a:extLst>
              <a:ext uri="{FF2B5EF4-FFF2-40B4-BE49-F238E27FC236}">
                <a16:creationId xmlns:a16="http://schemas.microsoft.com/office/drawing/2014/main" id="{4B402FB7-74E5-4F35-BAA3-01B053933ED9}"/>
              </a:ext>
            </a:extLst>
          </p:cNvPr>
          <p:cNvSpPr txBox="1"/>
          <p:nvPr/>
        </p:nvSpPr>
        <p:spPr>
          <a:xfrm>
            <a:off x="690988" y="2294396"/>
            <a:ext cx="1085233"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Renewables</a:t>
            </a:r>
          </a:p>
        </p:txBody>
      </p:sp>
      <p:sp>
        <p:nvSpPr>
          <p:cNvPr id="338" name="TextBox 337">
            <a:extLst>
              <a:ext uri="{FF2B5EF4-FFF2-40B4-BE49-F238E27FC236}">
                <a16:creationId xmlns:a16="http://schemas.microsoft.com/office/drawing/2014/main" id="{0AE0EE44-527E-43CA-81CB-663D516EA12D}"/>
              </a:ext>
            </a:extLst>
          </p:cNvPr>
          <p:cNvSpPr txBox="1"/>
          <p:nvPr/>
        </p:nvSpPr>
        <p:spPr>
          <a:xfrm>
            <a:off x="1080518" y="2989756"/>
            <a:ext cx="695703"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Storage</a:t>
            </a:r>
          </a:p>
        </p:txBody>
      </p:sp>
      <p:sp>
        <p:nvSpPr>
          <p:cNvPr id="339" name="TextBox 338">
            <a:extLst>
              <a:ext uri="{FF2B5EF4-FFF2-40B4-BE49-F238E27FC236}">
                <a16:creationId xmlns:a16="http://schemas.microsoft.com/office/drawing/2014/main" id="{E832DFF0-5368-49E7-8101-EB362807EDA5}"/>
              </a:ext>
            </a:extLst>
          </p:cNvPr>
          <p:cNvSpPr txBox="1"/>
          <p:nvPr/>
        </p:nvSpPr>
        <p:spPr>
          <a:xfrm>
            <a:off x="875333" y="4380476"/>
            <a:ext cx="900888"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Hydrogen</a:t>
            </a:r>
          </a:p>
        </p:txBody>
      </p:sp>
      <p:sp>
        <p:nvSpPr>
          <p:cNvPr id="340" name="TextBox 339">
            <a:extLst>
              <a:ext uri="{FF2B5EF4-FFF2-40B4-BE49-F238E27FC236}">
                <a16:creationId xmlns:a16="http://schemas.microsoft.com/office/drawing/2014/main" id="{08251B76-DA53-4252-B85C-1BDD324D6756}"/>
              </a:ext>
            </a:extLst>
          </p:cNvPr>
          <p:cNvSpPr txBox="1"/>
          <p:nvPr/>
        </p:nvSpPr>
        <p:spPr>
          <a:xfrm>
            <a:off x="751902" y="5771199"/>
            <a:ext cx="1024319"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Natural gas</a:t>
            </a:r>
          </a:p>
        </p:txBody>
      </p:sp>
      <p:sp>
        <p:nvSpPr>
          <p:cNvPr id="341" name="TextBox 340">
            <a:extLst>
              <a:ext uri="{FF2B5EF4-FFF2-40B4-BE49-F238E27FC236}">
                <a16:creationId xmlns:a16="http://schemas.microsoft.com/office/drawing/2014/main" id="{202A2528-3C52-40A5-A44F-9A6B37EC85F9}"/>
              </a:ext>
            </a:extLst>
          </p:cNvPr>
          <p:cNvSpPr txBox="1"/>
          <p:nvPr/>
        </p:nvSpPr>
        <p:spPr>
          <a:xfrm>
            <a:off x="1114180" y="5075836"/>
            <a:ext cx="662041"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Carbon</a:t>
            </a:r>
          </a:p>
        </p:txBody>
      </p:sp>
      <p:sp>
        <p:nvSpPr>
          <p:cNvPr id="342" name="TextBox 341">
            <a:extLst>
              <a:ext uri="{FF2B5EF4-FFF2-40B4-BE49-F238E27FC236}">
                <a16:creationId xmlns:a16="http://schemas.microsoft.com/office/drawing/2014/main" id="{4C457D15-A605-4DA0-A1BD-E0B56A94BA90}"/>
              </a:ext>
            </a:extLst>
          </p:cNvPr>
          <p:cNvSpPr txBox="1"/>
          <p:nvPr/>
        </p:nvSpPr>
        <p:spPr>
          <a:xfrm>
            <a:off x="331915" y="3685116"/>
            <a:ext cx="1444306" cy="246221"/>
          </a:xfrm>
          <a:prstGeom prst="rect">
            <a:avLst/>
          </a:prstGeom>
          <a:noFill/>
        </p:spPr>
        <p:txBody>
          <a:bodyPr wrap="none" lIns="0" tIns="0" rIns="0" bIns="0" rtlCol="0">
            <a:spAutoFit/>
          </a:bodyPr>
          <a:lstStyle/>
          <a:p>
            <a:pPr marL="0" indent="0" algn="r">
              <a:spcBef>
                <a:spcPts val="600"/>
              </a:spcBef>
              <a:buFont typeface="Wingdings" panose="05000000000000000000" pitchFamily="2" charset="2"/>
              <a:buNone/>
            </a:pPr>
            <a:r>
              <a:rPr lang="en-GB" sz="1600"/>
              <a:t>Electric vehicles</a:t>
            </a:r>
          </a:p>
        </p:txBody>
      </p:sp>
      <p:sp>
        <p:nvSpPr>
          <p:cNvPr id="343" name="Oval 342">
            <a:extLst>
              <a:ext uri="{FF2B5EF4-FFF2-40B4-BE49-F238E27FC236}">
                <a16:creationId xmlns:a16="http://schemas.microsoft.com/office/drawing/2014/main" id="{5A5F6910-66DE-4B72-A5CE-0C4C05EF5970}"/>
              </a:ext>
            </a:extLst>
          </p:cNvPr>
          <p:cNvSpPr/>
          <p:nvPr/>
        </p:nvSpPr>
        <p:spPr>
          <a:xfrm>
            <a:off x="1967685" y="4960304"/>
            <a:ext cx="554688" cy="554688"/>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algn="ctr">
              <a:spcBef>
                <a:spcPts val="600"/>
              </a:spcBef>
            </a:pPr>
            <a:r>
              <a:rPr lang="en-GB">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a:t>
            </a:r>
            <a:r>
              <a:rPr lang="en-GB" baseline="-250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2</a:t>
            </a:r>
            <a:endParaRPr lang="en-GB">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44" name="Oval 343">
            <a:extLst>
              <a:ext uri="{FF2B5EF4-FFF2-40B4-BE49-F238E27FC236}">
                <a16:creationId xmlns:a16="http://schemas.microsoft.com/office/drawing/2014/main" id="{824F1545-D957-49CF-A701-FB96AD65A038}"/>
              </a:ext>
            </a:extLst>
          </p:cNvPr>
          <p:cNvSpPr/>
          <p:nvPr/>
        </p:nvSpPr>
        <p:spPr>
          <a:xfrm>
            <a:off x="1967685" y="3546407"/>
            <a:ext cx="554688" cy="554688"/>
          </a:xfrm>
          <a:prstGeom prst="ellipse">
            <a:avLst/>
          </a:prstGeom>
          <a:solidFill>
            <a:schemeClr val="bg2"/>
          </a:solidFill>
          <a:ln w="6350" cmpd="sng">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72000" tIns="72000" rIns="72000" bIns="72000" numCol="1" spcCol="0" rtlCol="0" fromWordArt="0" anchor="ctr" anchorCtr="1" forceAA="0" compatLnSpc="1">
            <a:prstTxWarp prst="textNoShape">
              <a:avLst/>
            </a:prstTxWarp>
            <a:noAutofit/>
          </a:bodyPr>
          <a:lstStyle/>
          <a:p>
            <a:pPr algn="ctr">
              <a:spcBef>
                <a:spcPts val="600"/>
              </a:spcBef>
            </a:pPr>
            <a:endParaRPr lang="en-GB">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1028" name="Picture 4" descr="Electric Car Icons - Download Free Vector Icons | Noun Project">
            <a:extLst>
              <a:ext uri="{FF2B5EF4-FFF2-40B4-BE49-F238E27FC236}">
                <a16:creationId xmlns:a16="http://schemas.microsoft.com/office/drawing/2014/main" id="{E574827F-38DB-4E62-8791-C16E90D6D98C}"/>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992982" y="3598603"/>
            <a:ext cx="450762" cy="450762"/>
          </a:xfrm>
          <a:prstGeom prst="rect">
            <a:avLst/>
          </a:prstGeom>
          <a:noFill/>
          <a:extLst>
            <a:ext uri="{909E8E84-426E-40DD-AFC4-6F175D3DCCD1}">
              <a14:hiddenFill xmlns:a14="http://schemas.microsoft.com/office/drawing/2010/main">
                <a:solidFill>
                  <a:srgbClr val="FFFFFF"/>
                </a:solidFill>
              </a14:hiddenFill>
            </a:ext>
          </a:extLst>
        </p:spPr>
      </p:pic>
      <p:sp>
        <p:nvSpPr>
          <p:cNvPr id="345" name="Freeform 584">
            <a:extLst>
              <a:ext uri="{FF2B5EF4-FFF2-40B4-BE49-F238E27FC236}">
                <a16:creationId xmlns:a16="http://schemas.microsoft.com/office/drawing/2014/main" id="{80A6449F-B0FB-4C81-9921-8A64A0896D23}"/>
              </a:ext>
            </a:extLst>
          </p:cNvPr>
          <p:cNvSpPr>
            <a:spLocks noChangeAspect="1" noEditPoints="1"/>
          </p:cNvSpPr>
          <p:nvPr/>
        </p:nvSpPr>
        <p:spPr bwMode="auto">
          <a:xfrm>
            <a:off x="3746794" y="1950377"/>
            <a:ext cx="190734" cy="299563"/>
          </a:xfrm>
          <a:custGeom>
            <a:avLst/>
            <a:gdLst>
              <a:gd name="T0" fmla="*/ 945 w 2208"/>
              <a:gd name="T1" fmla="*/ 627 h 3469"/>
              <a:gd name="T2" fmla="*/ 768 w 2208"/>
              <a:gd name="T3" fmla="*/ 731 h 3469"/>
              <a:gd name="T4" fmla="*/ 647 w 2208"/>
              <a:gd name="T5" fmla="*/ 896 h 3469"/>
              <a:gd name="T6" fmla="*/ 602 w 2208"/>
              <a:gd name="T7" fmla="*/ 1103 h 3469"/>
              <a:gd name="T8" fmla="*/ 647 w 2208"/>
              <a:gd name="T9" fmla="*/ 1311 h 3469"/>
              <a:gd name="T10" fmla="*/ 768 w 2208"/>
              <a:gd name="T11" fmla="*/ 1476 h 3469"/>
              <a:gd name="T12" fmla="*/ 945 w 2208"/>
              <a:gd name="T13" fmla="*/ 1580 h 3469"/>
              <a:gd name="T14" fmla="*/ 1159 w 2208"/>
              <a:gd name="T15" fmla="*/ 1603 h 3469"/>
              <a:gd name="T16" fmla="*/ 1356 w 2208"/>
              <a:gd name="T17" fmla="*/ 1537 h 3469"/>
              <a:gd name="T18" fmla="*/ 1508 w 2208"/>
              <a:gd name="T19" fmla="*/ 1400 h 3469"/>
              <a:gd name="T20" fmla="*/ 1593 w 2208"/>
              <a:gd name="T21" fmla="*/ 1211 h 3469"/>
              <a:gd name="T22" fmla="*/ 1593 w 2208"/>
              <a:gd name="T23" fmla="*/ 996 h 3469"/>
              <a:gd name="T24" fmla="*/ 1508 w 2208"/>
              <a:gd name="T25" fmla="*/ 807 h 3469"/>
              <a:gd name="T26" fmla="*/ 1356 w 2208"/>
              <a:gd name="T27" fmla="*/ 670 h 3469"/>
              <a:gd name="T28" fmla="*/ 1159 w 2208"/>
              <a:gd name="T29" fmla="*/ 604 h 3469"/>
              <a:gd name="T30" fmla="*/ 1274 w 2208"/>
              <a:gd name="T31" fmla="*/ 13 h 3469"/>
              <a:gd name="T32" fmla="*/ 1589 w 2208"/>
              <a:gd name="T33" fmla="*/ 113 h 3469"/>
              <a:gd name="T34" fmla="*/ 1855 w 2208"/>
              <a:gd name="T35" fmla="*/ 297 h 3469"/>
              <a:gd name="T36" fmla="*/ 2057 w 2208"/>
              <a:gd name="T37" fmla="*/ 549 h 3469"/>
              <a:gd name="T38" fmla="*/ 2179 w 2208"/>
              <a:gd name="T39" fmla="*/ 853 h 3469"/>
              <a:gd name="T40" fmla="*/ 2206 w 2208"/>
              <a:gd name="T41" fmla="*/ 1170 h 3469"/>
              <a:gd name="T42" fmla="*/ 2161 w 2208"/>
              <a:gd name="T43" fmla="*/ 1439 h 3469"/>
              <a:gd name="T44" fmla="*/ 2075 w 2208"/>
              <a:gd name="T45" fmla="*/ 1707 h 3469"/>
              <a:gd name="T46" fmla="*/ 1971 w 2208"/>
              <a:gd name="T47" fmla="*/ 1930 h 3469"/>
              <a:gd name="T48" fmla="*/ 1886 w 2208"/>
              <a:gd name="T49" fmla="*/ 2080 h 3469"/>
              <a:gd name="T50" fmla="*/ 1778 w 2208"/>
              <a:gd name="T51" fmla="*/ 2270 h 3469"/>
              <a:gd name="T52" fmla="*/ 1657 w 2208"/>
              <a:gd name="T53" fmla="*/ 2484 h 3469"/>
              <a:gd name="T54" fmla="*/ 1531 w 2208"/>
              <a:gd name="T55" fmla="*/ 2709 h 3469"/>
              <a:gd name="T56" fmla="*/ 1409 w 2208"/>
              <a:gd name="T57" fmla="*/ 2924 h 3469"/>
              <a:gd name="T58" fmla="*/ 1301 w 2208"/>
              <a:gd name="T59" fmla="*/ 3117 h 3469"/>
              <a:gd name="T60" fmla="*/ 1216 w 2208"/>
              <a:gd name="T61" fmla="*/ 3269 h 3469"/>
              <a:gd name="T62" fmla="*/ 1163 w 2208"/>
              <a:gd name="T63" fmla="*/ 3365 h 3469"/>
              <a:gd name="T64" fmla="*/ 1104 w 2208"/>
              <a:gd name="T65" fmla="*/ 3469 h 3469"/>
              <a:gd name="T66" fmla="*/ 1045 w 2208"/>
              <a:gd name="T67" fmla="*/ 3366 h 3469"/>
              <a:gd name="T68" fmla="*/ 993 w 2208"/>
              <a:gd name="T69" fmla="*/ 3272 h 3469"/>
              <a:gd name="T70" fmla="*/ 909 w 2208"/>
              <a:gd name="T71" fmla="*/ 3124 h 3469"/>
              <a:gd name="T72" fmla="*/ 803 w 2208"/>
              <a:gd name="T73" fmla="*/ 2936 h 3469"/>
              <a:gd name="T74" fmla="*/ 684 w 2208"/>
              <a:gd name="T75" fmla="*/ 2725 h 3469"/>
              <a:gd name="T76" fmla="*/ 561 w 2208"/>
              <a:gd name="T77" fmla="*/ 2507 h 3469"/>
              <a:gd name="T78" fmla="*/ 444 w 2208"/>
              <a:gd name="T79" fmla="*/ 2295 h 3469"/>
              <a:gd name="T80" fmla="*/ 340 w 2208"/>
              <a:gd name="T81" fmla="*/ 2108 h 3469"/>
              <a:gd name="T82" fmla="*/ 258 w 2208"/>
              <a:gd name="T83" fmla="*/ 1960 h 3469"/>
              <a:gd name="T84" fmla="*/ 157 w 2208"/>
              <a:gd name="T85" fmla="*/ 1752 h 3469"/>
              <a:gd name="T86" fmla="*/ 57 w 2208"/>
              <a:gd name="T87" fmla="*/ 1469 h 3469"/>
              <a:gd name="T88" fmla="*/ 2 w 2208"/>
              <a:gd name="T89" fmla="*/ 1177 h 3469"/>
              <a:gd name="T90" fmla="*/ 29 w 2208"/>
              <a:gd name="T91" fmla="*/ 853 h 3469"/>
              <a:gd name="T92" fmla="*/ 151 w 2208"/>
              <a:gd name="T93" fmla="*/ 549 h 3469"/>
              <a:gd name="T94" fmla="*/ 353 w 2208"/>
              <a:gd name="T95" fmla="*/ 297 h 3469"/>
              <a:gd name="T96" fmla="*/ 619 w 2208"/>
              <a:gd name="T97" fmla="*/ 113 h 3469"/>
              <a:gd name="T98" fmla="*/ 933 w 2208"/>
              <a:gd name="T99" fmla="*/ 13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8" h="3469">
                <a:moveTo>
                  <a:pt x="1104" y="601"/>
                </a:moveTo>
                <a:lnTo>
                  <a:pt x="1049" y="604"/>
                </a:lnTo>
                <a:lnTo>
                  <a:pt x="996" y="612"/>
                </a:lnTo>
                <a:lnTo>
                  <a:pt x="945" y="627"/>
                </a:lnTo>
                <a:lnTo>
                  <a:pt x="897" y="646"/>
                </a:lnTo>
                <a:lnTo>
                  <a:pt x="851" y="670"/>
                </a:lnTo>
                <a:lnTo>
                  <a:pt x="808" y="699"/>
                </a:lnTo>
                <a:lnTo>
                  <a:pt x="768" y="731"/>
                </a:lnTo>
                <a:lnTo>
                  <a:pt x="732" y="767"/>
                </a:lnTo>
                <a:lnTo>
                  <a:pt x="700" y="807"/>
                </a:lnTo>
                <a:lnTo>
                  <a:pt x="672" y="850"/>
                </a:lnTo>
                <a:lnTo>
                  <a:pt x="647" y="896"/>
                </a:lnTo>
                <a:lnTo>
                  <a:pt x="629" y="945"/>
                </a:lnTo>
                <a:lnTo>
                  <a:pt x="614" y="996"/>
                </a:lnTo>
                <a:lnTo>
                  <a:pt x="605" y="1049"/>
                </a:lnTo>
                <a:lnTo>
                  <a:pt x="602" y="1103"/>
                </a:lnTo>
                <a:lnTo>
                  <a:pt x="605" y="1158"/>
                </a:lnTo>
                <a:lnTo>
                  <a:pt x="614" y="1211"/>
                </a:lnTo>
                <a:lnTo>
                  <a:pt x="629" y="1262"/>
                </a:lnTo>
                <a:lnTo>
                  <a:pt x="647" y="1311"/>
                </a:lnTo>
                <a:lnTo>
                  <a:pt x="672" y="1357"/>
                </a:lnTo>
                <a:lnTo>
                  <a:pt x="700" y="1400"/>
                </a:lnTo>
                <a:lnTo>
                  <a:pt x="732" y="1440"/>
                </a:lnTo>
                <a:lnTo>
                  <a:pt x="768" y="1476"/>
                </a:lnTo>
                <a:lnTo>
                  <a:pt x="808" y="1508"/>
                </a:lnTo>
                <a:lnTo>
                  <a:pt x="851" y="1537"/>
                </a:lnTo>
                <a:lnTo>
                  <a:pt x="897" y="1561"/>
                </a:lnTo>
                <a:lnTo>
                  <a:pt x="945" y="1580"/>
                </a:lnTo>
                <a:lnTo>
                  <a:pt x="996" y="1595"/>
                </a:lnTo>
                <a:lnTo>
                  <a:pt x="1049" y="1603"/>
                </a:lnTo>
                <a:lnTo>
                  <a:pt x="1104" y="1606"/>
                </a:lnTo>
                <a:lnTo>
                  <a:pt x="1159" y="1603"/>
                </a:lnTo>
                <a:lnTo>
                  <a:pt x="1211" y="1595"/>
                </a:lnTo>
                <a:lnTo>
                  <a:pt x="1261" y="1580"/>
                </a:lnTo>
                <a:lnTo>
                  <a:pt x="1311" y="1561"/>
                </a:lnTo>
                <a:lnTo>
                  <a:pt x="1356" y="1537"/>
                </a:lnTo>
                <a:lnTo>
                  <a:pt x="1399" y="1508"/>
                </a:lnTo>
                <a:lnTo>
                  <a:pt x="1439" y="1476"/>
                </a:lnTo>
                <a:lnTo>
                  <a:pt x="1475" y="1440"/>
                </a:lnTo>
                <a:lnTo>
                  <a:pt x="1508" y="1400"/>
                </a:lnTo>
                <a:lnTo>
                  <a:pt x="1536" y="1357"/>
                </a:lnTo>
                <a:lnTo>
                  <a:pt x="1560" y="1311"/>
                </a:lnTo>
                <a:lnTo>
                  <a:pt x="1579" y="1262"/>
                </a:lnTo>
                <a:lnTo>
                  <a:pt x="1593" y="1211"/>
                </a:lnTo>
                <a:lnTo>
                  <a:pt x="1601" y="1158"/>
                </a:lnTo>
                <a:lnTo>
                  <a:pt x="1605" y="1103"/>
                </a:lnTo>
                <a:lnTo>
                  <a:pt x="1601" y="1049"/>
                </a:lnTo>
                <a:lnTo>
                  <a:pt x="1593" y="996"/>
                </a:lnTo>
                <a:lnTo>
                  <a:pt x="1579" y="945"/>
                </a:lnTo>
                <a:lnTo>
                  <a:pt x="1560" y="896"/>
                </a:lnTo>
                <a:lnTo>
                  <a:pt x="1536" y="850"/>
                </a:lnTo>
                <a:lnTo>
                  <a:pt x="1508" y="807"/>
                </a:lnTo>
                <a:lnTo>
                  <a:pt x="1475" y="767"/>
                </a:lnTo>
                <a:lnTo>
                  <a:pt x="1439" y="731"/>
                </a:lnTo>
                <a:lnTo>
                  <a:pt x="1399" y="699"/>
                </a:lnTo>
                <a:lnTo>
                  <a:pt x="1356" y="670"/>
                </a:lnTo>
                <a:lnTo>
                  <a:pt x="1311" y="646"/>
                </a:lnTo>
                <a:lnTo>
                  <a:pt x="1261" y="627"/>
                </a:lnTo>
                <a:lnTo>
                  <a:pt x="1211" y="612"/>
                </a:lnTo>
                <a:lnTo>
                  <a:pt x="1159" y="604"/>
                </a:lnTo>
                <a:lnTo>
                  <a:pt x="1104" y="601"/>
                </a:lnTo>
                <a:close/>
                <a:moveTo>
                  <a:pt x="1104" y="0"/>
                </a:moveTo>
                <a:lnTo>
                  <a:pt x="1190" y="3"/>
                </a:lnTo>
                <a:lnTo>
                  <a:pt x="1274" y="13"/>
                </a:lnTo>
                <a:lnTo>
                  <a:pt x="1357" y="30"/>
                </a:lnTo>
                <a:lnTo>
                  <a:pt x="1437" y="52"/>
                </a:lnTo>
                <a:lnTo>
                  <a:pt x="1514" y="79"/>
                </a:lnTo>
                <a:lnTo>
                  <a:pt x="1589" y="113"/>
                </a:lnTo>
                <a:lnTo>
                  <a:pt x="1660" y="152"/>
                </a:lnTo>
                <a:lnTo>
                  <a:pt x="1728" y="195"/>
                </a:lnTo>
                <a:lnTo>
                  <a:pt x="1793" y="243"/>
                </a:lnTo>
                <a:lnTo>
                  <a:pt x="1855" y="297"/>
                </a:lnTo>
                <a:lnTo>
                  <a:pt x="1912" y="354"/>
                </a:lnTo>
                <a:lnTo>
                  <a:pt x="1964" y="415"/>
                </a:lnTo>
                <a:lnTo>
                  <a:pt x="2013" y="480"/>
                </a:lnTo>
                <a:lnTo>
                  <a:pt x="2057" y="549"/>
                </a:lnTo>
                <a:lnTo>
                  <a:pt x="2096" y="621"/>
                </a:lnTo>
                <a:lnTo>
                  <a:pt x="2128" y="695"/>
                </a:lnTo>
                <a:lnTo>
                  <a:pt x="2156" y="773"/>
                </a:lnTo>
                <a:lnTo>
                  <a:pt x="2179" y="853"/>
                </a:lnTo>
                <a:lnTo>
                  <a:pt x="2194" y="936"/>
                </a:lnTo>
                <a:lnTo>
                  <a:pt x="2205" y="1020"/>
                </a:lnTo>
                <a:lnTo>
                  <a:pt x="2208" y="1107"/>
                </a:lnTo>
                <a:lnTo>
                  <a:pt x="2206" y="1170"/>
                </a:lnTo>
                <a:lnTo>
                  <a:pt x="2200" y="1235"/>
                </a:lnTo>
                <a:lnTo>
                  <a:pt x="2190" y="1301"/>
                </a:lnTo>
                <a:lnTo>
                  <a:pt x="2176" y="1370"/>
                </a:lnTo>
                <a:lnTo>
                  <a:pt x="2161" y="1439"/>
                </a:lnTo>
                <a:lnTo>
                  <a:pt x="2142" y="1507"/>
                </a:lnTo>
                <a:lnTo>
                  <a:pt x="2122" y="1576"/>
                </a:lnTo>
                <a:lnTo>
                  <a:pt x="2099" y="1642"/>
                </a:lnTo>
                <a:lnTo>
                  <a:pt x="2075" y="1707"/>
                </a:lnTo>
                <a:lnTo>
                  <a:pt x="2049" y="1768"/>
                </a:lnTo>
                <a:lnTo>
                  <a:pt x="2023" y="1827"/>
                </a:lnTo>
                <a:lnTo>
                  <a:pt x="1997" y="1881"/>
                </a:lnTo>
                <a:lnTo>
                  <a:pt x="1971" y="1930"/>
                </a:lnTo>
                <a:lnTo>
                  <a:pt x="1952" y="1963"/>
                </a:lnTo>
                <a:lnTo>
                  <a:pt x="1931" y="1999"/>
                </a:lnTo>
                <a:lnTo>
                  <a:pt x="1909" y="2037"/>
                </a:lnTo>
                <a:lnTo>
                  <a:pt x="1886" y="2080"/>
                </a:lnTo>
                <a:lnTo>
                  <a:pt x="1861" y="2124"/>
                </a:lnTo>
                <a:lnTo>
                  <a:pt x="1834" y="2170"/>
                </a:lnTo>
                <a:lnTo>
                  <a:pt x="1806" y="2219"/>
                </a:lnTo>
                <a:lnTo>
                  <a:pt x="1778" y="2270"/>
                </a:lnTo>
                <a:lnTo>
                  <a:pt x="1748" y="2321"/>
                </a:lnTo>
                <a:lnTo>
                  <a:pt x="1718" y="2375"/>
                </a:lnTo>
                <a:lnTo>
                  <a:pt x="1687" y="2430"/>
                </a:lnTo>
                <a:lnTo>
                  <a:pt x="1657" y="2484"/>
                </a:lnTo>
                <a:lnTo>
                  <a:pt x="1625" y="2540"/>
                </a:lnTo>
                <a:lnTo>
                  <a:pt x="1594" y="2596"/>
                </a:lnTo>
                <a:lnTo>
                  <a:pt x="1563" y="2653"/>
                </a:lnTo>
                <a:lnTo>
                  <a:pt x="1531" y="2709"/>
                </a:lnTo>
                <a:lnTo>
                  <a:pt x="1500" y="2763"/>
                </a:lnTo>
                <a:lnTo>
                  <a:pt x="1469" y="2818"/>
                </a:lnTo>
                <a:lnTo>
                  <a:pt x="1439" y="2872"/>
                </a:lnTo>
                <a:lnTo>
                  <a:pt x="1409" y="2924"/>
                </a:lnTo>
                <a:lnTo>
                  <a:pt x="1381" y="2976"/>
                </a:lnTo>
                <a:lnTo>
                  <a:pt x="1354" y="3024"/>
                </a:lnTo>
                <a:lnTo>
                  <a:pt x="1326" y="3071"/>
                </a:lnTo>
                <a:lnTo>
                  <a:pt x="1301" y="3117"/>
                </a:lnTo>
                <a:lnTo>
                  <a:pt x="1278" y="3159"/>
                </a:lnTo>
                <a:lnTo>
                  <a:pt x="1255" y="3199"/>
                </a:lnTo>
                <a:lnTo>
                  <a:pt x="1235" y="3235"/>
                </a:lnTo>
                <a:lnTo>
                  <a:pt x="1216" y="3269"/>
                </a:lnTo>
                <a:lnTo>
                  <a:pt x="1199" y="3299"/>
                </a:lnTo>
                <a:lnTo>
                  <a:pt x="1185" y="3325"/>
                </a:lnTo>
                <a:lnTo>
                  <a:pt x="1172" y="3347"/>
                </a:lnTo>
                <a:lnTo>
                  <a:pt x="1163" y="3365"/>
                </a:lnTo>
                <a:lnTo>
                  <a:pt x="1154" y="3379"/>
                </a:lnTo>
                <a:lnTo>
                  <a:pt x="1150" y="3387"/>
                </a:lnTo>
                <a:lnTo>
                  <a:pt x="1148" y="3390"/>
                </a:lnTo>
                <a:lnTo>
                  <a:pt x="1104" y="3469"/>
                </a:lnTo>
                <a:lnTo>
                  <a:pt x="1060" y="3390"/>
                </a:lnTo>
                <a:lnTo>
                  <a:pt x="1058" y="3387"/>
                </a:lnTo>
                <a:lnTo>
                  <a:pt x="1053" y="3379"/>
                </a:lnTo>
                <a:lnTo>
                  <a:pt x="1045" y="3366"/>
                </a:lnTo>
                <a:lnTo>
                  <a:pt x="1036" y="3348"/>
                </a:lnTo>
                <a:lnTo>
                  <a:pt x="1023" y="3327"/>
                </a:lnTo>
                <a:lnTo>
                  <a:pt x="1010" y="3302"/>
                </a:lnTo>
                <a:lnTo>
                  <a:pt x="993" y="3272"/>
                </a:lnTo>
                <a:lnTo>
                  <a:pt x="974" y="3240"/>
                </a:lnTo>
                <a:lnTo>
                  <a:pt x="954" y="3204"/>
                </a:lnTo>
                <a:lnTo>
                  <a:pt x="932" y="3165"/>
                </a:lnTo>
                <a:lnTo>
                  <a:pt x="909" y="3124"/>
                </a:lnTo>
                <a:lnTo>
                  <a:pt x="884" y="3080"/>
                </a:lnTo>
                <a:lnTo>
                  <a:pt x="858" y="3034"/>
                </a:lnTo>
                <a:lnTo>
                  <a:pt x="831" y="2986"/>
                </a:lnTo>
                <a:lnTo>
                  <a:pt x="803" y="2936"/>
                </a:lnTo>
                <a:lnTo>
                  <a:pt x="774" y="2885"/>
                </a:lnTo>
                <a:lnTo>
                  <a:pt x="745" y="2833"/>
                </a:lnTo>
                <a:lnTo>
                  <a:pt x="715" y="2779"/>
                </a:lnTo>
                <a:lnTo>
                  <a:pt x="684" y="2725"/>
                </a:lnTo>
                <a:lnTo>
                  <a:pt x="654" y="2671"/>
                </a:lnTo>
                <a:lnTo>
                  <a:pt x="623" y="2616"/>
                </a:lnTo>
                <a:lnTo>
                  <a:pt x="592" y="2561"/>
                </a:lnTo>
                <a:lnTo>
                  <a:pt x="561" y="2507"/>
                </a:lnTo>
                <a:lnTo>
                  <a:pt x="531" y="2452"/>
                </a:lnTo>
                <a:lnTo>
                  <a:pt x="502" y="2399"/>
                </a:lnTo>
                <a:lnTo>
                  <a:pt x="472" y="2347"/>
                </a:lnTo>
                <a:lnTo>
                  <a:pt x="444" y="2295"/>
                </a:lnTo>
                <a:lnTo>
                  <a:pt x="416" y="2246"/>
                </a:lnTo>
                <a:lnTo>
                  <a:pt x="389" y="2197"/>
                </a:lnTo>
                <a:lnTo>
                  <a:pt x="364" y="2151"/>
                </a:lnTo>
                <a:lnTo>
                  <a:pt x="340" y="2108"/>
                </a:lnTo>
                <a:lnTo>
                  <a:pt x="317" y="2066"/>
                </a:lnTo>
                <a:lnTo>
                  <a:pt x="296" y="2028"/>
                </a:lnTo>
                <a:lnTo>
                  <a:pt x="276" y="1992"/>
                </a:lnTo>
                <a:lnTo>
                  <a:pt x="258" y="1960"/>
                </a:lnTo>
                <a:lnTo>
                  <a:pt x="242" y="1930"/>
                </a:lnTo>
                <a:lnTo>
                  <a:pt x="214" y="1875"/>
                </a:lnTo>
                <a:lnTo>
                  <a:pt x="186" y="1816"/>
                </a:lnTo>
                <a:lnTo>
                  <a:pt x="157" y="1752"/>
                </a:lnTo>
                <a:lnTo>
                  <a:pt x="130" y="1685"/>
                </a:lnTo>
                <a:lnTo>
                  <a:pt x="104" y="1615"/>
                </a:lnTo>
                <a:lnTo>
                  <a:pt x="79" y="1543"/>
                </a:lnTo>
                <a:lnTo>
                  <a:pt x="57" y="1469"/>
                </a:lnTo>
                <a:lnTo>
                  <a:pt x="38" y="1396"/>
                </a:lnTo>
                <a:lnTo>
                  <a:pt x="22" y="1321"/>
                </a:lnTo>
                <a:lnTo>
                  <a:pt x="10" y="1249"/>
                </a:lnTo>
                <a:lnTo>
                  <a:pt x="2" y="1177"/>
                </a:lnTo>
                <a:lnTo>
                  <a:pt x="0" y="1107"/>
                </a:lnTo>
                <a:lnTo>
                  <a:pt x="3" y="1020"/>
                </a:lnTo>
                <a:lnTo>
                  <a:pt x="13" y="936"/>
                </a:lnTo>
                <a:lnTo>
                  <a:pt x="29" y="853"/>
                </a:lnTo>
                <a:lnTo>
                  <a:pt x="51" y="773"/>
                </a:lnTo>
                <a:lnTo>
                  <a:pt x="79" y="695"/>
                </a:lnTo>
                <a:lnTo>
                  <a:pt x="112" y="621"/>
                </a:lnTo>
                <a:lnTo>
                  <a:pt x="151" y="549"/>
                </a:lnTo>
                <a:lnTo>
                  <a:pt x="194" y="480"/>
                </a:lnTo>
                <a:lnTo>
                  <a:pt x="242" y="415"/>
                </a:lnTo>
                <a:lnTo>
                  <a:pt x="296" y="354"/>
                </a:lnTo>
                <a:lnTo>
                  <a:pt x="353" y="297"/>
                </a:lnTo>
                <a:lnTo>
                  <a:pt x="413" y="243"/>
                </a:lnTo>
                <a:lnTo>
                  <a:pt x="479" y="195"/>
                </a:lnTo>
                <a:lnTo>
                  <a:pt x="547" y="152"/>
                </a:lnTo>
                <a:lnTo>
                  <a:pt x="619" y="113"/>
                </a:lnTo>
                <a:lnTo>
                  <a:pt x="694" y="79"/>
                </a:lnTo>
                <a:lnTo>
                  <a:pt x="771" y="52"/>
                </a:lnTo>
                <a:lnTo>
                  <a:pt x="851" y="30"/>
                </a:lnTo>
                <a:lnTo>
                  <a:pt x="933" y="13"/>
                </a:lnTo>
                <a:lnTo>
                  <a:pt x="1018" y="3"/>
                </a:lnTo>
                <a:lnTo>
                  <a:pt x="110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889105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D2A52A-2285-4711-8089-8524B824C1FA}"/>
              </a:ext>
            </a:extLst>
          </p:cNvPr>
          <p:cNvGraphicFramePr>
            <a:graphicFrameLocks noChangeAspect="1"/>
          </p:cNvGraphicFramePr>
          <p:nvPr>
            <p:custDataLst>
              <p:tags r:id="rId2"/>
            </p:custDataLst>
            <p:extLst>
              <p:ext uri="{D42A27DB-BD31-4B8C-83A1-F6EECF244321}">
                <p14:modId xmlns:p14="http://schemas.microsoft.com/office/powerpoint/2010/main" val="74236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FAD2A52A-2285-4711-8089-8524B824C1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7181481F-AFF2-4525-9AEF-E6F218E36A08}"/>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863926F4-C29A-4206-9AF5-98D330EC09EA}"/>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4" name="Title 3">
            <a:extLst>
              <a:ext uri="{FF2B5EF4-FFF2-40B4-BE49-F238E27FC236}">
                <a16:creationId xmlns:a16="http://schemas.microsoft.com/office/drawing/2014/main" id="{9890F4A8-B07B-4DC0-9DF2-726F6AF2D3C2}"/>
              </a:ext>
            </a:extLst>
          </p:cNvPr>
          <p:cNvSpPr>
            <a:spLocks noGrp="1"/>
          </p:cNvSpPr>
          <p:nvPr>
            <p:ph type="title"/>
          </p:nvPr>
        </p:nvSpPr>
        <p:spPr>
          <a:xfrm>
            <a:off x="381599" y="411856"/>
            <a:ext cx="8600471" cy="609398"/>
          </a:xfrm>
        </p:spPr>
        <p:txBody>
          <a:bodyPr vert="horz"/>
          <a:lstStyle/>
          <a:p>
            <a:r>
              <a:rPr lang="en-US" dirty="0"/>
              <a:t>We support our clients through three types of work that are built on our core models and data</a:t>
            </a:r>
            <a:endParaRPr lang="en-GB" dirty="0"/>
          </a:p>
        </p:txBody>
      </p:sp>
      <p:sp>
        <p:nvSpPr>
          <p:cNvPr id="7" name="Text Placeholder 6">
            <a:extLst>
              <a:ext uri="{FF2B5EF4-FFF2-40B4-BE49-F238E27FC236}">
                <a16:creationId xmlns:a16="http://schemas.microsoft.com/office/drawing/2014/main" id="{C0F0E131-1E56-49F7-9D40-2A96268BFB65}"/>
              </a:ext>
            </a:extLst>
          </p:cNvPr>
          <p:cNvSpPr>
            <a:spLocks noGrp="1"/>
          </p:cNvSpPr>
          <p:nvPr>
            <p:ph type="body" sz="quarter" idx="32"/>
          </p:nvPr>
        </p:nvSpPr>
        <p:spPr>
          <a:xfrm>
            <a:off x="381600" y="6474841"/>
            <a:ext cx="11428800" cy="110800"/>
          </a:xfrm>
        </p:spPr>
        <p:txBody>
          <a:bodyPr/>
          <a:lstStyle/>
          <a:p>
            <a:endParaRPr lang="en-GB"/>
          </a:p>
        </p:txBody>
      </p:sp>
      <p:sp>
        <p:nvSpPr>
          <p:cNvPr id="6" name="Text Placeholder 5">
            <a:extLst>
              <a:ext uri="{FF2B5EF4-FFF2-40B4-BE49-F238E27FC236}">
                <a16:creationId xmlns:a16="http://schemas.microsoft.com/office/drawing/2014/main" id="{0439859C-6E91-4204-921E-388C15A32F0A}"/>
              </a:ext>
            </a:extLst>
          </p:cNvPr>
          <p:cNvSpPr>
            <a:spLocks noGrp="1"/>
          </p:cNvSpPr>
          <p:nvPr>
            <p:ph type="body" sz="quarter" idx="31"/>
          </p:nvPr>
        </p:nvSpPr>
        <p:spPr>
          <a:xfrm>
            <a:off x="381599" y="79401"/>
            <a:ext cx="924933" cy="184666"/>
          </a:xfrm>
        </p:spPr>
        <p:txBody>
          <a:bodyPr/>
          <a:lstStyle/>
          <a:p>
            <a:r>
              <a:rPr lang="en-GB"/>
              <a:t>About Aurora</a:t>
            </a:r>
          </a:p>
        </p:txBody>
      </p:sp>
      <p:sp>
        <p:nvSpPr>
          <p:cNvPr id="347" name="TextBox 346">
            <a:extLst>
              <a:ext uri="{FF2B5EF4-FFF2-40B4-BE49-F238E27FC236}">
                <a16:creationId xmlns:a16="http://schemas.microsoft.com/office/drawing/2014/main" id="{456BA3F7-1E0A-4C34-9BE4-759990AF6ED0}"/>
              </a:ext>
            </a:extLst>
          </p:cNvPr>
          <p:cNvSpPr txBox="1">
            <a:spLocks/>
          </p:cNvSpPr>
          <p:nvPr/>
        </p:nvSpPr>
        <p:spPr>
          <a:xfrm>
            <a:off x="834381" y="1482725"/>
            <a:ext cx="3329329" cy="215900"/>
          </a:xfrm>
          <a:prstGeom prst="rect">
            <a:avLst/>
          </a:prstGeom>
          <a:noFill/>
        </p:spPr>
        <p:txBody>
          <a:bodyPr wrap="square" lIns="0" tIns="0" rIns="0" bIns="0" rtlCol="0">
            <a:spAutoFit/>
          </a:bodyPr>
          <a:lstStyle/>
          <a:p>
            <a:pPr>
              <a:spcAft>
                <a:spcPts val="600"/>
              </a:spcAft>
            </a:pPr>
            <a:r>
              <a:rPr lang="en-GB" sz="14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search &amp; Publications</a:t>
            </a:r>
          </a:p>
        </p:txBody>
      </p:sp>
      <p:sp>
        <p:nvSpPr>
          <p:cNvPr id="348" name="TextBox 347">
            <a:extLst>
              <a:ext uri="{FF2B5EF4-FFF2-40B4-BE49-F238E27FC236}">
                <a16:creationId xmlns:a16="http://schemas.microsoft.com/office/drawing/2014/main" id="{1EFF40D7-BA0E-4ED5-9B35-F31A23CBBD6E}"/>
              </a:ext>
            </a:extLst>
          </p:cNvPr>
          <p:cNvSpPr txBox="1">
            <a:spLocks/>
          </p:cNvSpPr>
          <p:nvPr/>
        </p:nvSpPr>
        <p:spPr>
          <a:xfrm>
            <a:off x="834381" y="1855788"/>
            <a:ext cx="3329329" cy="1631216"/>
          </a:xfrm>
          <a:prstGeom prst="rect">
            <a:avLst/>
          </a:prstGeom>
          <a:noFill/>
        </p:spPr>
        <p:txBody>
          <a:bodyPr wrap="square" lIns="0" tIns="0" rIns="0" bIns="0" rtlCol="0">
            <a:spAutoFit/>
          </a:bodyPr>
          <a:lstStyle/>
          <a:p>
            <a:pPr marL="155121" lvl="1" indent="-155121" fontAlgn="base">
              <a:spcBef>
                <a:spcPts val="600"/>
              </a:spcBef>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dustry-standard market outlook reports and price forecasts for power, gas, carbon and hydrogen markets</a:t>
            </a:r>
          </a:p>
          <a:p>
            <a:pPr marL="155121" lvl="1" indent="-155121" fontAlgn="base">
              <a:spcBef>
                <a:spcPts val="600"/>
              </a:spcBef>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trategic insights into major policy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questions and new business models</a:t>
            </a:r>
          </a:p>
          <a:p>
            <a:pPr marL="155121" lvl="1" indent="-155121" fontAlgn="base">
              <a:spcBef>
                <a:spcPts val="600"/>
              </a:spcBef>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ad and constantly challenged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y 350+ subscribers from all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industry sectors</a:t>
            </a:r>
          </a:p>
        </p:txBody>
      </p:sp>
      <p:grpSp>
        <p:nvGrpSpPr>
          <p:cNvPr id="11" name="Group 10">
            <a:extLst>
              <a:ext uri="{FF2B5EF4-FFF2-40B4-BE49-F238E27FC236}">
                <a16:creationId xmlns:a16="http://schemas.microsoft.com/office/drawing/2014/main" id="{EF6A0228-BD87-40E0-BF79-22B69370338A}"/>
              </a:ext>
            </a:extLst>
          </p:cNvPr>
          <p:cNvGrpSpPr/>
          <p:nvPr/>
        </p:nvGrpSpPr>
        <p:grpSpPr>
          <a:xfrm>
            <a:off x="834381" y="4513629"/>
            <a:ext cx="3329329" cy="1556416"/>
            <a:chOff x="1139317" y="4704686"/>
            <a:chExt cx="3329329" cy="1556416"/>
          </a:xfrm>
        </p:grpSpPr>
        <p:sp>
          <p:nvSpPr>
            <p:cNvPr id="351" name="TextBox 350">
              <a:extLst>
                <a:ext uri="{FF2B5EF4-FFF2-40B4-BE49-F238E27FC236}">
                  <a16:creationId xmlns:a16="http://schemas.microsoft.com/office/drawing/2014/main" id="{8310BBA0-4972-4F3E-8D77-2CCFD9426701}"/>
                </a:ext>
              </a:extLst>
            </p:cNvPr>
            <p:cNvSpPr txBox="1">
              <a:spLocks/>
            </p:cNvSpPr>
            <p:nvPr/>
          </p:nvSpPr>
          <p:spPr>
            <a:xfrm>
              <a:off x="1139317" y="6046789"/>
              <a:ext cx="3329329" cy="214313"/>
            </a:xfrm>
            <a:prstGeom prst="rect">
              <a:avLst/>
            </a:prstGeom>
            <a:noFill/>
          </p:spPr>
          <p:txBody>
            <a:bodyPr wrap="square" lIns="0" tIns="0" rIns="0" bIns="0" rtlCol="0">
              <a:spAutoFit/>
            </a:bodyPr>
            <a:lstStyle/>
            <a:p>
              <a:pPr>
                <a:spcAft>
                  <a:spcPts val="600"/>
                </a:spcAft>
              </a:pPr>
              <a:r>
                <a:rPr lang="en-GB" sz="14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issioned Projects</a:t>
              </a:r>
            </a:p>
          </p:txBody>
        </p:sp>
        <p:sp>
          <p:nvSpPr>
            <p:cNvPr id="353" name="TextBox 352">
              <a:extLst>
                <a:ext uri="{FF2B5EF4-FFF2-40B4-BE49-F238E27FC236}">
                  <a16:creationId xmlns:a16="http://schemas.microsoft.com/office/drawing/2014/main" id="{F7B7E8BA-CCE9-47F6-98EF-6D671B454A95}"/>
                </a:ext>
              </a:extLst>
            </p:cNvPr>
            <p:cNvSpPr txBox="1">
              <a:spLocks/>
            </p:cNvSpPr>
            <p:nvPr/>
          </p:nvSpPr>
          <p:spPr>
            <a:xfrm>
              <a:off x="1139318" y="4704686"/>
              <a:ext cx="3147849" cy="1184940"/>
            </a:xfrm>
            <a:prstGeom prst="rect">
              <a:avLst/>
            </a:prstGeom>
            <a:noFill/>
          </p:spPr>
          <p:txBody>
            <a:bodyPr wrap="square" lIns="0" tIns="0" rIns="0" bIns="0" rtlCol="0" anchor="b" anchorCtr="0">
              <a:spAutoFit/>
            </a:bodyPr>
            <a:lstStyle/>
            <a:p>
              <a:pPr marL="155121" lvl="1" indent="-155121" fontAlgn="base">
                <a:spcBef>
                  <a:spcPts val="600"/>
                </a:spcBef>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Bespoke analysis, drawing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pon our models and data</a:t>
              </a:r>
            </a:p>
            <a:p>
              <a:pPr marL="155121" lvl="1" indent="-155121" fontAlgn="base">
                <a:spcBef>
                  <a:spcPts val="600"/>
                </a:spcBef>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rusted advice for all major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rket participants proven in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400+ projects: transaction support, valuations, strategy &amp; policy engagement</a:t>
              </a:r>
            </a:p>
          </p:txBody>
        </p:sp>
      </p:grpSp>
      <p:sp>
        <p:nvSpPr>
          <p:cNvPr id="356" name="TextBox 355">
            <a:extLst>
              <a:ext uri="{FF2B5EF4-FFF2-40B4-BE49-F238E27FC236}">
                <a16:creationId xmlns:a16="http://schemas.microsoft.com/office/drawing/2014/main" id="{8E1F41B3-B7C9-4F43-B626-908712317D8D}"/>
              </a:ext>
            </a:extLst>
          </p:cNvPr>
          <p:cNvSpPr txBox="1"/>
          <p:nvPr/>
        </p:nvSpPr>
        <p:spPr>
          <a:xfrm>
            <a:off x="8870896" y="4650235"/>
            <a:ext cx="1196975" cy="214313"/>
          </a:xfrm>
          <a:prstGeom prst="rect">
            <a:avLst/>
          </a:prstGeom>
          <a:noFill/>
        </p:spPr>
        <p:txBody>
          <a:bodyPr wrap="none" lIns="0" tIns="0" rIns="0" bIns="0" rtlCol="0">
            <a:spAutoFit/>
          </a:bodyPr>
          <a:lstStyle/>
          <a:p>
            <a:pPr>
              <a:spcAft>
                <a:spcPts val="600"/>
              </a:spcAft>
            </a:pPr>
            <a:r>
              <a:rPr lang="en-GB" sz="14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ls &amp; Data</a:t>
            </a:r>
          </a:p>
        </p:txBody>
      </p:sp>
      <p:sp>
        <p:nvSpPr>
          <p:cNvPr id="357" name="TextBox 356">
            <a:extLst>
              <a:ext uri="{FF2B5EF4-FFF2-40B4-BE49-F238E27FC236}">
                <a16:creationId xmlns:a16="http://schemas.microsoft.com/office/drawing/2014/main" id="{2F5493C7-532F-4856-A4FC-4BE00F7F9FC2}"/>
              </a:ext>
            </a:extLst>
          </p:cNvPr>
          <p:cNvSpPr txBox="1"/>
          <p:nvPr/>
        </p:nvSpPr>
        <p:spPr>
          <a:xfrm>
            <a:off x="8870896" y="5035550"/>
            <a:ext cx="2360522" cy="553998"/>
          </a:xfrm>
          <a:prstGeom prst="rect">
            <a:avLst/>
          </a:prstGeom>
          <a:noFill/>
        </p:spPr>
        <p:txBody>
          <a:bodyPr wrap="square" lIns="0" tIns="0" rIns="0" bIns="0" rtlCol="0">
            <a:spAutoFit/>
          </a:bodyPr>
          <a:lstStyle/>
          <a:p>
            <a:pPr marL="155121" lvl="1" indent="-155121" fontAlgn="base">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arket-leading long-term models for power, gas, hydrogen carbon, oil and coal markets</a:t>
            </a:r>
          </a:p>
        </p:txBody>
      </p:sp>
      <p:sp>
        <p:nvSpPr>
          <p:cNvPr id="360" name="Rectangle 359">
            <a:extLst>
              <a:ext uri="{FF2B5EF4-FFF2-40B4-BE49-F238E27FC236}">
                <a16:creationId xmlns:a16="http://schemas.microsoft.com/office/drawing/2014/main" id="{896C1622-CD50-4D3F-8947-449B15E6EA4E}"/>
              </a:ext>
            </a:extLst>
          </p:cNvPr>
          <p:cNvSpPr/>
          <p:nvPr/>
        </p:nvSpPr>
        <p:spPr>
          <a:xfrm>
            <a:off x="8494056" y="1855788"/>
            <a:ext cx="3027363" cy="553998"/>
          </a:xfrm>
          <a:prstGeom prst="rect">
            <a:avLst/>
          </a:prstGeom>
        </p:spPr>
        <p:txBody>
          <a:bodyPr wrap="square" lIns="0" tIns="0" rIns="0" bIns="0">
            <a:spAutoFit/>
          </a:bodyPr>
          <a:lstStyle/>
          <a:p>
            <a:pPr marL="155121" lvl="1" indent="-155121" fontAlgn="base">
              <a:spcBef>
                <a:spcPts val="200"/>
              </a:spcBef>
              <a:spcAft>
                <a:spcPct val="0"/>
              </a:spcAft>
              <a:buClr>
                <a:srgbClr val="3C3C3B"/>
              </a:buClr>
              <a:buSzPct val="100000"/>
              <a:buFont typeface="Wingdings" panose="05000000000000000000" pitchFamily="2" charset="2"/>
              <a:buChar cha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loud-based tools for quick, accurate, asset- and site-specific valuations    </a:t>
            </a:r>
            <a:b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using Aurora’s trusted forecasts </a:t>
            </a:r>
          </a:p>
        </p:txBody>
      </p:sp>
      <p:sp>
        <p:nvSpPr>
          <p:cNvPr id="366" name="TextBox 365">
            <a:extLst>
              <a:ext uri="{FF2B5EF4-FFF2-40B4-BE49-F238E27FC236}">
                <a16:creationId xmlns:a16="http://schemas.microsoft.com/office/drawing/2014/main" id="{6E8BDF41-F88A-45CB-B8B8-636116DB3B0E}"/>
              </a:ext>
            </a:extLst>
          </p:cNvPr>
          <p:cNvSpPr txBox="1"/>
          <p:nvPr/>
        </p:nvSpPr>
        <p:spPr>
          <a:xfrm>
            <a:off x="8515295" y="1482725"/>
            <a:ext cx="1701800" cy="215900"/>
          </a:xfrm>
          <a:prstGeom prst="rect">
            <a:avLst/>
          </a:prstGeom>
          <a:noFill/>
        </p:spPr>
        <p:txBody>
          <a:bodyPr wrap="none" lIns="0" tIns="0" rIns="0" bIns="0" rtlCol="0">
            <a:spAutoFit/>
          </a:bodyPr>
          <a:lstStyle/>
          <a:p>
            <a:pPr>
              <a:spcAft>
                <a:spcPts val="600"/>
              </a:spcAft>
            </a:pPr>
            <a:r>
              <a:rPr lang="en-GB" sz="14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ftware as a Service</a:t>
            </a:r>
          </a:p>
        </p:txBody>
      </p:sp>
      <p:sp>
        <p:nvSpPr>
          <p:cNvPr id="375" name="TextBox 374">
            <a:extLst>
              <a:ext uri="{FF2B5EF4-FFF2-40B4-BE49-F238E27FC236}">
                <a16:creationId xmlns:a16="http://schemas.microsoft.com/office/drawing/2014/main" id="{7B23D511-269A-46ED-8743-69E328473E56}"/>
              </a:ext>
            </a:extLst>
          </p:cNvPr>
          <p:cNvSpPr txBox="1"/>
          <p:nvPr/>
        </p:nvSpPr>
        <p:spPr>
          <a:xfrm>
            <a:off x="8515295" y="5700713"/>
            <a:ext cx="2527300" cy="369332"/>
          </a:xfrm>
          <a:prstGeom prst="rect">
            <a:avLst/>
          </a:prstGeom>
          <a:noFill/>
        </p:spPr>
        <p:txBody>
          <a:bodyPr wrap="square" lIns="0" tIns="0" rIns="0" bIns="0" rtlCol="0">
            <a:spAutoFit/>
          </a:bodyPr>
          <a:lstStyle/>
          <a:p>
            <a:pPr marL="155121" lvl="1" indent="-155121" fontAlgn="base">
              <a:spcAft>
                <a:spcPct val="0"/>
              </a:spcAft>
              <a:buClr>
                <a:srgbClr val="3C3C3B"/>
              </a:buClr>
              <a:buSzPct val="100000"/>
              <a:buFont typeface="Wingdings" panose="05000000000000000000" pitchFamily="2" charset="2"/>
              <a:buChar char="§"/>
              <a:defRP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tinuous model improvements through client feedback</a:t>
            </a:r>
          </a:p>
        </p:txBody>
      </p:sp>
      <p:sp>
        <p:nvSpPr>
          <p:cNvPr id="376" name="Rectangle 375">
            <a:extLst>
              <a:ext uri="{FF2B5EF4-FFF2-40B4-BE49-F238E27FC236}">
                <a16:creationId xmlns:a16="http://schemas.microsoft.com/office/drawing/2014/main" id="{59C9B547-7E3A-4A53-B265-AEFD4E16700E}"/>
              </a:ext>
            </a:extLst>
          </p:cNvPr>
          <p:cNvSpPr/>
          <p:nvPr/>
        </p:nvSpPr>
        <p:spPr>
          <a:xfrm>
            <a:off x="8936969" y="2598689"/>
            <a:ext cx="2713038" cy="738664"/>
          </a:xfrm>
          <a:prstGeom prst="rect">
            <a:avLst/>
          </a:prstGeom>
        </p:spPr>
        <p:txBody>
          <a:bodyPr wrap="square" lIns="0" tIns="0" rIns="0" bIns="0">
            <a:spAutoFit/>
          </a:bodyPr>
          <a:lstStyle/>
          <a:p>
            <a:pPr marL="155121" lvl="1" indent="-155121" fontAlgn="base">
              <a:spcBef>
                <a:spcPts val="200"/>
              </a:spcBef>
              <a:spcAft>
                <a:spcPct val="0"/>
              </a:spcAft>
              <a:buClr>
                <a:srgbClr val="3C3C3B"/>
              </a:buClr>
              <a:buSzPct val="100000"/>
              <a:buFont typeface="Wingdings" panose="05000000000000000000" pitchFamily="2" charset="2"/>
              <a:buChar char="§"/>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rst-of-a-kind wind valuation tool  launched in 2019 and already widely adopted in GB, Germany, Ireland, France, Iberia, Poland and Australia</a:t>
            </a:r>
          </a:p>
        </p:txBody>
      </p:sp>
      <p:cxnSp>
        <p:nvCxnSpPr>
          <p:cNvPr id="399" name="Gerader Verbinder 196">
            <a:extLst>
              <a:ext uri="{FF2B5EF4-FFF2-40B4-BE49-F238E27FC236}">
                <a16:creationId xmlns:a16="http://schemas.microsoft.com/office/drawing/2014/main" id="{8FE0C381-FF32-4CB7-8D04-FF65EFA2B41E}"/>
              </a:ext>
            </a:extLst>
          </p:cNvPr>
          <p:cNvCxnSpPr>
            <a:cxnSpLocks/>
          </p:cNvCxnSpPr>
          <p:nvPr/>
        </p:nvCxnSpPr>
        <p:spPr>
          <a:xfrm rot="3600000" flipH="1">
            <a:off x="7410895" y="4624245"/>
            <a:ext cx="451678" cy="26044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07" name="Rechteck 56">
            <a:extLst>
              <a:ext uri="{FF2B5EF4-FFF2-40B4-BE49-F238E27FC236}">
                <a16:creationId xmlns:a16="http://schemas.microsoft.com/office/drawing/2014/main" id="{BCCD343E-12C7-43CB-8AF8-D65661AC5CB5}"/>
              </a:ext>
            </a:extLst>
          </p:cNvPr>
          <p:cNvSpPr/>
          <p:nvPr/>
        </p:nvSpPr>
        <p:spPr>
          <a:xfrm rot="19814709">
            <a:off x="5451475" y="2116138"/>
            <a:ext cx="2297640" cy="2905125"/>
          </a:xfrm>
          <a:prstGeom prst="rect">
            <a:avLst/>
          </a:prstGeom>
          <a:noFill/>
        </p:spPr>
        <p:txBody>
          <a:bodyPr wrap="none" lIns="91440" tIns="45720" rIns="91440" bIns="45720">
            <a:prstTxWarp prst="textCircle">
              <a:avLst/>
            </a:prstTxWarp>
            <a:spAutoFit/>
          </a:bodyPr>
          <a:lstStyle/>
          <a:p>
            <a:pPr algn="ctr"/>
            <a:r>
              <a:rPr lang="en-GB" b="1">
                <a:ln w="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oftware as a Service</a:t>
            </a:r>
          </a:p>
        </p:txBody>
      </p:sp>
      <p:sp>
        <p:nvSpPr>
          <p:cNvPr id="383" name="Bogen 208">
            <a:extLst>
              <a:ext uri="{FF2B5EF4-FFF2-40B4-BE49-F238E27FC236}">
                <a16:creationId xmlns:a16="http://schemas.microsoft.com/office/drawing/2014/main" id="{3D946E94-DA1D-48B9-B2C3-944D37717CB8}"/>
              </a:ext>
            </a:extLst>
          </p:cNvPr>
          <p:cNvSpPr/>
          <p:nvPr/>
        </p:nvSpPr>
        <p:spPr>
          <a:xfrm rot="3600000">
            <a:off x="4703507" y="2451089"/>
            <a:ext cx="2818417" cy="2818419"/>
          </a:xfrm>
          <a:prstGeom prst="arc">
            <a:avLst>
              <a:gd name="adj1" fmla="val 20155093"/>
              <a:gd name="adj2" fmla="val 5125686"/>
            </a:avLst>
          </a:prstGeom>
          <a:ln w="123825" cap="rnd"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96" name="Bogen 212">
            <a:extLst>
              <a:ext uri="{FF2B5EF4-FFF2-40B4-BE49-F238E27FC236}">
                <a16:creationId xmlns:a16="http://schemas.microsoft.com/office/drawing/2014/main" id="{A48C8A76-3282-49B3-9208-BFF9062B7149}"/>
              </a:ext>
            </a:extLst>
          </p:cNvPr>
          <p:cNvSpPr/>
          <p:nvPr/>
        </p:nvSpPr>
        <p:spPr>
          <a:xfrm rot="3600000" flipH="1">
            <a:off x="4703507" y="2451089"/>
            <a:ext cx="2818417" cy="2818419"/>
          </a:xfrm>
          <a:prstGeom prst="arc">
            <a:avLst>
              <a:gd name="adj1" fmla="val 20188316"/>
              <a:gd name="adj2" fmla="val 5049577"/>
            </a:avLst>
          </a:prstGeom>
          <a:ln w="123825" cap="rnd"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01" name="Bogen 50">
            <a:extLst>
              <a:ext uri="{FF2B5EF4-FFF2-40B4-BE49-F238E27FC236}">
                <a16:creationId xmlns:a16="http://schemas.microsoft.com/office/drawing/2014/main" id="{4B956348-BAE7-44C3-BA8F-3F64BE324739}"/>
              </a:ext>
            </a:extLst>
          </p:cNvPr>
          <p:cNvSpPr/>
          <p:nvPr/>
        </p:nvSpPr>
        <p:spPr>
          <a:xfrm rot="3600000">
            <a:off x="4700522" y="2449710"/>
            <a:ext cx="2819536" cy="2818609"/>
          </a:xfrm>
          <a:prstGeom prst="arc">
            <a:avLst>
              <a:gd name="adj1" fmla="val 12929250"/>
              <a:gd name="adj2" fmla="val 19496902"/>
            </a:avLst>
          </a:prstGeom>
          <a:ln w="123825" cap="rnd" cmpd="sng">
            <a:solidFill>
              <a:schemeClr val="accent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02" name="Ellipse 31">
            <a:extLst>
              <a:ext uri="{FF2B5EF4-FFF2-40B4-BE49-F238E27FC236}">
                <a16:creationId xmlns:a16="http://schemas.microsoft.com/office/drawing/2014/main" id="{C68DEFFF-C979-42F6-AC47-97C4E59688D6}"/>
              </a:ext>
            </a:extLst>
          </p:cNvPr>
          <p:cNvSpPr/>
          <p:nvPr/>
        </p:nvSpPr>
        <p:spPr>
          <a:xfrm rot="3600000">
            <a:off x="5435308" y="3161239"/>
            <a:ext cx="1382268" cy="1382269"/>
          </a:xfrm>
          <a:prstGeom prst="ellips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03" name="Ellipse 179">
            <a:extLst>
              <a:ext uri="{FF2B5EF4-FFF2-40B4-BE49-F238E27FC236}">
                <a16:creationId xmlns:a16="http://schemas.microsoft.com/office/drawing/2014/main" id="{48889551-F7F6-48FF-B9D1-A118A1318093}"/>
              </a:ext>
            </a:extLst>
          </p:cNvPr>
          <p:cNvSpPr/>
          <p:nvPr/>
        </p:nvSpPr>
        <p:spPr>
          <a:xfrm>
            <a:off x="5148035" y="2887696"/>
            <a:ext cx="1929361" cy="192935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GB" sz="1500" b="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04" name="Text Box 34">
            <a:extLst>
              <a:ext uri="{FF2B5EF4-FFF2-40B4-BE49-F238E27FC236}">
                <a16:creationId xmlns:a16="http://schemas.microsoft.com/office/drawing/2014/main" id="{1A8916A8-6B33-42D9-A109-7D6EA7B54ABE}"/>
              </a:ext>
            </a:extLst>
          </p:cNvPr>
          <p:cNvSpPr txBox="1">
            <a:spLocks noChangeArrowheads="1"/>
          </p:cNvSpPr>
          <p:nvPr/>
        </p:nvSpPr>
        <p:spPr bwMode="auto">
          <a:xfrm>
            <a:off x="5353613" y="3441258"/>
            <a:ext cx="1518205" cy="443198"/>
          </a:xfrm>
          <a:prstGeom prst="rect">
            <a:avLst/>
          </a:prstGeom>
          <a:noFill/>
          <a:ln w="9525">
            <a:noFill/>
            <a:miter lim="800000"/>
            <a:headEnd/>
            <a:tailEnd/>
          </a:ln>
        </p:spPr>
        <p:txBody>
          <a:bodyPr wrap="square" lIns="0" tIns="0" rIns="0" bIns="0" anchor="ctr" anchorCtr="0">
            <a:spAutoFit/>
          </a:bodyPr>
          <a:lstStyle/>
          <a:p>
            <a:pPr algn="ctr">
              <a:lnSpc>
                <a:spcPct val="90000"/>
              </a:lnSpc>
            </a:pPr>
            <a:r>
              <a:rPr lang="en-GB" sz="16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Models</a:t>
            </a:r>
            <a:br>
              <a:rPr lang="en-GB" sz="16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6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mp; Data</a:t>
            </a:r>
          </a:p>
        </p:txBody>
      </p:sp>
      <p:cxnSp>
        <p:nvCxnSpPr>
          <p:cNvPr id="13" name="Straight Connector 12">
            <a:extLst>
              <a:ext uri="{FF2B5EF4-FFF2-40B4-BE49-F238E27FC236}">
                <a16:creationId xmlns:a16="http://schemas.microsoft.com/office/drawing/2014/main" id="{521C8D1D-307F-4233-ACA3-27C24C2CEE16}"/>
              </a:ext>
            </a:extLst>
          </p:cNvPr>
          <p:cNvCxnSpPr/>
          <p:nvPr/>
        </p:nvCxnSpPr>
        <p:spPr>
          <a:xfrm>
            <a:off x="6104550" y="1740706"/>
            <a:ext cx="0" cy="4901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r Verbinder 196">
            <a:extLst>
              <a:ext uri="{FF2B5EF4-FFF2-40B4-BE49-F238E27FC236}">
                <a16:creationId xmlns:a16="http://schemas.microsoft.com/office/drawing/2014/main" id="{222A1111-F68B-4ECC-9EB4-C239B872649A}"/>
              </a:ext>
            </a:extLst>
          </p:cNvPr>
          <p:cNvCxnSpPr>
            <a:cxnSpLocks/>
          </p:cNvCxnSpPr>
          <p:nvPr/>
        </p:nvCxnSpPr>
        <p:spPr>
          <a:xfrm rot="18000000">
            <a:off x="4344450" y="4624244"/>
            <a:ext cx="451678" cy="26044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14" name="Rechteck 56">
            <a:extLst>
              <a:ext uri="{FF2B5EF4-FFF2-40B4-BE49-F238E27FC236}">
                <a16:creationId xmlns:a16="http://schemas.microsoft.com/office/drawing/2014/main" id="{21523BC2-FF69-4090-8CEE-B0282E989A86}"/>
              </a:ext>
            </a:extLst>
          </p:cNvPr>
          <p:cNvSpPr/>
          <p:nvPr/>
        </p:nvSpPr>
        <p:spPr>
          <a:xfrm>
            <a:off x="4245618" y="1984196"/>
            <a:ext cx="3761646" cy="3631704"/>
          </a:xfrm>
          <a:prstGeom prst="rect">
            <a:avLst/>
          </a:prstGeom>
          <a:noFill/>
        </p:spPr>
        <p:txBody>
          <a:bodyPr wrap="none" lIns="91440" tIns="45720" rIns="91440" bIns="45720">
            <a:prstTxWarp prst="textArchDown">
              <a:avLst/>
            </a:prstTxWarp>
            <a:spAutoFit/>
          </a:bodyPr>
          <a:lstStyle/>
          <a:p>
            <a:pPr algn="ctr"/>
            <a:r>
              <a:rPr lang="en-GB" b="1">
                <a:ln w="0"/>
                <a:solidFill>
                  <a:schemeClr val="accent5">
                    <a:lumMod val="75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mmissioned Projects</a:t>
            </a:r>
          </a:p>
        </p:txBody>
      </p:sp>
      <p:pic>
        <p:nvPicPr>
          <p:cNvPr id="371" name="Graphic 18" descr="Bar chart">
            <a:extLst>
              <a:ext uri="{FF2B5EF4-FFF2-40B4-BE49-F238E27FC236}">
                <a16:creationId xmlns:a16="http://schemas.microsoft.com/office/drawing/2014/main" id="{5EE37BA9-AE89-42C2-A1E9-0C9593FA5803}"/>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5834223" y="3926537"/>
            <a:ext cx="556985" cy="458602"/>
          </a:xfrm>
          <a:prstGeom prst="rect">
            <a:avLst/>
          </a:prstGeom>
        </p:spPr>
      </p:pic>
      <p:pic>
        <p:nvPicPr>
          <p:cNvPr id="40" name="Graphic 16" descr="Books">
            <a:extLst>
              <a:ext uri="{FF2B5EF4-FFF2-40B4-BE49-F238E27FC236}">
                <a16:creationId xmlns:a16="http://schemas.microsoft.com/office/drawing/2014/main" id="{B6331339-3713-4BE2-9D73-A0F48BF03629}"/>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gray">
          <a:xfrm>
            <a:off x="3721825" y="2539218"/>
            <a:ext cx="523793" cy="523284"/>
          </a:xfrm>
          <a:prstGeom prst="rect">
            <a:avLst/>
          </a:prstGeom>
        </p:spPr>
      </p:pic>
      <p:pic>
        <p:nvPicPr>
          <p:cNvPr id="42" name="Graphic 38" descr="Teacher">
            <a:extLst>
              <a:ext uri="{FF2B5EF4-FFF2-40B4-BE49-F238E27FC236}">
                <a16:creationId xmlns:a16="http://schemas.microsoft.com/office/drawing/2014/main" id="{C1BED2B4-A2B9-4E2D-B4F4-81F72FAB415E}"/>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bwMode="gray">
          <a:xfrm>
            <a:off x="3523169" y="4804181"/>
            <a:ext cx="656362" cy="656362"/>
          </a:xfrm>
          <a:prstGeom prst="rect">
            <a:avLst/>
          </a:prstGeom>
        </p:spPr>
      </p:pic>
      <p:pic>
        <p:nvPicPr>
          <p:cNvPr id="43" name="Graphic 18" descr="Bar chart">
            <a:extLst>
              <a:ext uri="{FF2B5EF4-FFF2-40B4-BE49-F238E27FC236}">
                <a16:creationId xmlns:a16="http://schemas.microsoft.com/office/drawing/2014/main" id="{59382D23-0238-428C-A2A5-FA8C4366F868}"/>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bwMode="gray">
          <a:xfrm>
            <a:off x="8067159" y="4935841"/>
            <a:ext cx="642272" cy="528824"/>
          </a:xfrm>
          <a:prstGeom prst="rect">
            <a:avLst/>
          </a:prstGeom>
        </p:spPr>
      </p:pic>
      <p:sp>
        <p:nvSpPr>
          <p:cNvPr id="413" name="Rechteck 56">
            <a:extLst>
              <a:ext uri="{FF2B5EF4-FFF2-40B4-BE49-F238E27FC236}">
                <a16:creationId xmlns:a16="http://schemas.microsoft.com/office/drawing/2014/main" id="{14FEC163-A469-4C17-B7C2-A65D788E6DBE}"/>
              </a:ext>
            </a:extLst>
          </p:cNvPr>
          <p:cNvSpPr/>
          <p:nvPr/>
        </p:nvSpPr>
        <p:spPr>
          <a:xfrm rot="12638630">
            <a:off x="4419600" y="2078038"/>
            <a:ext cx="2946400" cy="3302575"/>
          </a:xfrm>
          <a:prstGeom prst="rect">
            <a:avLst/>
          </a:prstGeom>
          <a:noFill/>
        </p:spPr>
        <p:txBody>
          <a:bodyPr wrap="none" lIns="91440" tIns="45720" rIns="91440" bIns="45720">
            <a:prstTxWarp prst="textCircle">
              <a:avLst/>
            </a:prstTxWarp>
            <a:spAutoFit/>
          </a:bodyPr>
          <a:lstStyle/>
          <a:p>
            <a:pPr algn="ctr"/>
            <a:r>
              <a:rPr lang="en-GB" b="1">
                <a:ln w="0"/>
                <a:solidFill>
                  <a:schemeClr val="accent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Research &amp; Publications</a:t>
            </a:r>
          </a:p>
        </p:txBody>
      </p:sp>
      <p:grpSp>
        <p:nvGrpSpPr>
          <p:cNvPr id="9" name="Group 8">
            <a:extLst>
              <a:ext uri="{FF2B5EF4-FFF2-40B4-BE49-F238E27FC236}">
                <a16:creationId xmlns:a16="http://schemas.microsoft.com/office/drawing/2014/main" id="{9D37D038-F2EB-4082-9100-E7E8EA16F7D7}"/>
              </a:ext>
            </a:extLst>
          </p:cNvPr>
          <p:cNvGrpSpPr/>
          <p:nvPr/>
        </p:nvGrpSpPr>
        <p:grpSpPr>
          <a:xfrm>
            <a:off x="7946422" y="2276593"/>
            <a:ext cx="364725" cy="553998"/>
            <a:chOff x="10553223" y="1333177"/>
            <a:chExt cx="285815" cy="434138"/>
          </a:xfrm>
          <a:solidFill>
            <a:schemeClr val="accent2"/>
          </a:solidFill>
        </p:grpSpPr>
        <p:sp>
          <p:nvSpPr>
            <p:cNvPr id="45" name="Freeform 5">
              <a:extLst>
                <a:ext uri="{FF2B5EF4-FFF2-40B4-BE49-F238E27FC236}">
                  <a16:creationId xmlns:a16="http://schemas.microsoft.com/office/drawing/2014/main" id="{51A5AAA9-4F5E-4550-A42E-959A69667AAF}"/>
                </a:ext>
              </a:extLst>
            </p:cNvPr>
            <p:cNvSpPr>
              <a:spLocks noChangeAspect="1"/>
            </p:cNvSpPr>
            <p:nvPr/>
          </p:nvSpPr>
          <p:spPr bwMode="auto">
            <a:xfrm rot="10800000">
              <a:off x="10600372" y="1333177"/>
              <a:ext cx="191517" cy="355696"/>
            </a:xfrm>
            <a:custGeom>
              <a:avLst/>
              <a:gdLst>
                <a:gd name="T0" fmla="*/ 551 w 1296"/>
                <a:gd name="T1" fmla="*/ 2407 h 2407"/>
                <a:gd name="T2" fmla="*/ 551 w 1296"/>
                <a:gd name="T3" fmla="*/ 370 h 2407"/>
                <a:gd name="T4" fmla="*/ 135 w 1296"/>
                <a:gd name="T5" fmla="*/ 784 h 2407"/>
                <a:gd name="T6" fmla="*/ 0 w 1296"/>
                <a:gd name="T7" fmla="*/ 649 h 2407"/>
                <a:gd name="T8" fmla="*/ 648 w 1296"/>
                <a:gd name="T9" fmla="*/ 0 h 2407"/>
                <a:gd name="T10" fmla="*/ 1296 w 1296"/>
                <a:gd name="T11" fmla="*/ 649 h 2407"/>
                <a:gd name="T12" fmla="*/ 1161 w 1296"/>
                <a:gd name="T13" fmla="*/ 784 h 2407"/>
                <a:gd name="T14" fmla="*/ 745 w 1296"/>
                <a:gd name="T15" fmla="*/ 370 h 2407"/>
                <a:gd name="T16" fmla="*/ 745 w 1296"/>
                <a:gd name="T17" fmla="*/ 2407 h 2407"/>
                <a:gd name="T18" fmla="*/ 551 w 1296"/>
                <a:gd name="T19" fmla="*/ 2407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6" h="2407">
                  <a:moveTo>
                    <a:pt x="551" y="2407"/>
                  </a:moveTo>
                  <a:lnTo>
                    <a:pt x="551" y="370"/>
                  </a:lnTo>
                  <a:lnTo>
                    <a:pt x="135" y="784"/>
                  </a:lnTo>
                  <a:lnTo>
                    <a:pt x="0" y="649"/>
                  </a:lnTo>
                  <a:lnTo>
                    <a:pt x="648" y="0"/>
                  </a:lnTo>
                  <a:lnTo>
                    <a:pt x="1296" y="649"/>
                  </a:lnTo>
                  <a:lnTo>
                    <a:pt x="1161" y="784"/>
                  </a:lnTo>
                  <a:lnTo>
                    <a:pt x="745" y="370"/>
                  </a:lnTo>
                  <a:lnTo>
                    <a:pt x="745" y="2407"/>
                  </a:lnTo>
                  <a:lnTo>
                    <a:pt x="551" y="2407"/>
                  </a:lnTo>
                  <a:close/>
                </a:path>
              </a:pathLst>
            </a:custGeom>
            <a:grpFill/>
            <a:ln>
              <a:noFill/>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Rectangle 2">
              <a:extLst>
                <a:ext uri="{FF2B5EF4-FFF2-40B4-BE49-F238E27FC236}">
                  <a16:creationId xmlns:a16="http://schemas.microsoft.com/office/drawing/2014/main" id="{DB480A94-3921-4B78-BD2C-D2666636C054}"/>
                </a:ext>
              </a:extLst>
            </p:cNvPr>
            <p:cNvSpPr/>
            <p:nvPr/>
          </p:nvSpPr>
          <p:spPr>
            <a:xfrm>
              <a:off x="10553223" y="1721596"/>
              <a:ext cx="285815" cy="45719"/>
            </a:xfrm>
            <a:prstGeom prst="rect">
              <a:avLst/>
            </a:prstGeom>
            <a:grpFill/>
            <a:ln w="635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Tree>
    <p:extLst>
      <p:ext uri="{BB962C8B-B14F-4D97-AF65-F5344CB8AC3E}">
        <p14:creationId xmlns:p14="http://schemas.microsoft.com/office/powerpoint/2010/main" val="3937217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D2A52A-2285-4711-8089-8524B824C1FA}"/>
              </a:ext>
            </a:extLst>
          </p:cNvPr>
          <p:cNvGraphicFramePr>
            <a:graphicFrameLocks noChangeAspect="1"/>
          </p:cNvGraphicFramePr>
          <p:nvPr>
            <p:custDataLst>
              <p:tags r:id="rId2"/>
            </p:custDataLst>
            <p:extLst>
              <p:ext uri="{D42A27DB-BD31-4B8C-83A1-F6EECF244321}">
                <p14:modId xmlns:p14="http://schemas.microsoft.com/office/powerpoint/2010/main" val="3764652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FAD2A52A-2285-4711-8089-8524B824C1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19BCB-F93B-4AAA-A2EF-C0697CE8883D}"/>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GB" sz="2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5" name="Text Placeholder 4">
            <a:extLst>
              <a:ext uri="{FF2B5EF4-FFF2-40B4-BE49-F238E27FC236}">
                <a16:creationId xmlns:a16="http://schemas.microsoft.com/office/drawing/2014/main" id="{863926F4-C29A-4206-9AF5-98D330EC09EA}"/>
              </a:ext>
            </a:extLst>
          </p:cNvPr>
          <p:cNvSpPr>
            <a:spLocks noGrp="1"/>
          </p:cNvSpPr>
          <p:nvPr>
            <p:ph type="body" sz="quarter" idx="22"/>
          </p:nvPr>
        </p:nvSpPr>
        <p:spPr>
          <a:xfrm>
            <a:off x="381001" y="6715169"/>
            <a:ext cx="1452321" cy="110800"/>
          </a:xfrm>
        </p:spPr>
        <p:txBody>
          <a:bodyPr/>
          <a:lstStyle/>
          <a:p>
            <a:r>
              <a:rPr lang="en-GB"/>
              <a:t>Source: Aurora Energy Research</a:t>
            </a:r>
          </a:p>
        </p:txBody>
      </p:sp>
      <p:sp>
        <p:nvSpPr>
          <p:cNvPr id="4" name="Title 3">
            <a:extLst>
              <a:ext uri="{FF2B5EF4-FFF2-40B4-BE49-F238E27FC236}">
                <a16:creationId xmlns:a16="http://schemas.microsoft.com/office/drawing/2014/main" id="{9890F4A8-B07B-4DC0-9DF2-726F6AF2D3C2}"/>
              </a:ext>
            </a:extLst>
          </p:cNvPr>
          <p:cNvSpPr>
            <a:spLocks noGrp="1"/>
          </p:cNvSpPr>
          <p:nvPr>
            <p:ph type="title"/>
          </p:nvPr>
        </p:nvSpPr>
        <p:spPr>
          <a:xfrm>
            <a:off x="381599" y="411856"/>
            <a:ext cx="8600471" cy="609398"/>
          </a:xfrm>
        </p:spPr>
        <p:txBody>
          <a:bodyPr vert="horz"/>
          <a:lstStyle/>
          <a:p>
            <a:r>
              <a:rPr lang="en-US" dirty="0"/>
              <a:t>We work with leading companies from the energy sector, top financiers and major governments and regulators</a:t>
            </a:r>
            <a:endParaRPr lang="en-GB" dirty="0"/>
          </a:p>
        </p:txBody>
      </p:sp>
      <p:sp>
        <p:nvSpPr>
          <p:cNvPr id="7" name="Text Placeholder 6">
            <a:extLst>
              <a:ext uri="{FF2B5EF4-FFF2-40B4-BE49-F238E27FC236}">
                <a16:creationId xmlns:a16="http://schemas.microsoft.com/office/drawing/2014/main" id="{C0F0E131-1E56-49F7-9D40-2A96268BFB65}"/>
              </a:ext>
            </a:extLst>
          </p:cNvPr>
          <p:cNvSpPr>
            <a:spLocks noGrp="1"/>
          </p:cNvSpPr>
          <p:nvPr>
            <p:ph type="body" sz="quarter" idx="32"/>
          </p:nvPr>
        </p:nvSpPr>
        <p:spPr>
          <a:xfrm>
            <a:off x="381600" y="6302615"/>
            <a:ext cx="11428800" cy="110800"/>
          </a:xfrm>
        </p:spPr>
        <p:txBody>
          <a:bodyPr/>
          <a:lstStyle/>
          <a:p>
            <a:endParaRPr lang="en-GB"/>
          </a:p>
        </p:txBody>
      </p:sp>
      <p:sp>
        <p:nvSpPr>
          <p:cNvPr id="6" name="Text Placeholder 5">
            <a:extLst>
              <a:ext uri="{FF2B5EF4-FFF2-40B4-BE49-F238E27FC236}">
                <a16:creationId xmlns:a16="http://schemas.microsoft.com/office/drawing/2014/main" id="{0439859C-6E91-4204-921E-388C15A32F0A}"/>
              </a:ext>
            </a:extLst>
          </p:cNvPr>
          <p:cNvSpPr>
            <a:spLocks noGrp="1"/>
          </p:cNvSpPr>
          <p:nvPr>
            <p:ph type="body" sz="quarter" idx="31"/>
          </p:nvPr>
        </p:nvSpPr>
        <p:spPr>
          <a:xfrm>
            <a:off x="381599" y="79401"/>
            <a:ext cx="924933" cy="184666"/>
          </a:xfrm>
        </p:spPr>
        <p:txBody>
          <a:bodyPr/>
          <a:lstStyle/>
          <a:p>
            <a:r>
              <a:rPr lang="en-GB"/>
              <a:t>About Aurora</a:t>
            </a:r>
          </a:p>
        </p:txBody>
      </p:sp>
      <p:pic>
        <p:nvPicPr>
          <p:cNvPr id="51" name="Picture 78" descr="https://seeker401.files.wordpress.com/2013/08/siemens.gif">
            <a:extLst>
              <a:ext uri="{FF2B5EF4-FFF2-40B4-BE49-F238E27FC236}">
                <a16:creationId xmlns:a16="http://schemas.microsoft.com/office/drawing/2014/main" id="{85F151FA-ED5E-4426-9F31-E422D619027F}"/>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12599" t="17495" r="13795" b="48157"/>
          <a:stretch/>
        </p:blipFill>
        <p:spPr bwMode="auto">
          <a:xfrm>
            <a:off x="1692024" y="3411465"/>
            <a:ext cx="860961" cy="20088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9BDDA7F9-85C7-4C15-A073-C5333958AFC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87870" y="3598429"/>
            <a:ext cx="447297" cy="226088"/>
          </a:xfrm>
          <a:prstGeom prst="rect">
            <a:avLst/>
          </a:prstGeom>
        </p:spPr>
      </p:pic>
      <p:pic>
        <p:nvPicPr>
          <p:cNvPr id="55" name="Picture 54">
            <a:extLst>
              <a:ext uri="{FF2B5EF4-FFF2-40B4-BE49-F238E27FC236}">
                <a16:creationId xmlns:a16="http://schemas.microsoft.com/office/drawing/2014/main" id="{463EC5F7-DE29-4C8A-B9AC-00E509644019}"/>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1" r="76811" b="-17508"/>
          <a:stretch/>
        </p:blipFill>
        <p:spPr>
          <a:xfrm>
            <a:off x="10695622" y="3475039"/>
            <a:ext cx="347244" cy="393825"/>
          </a:xfrm>
          <a:prstGeom prst="rect">
            <a:avLst/>
          </a:prstGeom>
        </p:spPr>
      </p:pic>
      <p:pic>
        <p:nvPicPr>
          <p:cNvPr id="56" name="Picture 55">
            <a:extLst>
              <a:ext uri="{FF2B5EF4-FFF2-40B4-BE49-F238E27FC236}">
                <a16:creationId xmlns:a16="http://schemas.microsoft.com/office/drawing/2014/main" id="{6AD29DA0-4673-415F-9156-55486511C7D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642339" y="3996853"/>
            <a:ext cx="1113231" cy="154518"/>
          </a:xfrm>
          <a:prstGeom prst="rect">
            <a:avLst/>
          </a:prstGeom>
          <a:solidFill>
            <a:srgbClr val="002060"/>
          </a:solidFill>
        </p:spPr>
      </p:pic>
      <p:pic>
        <p:nvPicPr>
          <p:cNvPr id="57" name="Picture 56">
            <a:extLst>
              <a:ext uri="{FF2B5EF4-FFF2-40B4-BE49-F238E27FC236}">
                <a16:creationId xmlns:a16="http://schemas.microsoft.com/office/drawing/2014/main" id="{DFDF795F-7A2C-49CF-8317-C0F7D8A8991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510028" y="3971748"/>
            <a:ext cx="805826" cy="124303"/>
          </a:xfrm>
          <a:prstGeom prst="rect">
            <a:avLst/>
          </a:prstGeom>
        </p:spPr>
      </p:pic>
      <p:pic>
        <p:nvPicPr>
          <p:cNvPr id="58" name="Picture 57">
            <a:extLst>
              <a:ext uri="{FF2B5EF4-FFF2-40B4-BE49-F238E27FC236}">
                <a16:creationId xmlns:a16="http://schemas.microsoft.com/office/drawing/2014/main" id="{A3D97D8A-B44B-4006-9B3C-555E272000C3}"/>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259518" y="3902039"/>
            <a:ext cx="1069280" cy="246828"/>
          </a:xfrm>
          <a:prstGeom prst="rect">
            <a:avLst/>
          </a:prstGeom>
        </p:spPr>
      </p:pic>
      <p:pic>
        <p:nvPicPr>
          <p:cNvPr id="59" name="Picture 58">
            <a:extLst>
              <a:ext uri="{FF2B5EF4-FFF2-40B4-BE49-F238E27FC236}">
                <a16:creationId xmlns:a16="http://schemas.microsoft.com/office/drawing/2014/main" id="{C9372509-47E4-4825-848B-3C6E145D74E6}"/>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510028" y="2434318"/>
            <a:ext cx="1221289" cy="215726"/>
          </a:xfrm>
          <a:prstGeom prst="rect">
            <a:avLst/>
          </a:prstGeom>
        </p:spPr>
      </p:pic>
      <p:pic>
        <p:nvPicPr>
          <p:cNvPr id="60" name="Picture 59">
            <a:extLst>
              <a:ext uri="{FF2B5EF4-FFF2-40B4-BE49-F238E27FC236}">
                <a16:creationId xmlns:a16="http://schemas.microsoft.com/office/drawing/2014/main" id="{FB154D6E-11CD-40AE-A508-BCE29F08E460}"/>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199105" y="3050679"/>
            <a:ext cx="846989" cy="165599"/>
          </a:xfrm>
          <a:prstGeom prst="rect">
            <a:avLst/>
          </a:prstGeom>
        </p:spPr>
      </p:pic>
      <p:pic>
        <p:nvPicPr>
          <p:cNvPr id="61" name="Picture 60">
            <a:extLst>
              <a:ext uri="{FF2B5EF4-FFF2-40B4-BE49-F238E27FC236}">
                <a16:creationId xmlns:a16="http://schemas.microsoft.com/office/drawing/2014/main" id="{3A4C2524-CF85-4585-8AF2-6F55081F9413}"/>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1149894" y="3316321"/>
            <a:ext cx="683629" cy="249376"/>
          </a:xfrm>
          <a:prstGeom prst="rect">
            <a:avLst/>
          </a:prstGeom>
        </p:spPr>
      </p:pic>
      <p:pic>
        <p:nvPicPr>
          <p:cNvPr id="66" name="Picture 270" descr="European Commission logo">
            <a:extLst>
              <a:ext uri="{FF2B5EF4-FFF2-40B4-BE49-F238E27FC236}">
                <a16:creationId xmlns:a16="http://schemas.microsoft.com/office/drawing/2014/main" id="{27D3998C-C6FD-4588-A79A-4C39AA34FBB6}"/>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437509" y="5275961"/>
            <a:ext cx="714237" cy="49415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1C83FA73-5678-40A7-A02E-5B1B90E76E9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937903" y="5611821"/>
            <a:ext cx="1120816" cy="494152"/>
          </a:xfrm>
          <a:prstGeom prst="rect">
            <a:avLst/>
          </a:prstGeom>
        </p:spPr>
      </p:pic>
      <p:sp>
        <p:nvSpPr>
          <p:cNvPr id="47" name="Rounded Rectangle 75">
            <a:extLst>
              <a:ext uri="{FF2B5EF4-FFF2-40B4-BE49-F238E27FC236}">
                <a16:creationId xmlns:a16="http://schemas.microsoft.com/office/drawing/2014/main" id="{14FB69B0-67BA-4157-A790-CADC7FD3A231}"/>
              </a:ext>
            </a:extLst>
          </p:cNvPr>
          <p:cNvSpPr>
            <a:spLocks/>
          </p:cNvSpPr>
          <p:nvPr/>
        </p:nvSpPr>
        <p:spPr>
          <a:xfrm>
            <a:off x="381600" y="2139471"/>
            <a:ext cx="5548368" cy="207922"/>
          </a:xfrm>
          <a:prstGeom prst="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wer &amp; utilities</a:t>
            </a:r>
          </a:p>
        </p:txBody>
      </p:sp>
      <p:sp>
        <p:nvSpPr>
          <p:cNvPr id="53" name="Rounded Rectangle 8">
            <a:extLst>
              <a:ext uri="{FF2B5EF4-FFF2-40B4-BE49-F238E27FC236}">
                <a16:creationId xmlns:a16="http://schemas.microsoft.com/office/drawing/2014/main" id="{A75902F7-0C26-48DD-B765-15C23601451E}"/>
              </a:ext>
            </a:extLst>
          </p:cNvPr>
          <p:cNvSpPr>
            <a:spLocks/>
          </p:cNvSpPr>
          <p:nvPr/>
        </p:nvSpPr>
        <p:spPr>
          <a:xfrm>
            <a:off x="6259518" y="2139471"/>
            <a:ext cx="5548368" cy="207922"/>
          </a:xfrm>
          <a:prstGeom prst="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inancial sector &amp; investors</a:t>
            </a:r>
          </a:p>
        </p:txBody>
      </p:sp>
      <p:sp>
        <p:nvSpPr>
          <p:cNvPr id="65" name="Rounded Rectangle 77">
            <a:extLst>
              <a:ext uri="{FF2B5EF4-FFF2-40B4-BE49-F238E27FC236}">
                <a16:creationId xmlns:a16="http://schemas.microsoft.com/office/drawing/2014/main" id="{1A07092F-6D7E-4321-B6B0-8FCD6F920D2E}"/>
              </a:ext>
            </a:extLst>
          </p:cNvPr>
          <p:cNvSpPr>
            <a:spLocks/>
          </p:cNvSpPr>
          <p:nvPr/>
        </p:nvSpPr>
        <p:spPr>
          <a:xfrm>
            <a:off x="6259518" y="4359558"/>
            <a:ext cx="5548368" cy="207922"/>
          </a:xfrm>
          <a:prstGeom prst="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Policy &amp; regulation</a:t>
            </a:r>
          </a:p>
        </p:txBody>
      </p:sp>
      <p:sp>
        <p:nvSpPr>
          <p:cNvPr id="69" name="Rounded Rectangle 79">
            <a:extLst>
              <a:ext uri="{FF2B5EF4-FFF2-40B4-BE49-F238E27FC236}">
                <a16:creationId xmlns:a16="http://schemas.microsoft.com/office/drawing/2014/main" id="{D4BBB770-23C2-42CA-96D2-25C5A63A1289}"/>
              </a:ext>
            </a:extLst>
          </p:cNvPr>
          <p:cNvSpPr>
            <a:spLocks/>
          </p:cNvSpPr>
          <p:nvPr/>
        </p:nvSpPr>
        <p:spPr>
          <a:xfrm>
            <a:off x="381600" y="4359558"/>
            <a:ext cx="5548368" cy="207922"/>
          </a:xfrm>
          <a:prstGeom prst="rect">
            <a:avLst/>
          </a:prstGeom>
          <a:solidFill>
            <a:schemeClr val="accent2"/>
          </a:solidFill>
          <a:ln>
            <a:solidFill>
              <a:schemeClr val="accent2"/>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spcAft>
                <a:spcPts val="1000"/>
              </a:spcAft>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Oil &amp; gas</a:t>
            </a:r>
          </a:p>
        </p:txBody>
      </p:sp>
      <p:pic>
        <p:nvPicPr>
          <p:cNvPr id="70" name="Picture 69">
            <a:extLst>
              <a:ext uri="{FF2B5EF4-FFF2-40B4-BE49-F238E27FC236}">
                <a16:creationId xmlns:a16="http://schemas.microsoft.com/office/drawing/2014/main" id="{CBE1C38A-0D28-45B8-A611-CD8A7B9C3CE5}"/>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2052530" y="4690629"/>
            <a:ext cx="1231322" cy="261919"/>
          </a:xfrm>
          <a:prstGeom prst="rect">
            <a:avLst/>
          </a:prstGeom>
        </p:spPr>
      </p:pic>
      <p:pic>
        <p:nvPicPr>
          <p:cNvPr id="75" name="Picture 74">
            <a:extLst>
              <a:ext uri="{FF2B5EF4-FFF2-40B4-BE49-F238E27FC236}">
                <a16:creationId xmlns:a16="http://schemas.microsoft.com/office/drawing/2014/main" id="{B42C7C17-7032-45C6-9BB1-69F1A1BC214E}"/>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931658" y="2726818"/>
            <a:ext cx="538185" cy="246043"/>
          </a:xfrm>
          <a:prstGeom prst="rect">
            <a:avLst/>
          </a:prstGeom>
        </p:spPr>
      </p:pic>
      <p:pic>
        <p:nvPicPr>
          <p:cNvPr id="76" name="Picture 75">
            <a:extLst>
              <a:ext uri="{FF2B5EF4-FFF2-40B4-BE49-F238E27FC236}">
                <a16:creationId xmlns:a16="http://schemas.microsoft.com/office/drawing/2014/main" id="{B31BC0F5-AAB2-4480-8230-2DD9A3B744A3}"/>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10888835" y="4640898"/>
            <a:ext cx="866735" cy="496480"/>
          </a:xfrm>
          <a:prstGeom prst="rect">
            <a:avLst/>
          </a:prstGeom>
        </p:spPr>
      </p:pic>
      <p:pic>
        <p:nvPicPr>
          <p:cNvPr id="77" name="Picture 76">
            <a:extLst>
              <a:ext uri="{FF2B5EF4-FFF2-40B4-BE49-F238E27FC236}">
                <a16:creationId xmlns:a16="http://schemas.microsoft.com/office/drawing/2014/main" id="{1C910F3F-EF00-40CF-B4EC-EE8BB7B78399}"/>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l="4774" t="11739" r="4774" b="11739"/>
          <a:stretch/>
        </p:blipFill>
        <p:spPr>
          <a:xfrm>
            <a:off x="9430450" y="5970915"/>
            <a:ext cx="968542" cy="304680"/>
          </a:xfrm>
          <a:prstGeom prst="rect">
            <a:avLst/>
          </a:prstGeom>
          <a:effectLst/>
        </p:spPr>
      </p:pic>
      <p:pic>
        <p:nvPicPr>
          <p:cNvPr id="78" name="Picture 77">
            <a:extLst>
              <a:ext uri="{FF2B5EF4-FFF2-40B4-BE49-F238E27FC236}">
                <a16:creationId xmlns:a16="http://schemas.microsoft.com/office/drawing/2014/main" id="{55EA9998-5534-421F-9C59-C74349163836}"/>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9256527" y="4674231"/>
            <a:ext cx="1485525" cy="165057"/>
          </a:xfrm>
          <a:prstGeom prst="rect">
            <a:avLst/>
          </a:prstGeom>
        </p:spPr>
      </p:pic>
      <p:pic>
        <p:nvPicPr>
          <p:cNvPr id="79" name="Graphic 78">
            <a:extLst>
              <a:ext uri="{FF2B5EF4-FFF2-40B4-BE49-F238E27FC236}">
                <a16:creationId xmlns:a16="http://schemas.microsoft.com/office/drawing/2014/main" id="{3805FBE7-B4FA-421E-B45B-5AE2744E2903}"/>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991803" y="4689539"/>
            <a:ext cx="1032281" cy="516141"/>
          </a:xfrm>
          <a:prstGeom prst="rect">
            <a:avLst/>
          </a:prstGeom>
        </p:spPr>
      </p:pic>
      <p:pic>
        <p:nvPicPr>
          <p:cNvPr id="80" name="Picture 79">
            <a:extLst>
              <a:ext uri="{FF2B5EF4-FFF2-40B4-BE49-F238E27FC236}">
                <a16:creationId xmlns:a16="http://schemas.microsoft.com/office/drawing/2014/main" id="{F1147D52-6119-4F0C-B79D-CD0A1ED96A97}"/>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0557523" y="5999700"/>
            <a:ext cx="1153737" cy="183007"/>
          </a:xfrm>
          <a:prstGeom prst="rect">
            <a:avLst/>
          </a:prstGeom>
        </p:spPr>
      </p:pic>
      <p:pic>
        <p:nvPicPr>
          <p:cNvPr id="81" name="Picture 80">
            <a:extLst>
              <a:ext uri="{FF2B5EF4-FFF2-40B4-BE49-F238E27FC236}">
                <a16:creationId xmlns:a16="http://schemas.microsoft.com/office/drawing/2014/main" id="{B713E5A7-BF9B-413E-97F6-2E90C971B48A}"/>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6249412" y="4685172"/>
            <a:ext cx="953388" cy="481257"/>
          </a:xfrm>
          <a:prstGeom prst="rect">
            <a:avLst/>
          </a:prstGeom>
        </p:spPr>
      </p:pic>
      <p:pic>
        <p:nvPicPr>
          <p:cNvPr id="82" name="Picture 81">
            <a:extLst>
              <a:ext uri="{FF2B5EF4-FFF2-40B4-BE49-F238E27FC236}">
                <a16:creationId xmlns:a16="http://schemas.microsoft.com/office/drawing/2014/main" id="{3F34B0FD-14B5-4C0D-B93E-67D4AF449CF2}"/>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121850" y="4775828"/>
            <a:ext cx="718415" cy="521013"/>
          </a:xfrm>
          <a:prstGeom prst="rect">
            <a:avLst/>
          </a:prstGeom>
        </p:spPr>
      </p:pic>
      <p:pic>
        <p:nvPicPr>
          <p:cNvPr id="83" name="Picture 82">
            <a:extLst>
              <a:ext uri="{FF2B5EF4-FFF2-40B4-BE49-F238E27FC236}">
                <a16:creationId xmlns:a16="http://schemas.microsoft.com/office/drawing/2014/main" id="{3400F5FB-D4BE-4EE9-A3F7-F0AFBB7B1EE8}"/>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6249412" y="5235431"/>
            <a:ext cx="1044277" cy="254724"/>
          </a:xfrm>
          <a:prstGeom prst="rect">
            <a:avLst/>
          </a:prstGeom>
        </p:spPr>
      </p:pic>
      <p:pic>
        <p:nvPicPr>
          <p:cNvPr id="84" name="Picture 83">
            <a:extLst>
              <a:ext uri="{FF2B5EF4-FFF2-40B4-BE49-F238E27FC236}">
                <a16:creationId xmlns:a16="http://schemas.microsoft.com/office/drawing/2014/main" id="{F1D8990F-E624-45CB-95A3-2F5918162967}"/>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9138428" y="3877961"/>
            <a:ext cx="803910" cy="287111"/>
          </a:xfrm>
          <a:prstGeom prst="rect">
            <a:avLst/>
          </a:prstGeom>
        </p:spPr>
      </p:pic>
      <p:pic>
        <p:nvPicPr>
          <p:cNvPr id="85" name="Picture 84">
            <a:extLst>
              <a:ext uri="{FF2B5EF4-FFF2-40B4-BE49-F238E27FC236}">
                <a16:creationId xmlns:a16="http://schemas.microsoft.com/office/drawing/2014/main" id="{176DE2FE-3635-4C90-BE0B-E351E2FAF11F}"/>
              </a:ext>
            </a:extLst>
          </p:cNvPr>
          <p:cNvPicPr>
            <a:picLocks noChangeAspect="1"/>
          </p:cNvPicPr>
          <p:nvPr/>
        </p:nvPicPr>
        <p:blipFill rotWithShape="1">
          <a:blip r:embed="rId31" cstate="print">
            <a:extLst>
              <a:ext uri="{28A0092B-C50C-407E-A947-70E740481C1C}">
                <a14:useLocalDpi xmlns:a14="http://schemas.microsoft.com/office/drawing/2010/main"/>
              </a:ext>
            </a:extLst>
          </a:blip>
          <a:srcRect/>
          <a:stretch/>
        </p:blipFill>
        <p:spPr>
          <a:xfrm>
            <a:off x="9931923" y="3682111"/>
            <a:ext cx="591757" cy="456281"/>
          </a:xfrm>
          <a:prstGeom prst="rect">
            <a:avLst/>
          </a:prstGeom>
        </p:spPr>
      </p:pic>
      <p:pic>
        <p:nvPicPr>
          <p:cNvPr id="86" name="Picture 85">
            <a:extLst>
              <a:ext uri="{FF2B5EF4-FFF2-40B4-BE49-F238E27FC236}">
                <a16:creationId xmlns:a16="http://schemas.microsoft.com/office/drawing/2014/main" id="{FBF220FF-225F-4B3C-A786-8A03C3CD72E6}"/>
              </a:ext>
            </a:extLst>
          </p:cNvPr>
          <p:cNvPicPr>
            <a:picLocks noChangeAspect="1"/>
          </p:cNvPicPr>
          <p:nvPr/>
        </p:nvPicPr>
        <p:blipFill rotWithShape="1">
          <a:blip r:embed="rId32" cstate="print">
            <a:extLst>
              <a:ext uri="{28A0092B-C50C-407E-A947-70E740481C1C}">
                <a14:useLocalDpi xmlns:a14="http://schemas.microsoft.com/office/drawing/2010/main"/>
              </a:ext>
            </a:extLst>
          </a:blip>
          <a:srcRect/>
          <a:stretch/>
        </p:blipFill>
        <p:spPr>
          <a:xfrm>
            <a:off x="11212126" y="3012855"/>
            <a:ext cx="534741" cy="207307"/>
          </a:xfrm>
          <a:prstGeom prst="rect">
            <a:avLst/>
          </a:prstGeom>
        </p:spPr>
      </p:pic>
      <p:pic>
        <p:nvPicPr>
          <p:cNvPr id="87" name="Picture 86">
            <a:extLst>
              <a:ext uri="{FF2B5EF4-FFF2-40B4-BE49-F238E27FC236}">
                <a16:creationId xmlns:a16="http://schemas.microsoft.com/office/drawing/2014/main" id="{A3810B25-5AC6-42B6-B513-88D78B8854FF}"/>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10040574" y="2409133"/>
            <a:ext cx="541365" cy="553759"/>
          </a:xfrm>
          <a:prstGeom prst="rect">
            <a:avLst/>
          </a:prstGeom>
        </p:spPr>
      </p:pic>
      <p:pic>
        <p:nvPicPr>
          <p:cNvPr id="88" name="Picture 87">
            <a:extLst>
              <a:ext uri="{FF2B5EF4-FFF2-40B4-BE49-F238E27FC236}">
                <a16:creationId xmlns:a16="http://schemas.microsoft.com/office/drawing/2014/main" id="{FF8F6A21-1107-411C-90E1-068FFDB93DDB}"/>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6259518" y="2988862"/>
            <a:ext cx="1069240" cy="190681"/>
          </a:xfrm>
          <a:prstGeom prst="rect">
            <a:avLst/>
          </a:prstGeom>
        </p:spPr>
      </p:pic>
      <p:pic>
        <p:nvPicPr>
          <p:cNvPr id="89" name="Picture 88">
            <a:extLst>
              <a:ext uri="{FF2B5EF4-FFF2-40B4-BE49-F238E27FC236}">
                <a16:creationId xmlns:a16="http://schemas.microsoft.com/office/drawing/2014/main" id="{B83212C8-42CA-450F-BCB2-1556E9488224}"/>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9837039" y="3303124"/>
            <a:ext cx="925089" cy="168538"/>
          </a:xfrm>
          <a:prstGeom prst="rect">
            <a:avLst/>
          </a:prstGeom>
        </p:spPr>
      </p:pic>
      <p:pic>
        <p:nvPicPr>
          <p:cNvPr id="90" name="Picture 89">
            <a:extLst>
              <a:ext uri="{FF2B5EF4-FFF2-40B4-BE49-F238E27FC236}">
                <a16:creationId xmlns:a16="http://schemas.microsoft.com/office/drawing/2014/main" id="{11C77602-006C-4B98-B8CB-08239D48E4EA}"/>
              </a:ext>
            </a:extLst>
          </p:cNvPr>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6259518" y="2393355"/>
            <a:ext cx="874005" cy="251323"/>
          </a:xfrm>
          <a:prstGeom prst="rect">
            <a:avLst/>
          </a:prstGeom>
        </p:spPr>
      </p:pic>
      <p:pic>
        <p:nvPicPr>
          <p:cNvPr id="91" name="Picture 90">
            <a:extLst>
              <a:ext uri="{FF2B5EF4-FFF2-40B4-BE49-F238E27FC236}">
                <a16:creationId xmlns:a16="http://schemas.microsoft.com/office/drawing/2014/main" id="{33DF1290-6412-4151-B6B1-8C257B586424}"/>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8335113" y="3701256"/>
            <a:ext cx="733074" cy="366537"/>
          </a:xfrm>
          <a:prstGeom prst="rect">
            <a:avLst/>
          </a:prstGeom>
        </p:spPr>
      </p:pic>
      <p:pic>
        <p:nvPicPr>
          <p:cNvPr id="92" name="Graphic 91">
            <a:extLst>
              <a:ext uri="{FF2B5EF4-FFF2-40B4-BE49-F238E27FC236}">
                <a16:creationId xmlns:a16="http://schemas.microsoft.com/office/drawing/2014/main" id="{E22A0E92-A9C8-4DC5-B5C9-B4334C37189B}"/>
              </a:ext>
            </a:extLst>
          </p:cNvPr>
          <p:cNvPicPr>
            <a:picLocks noChangeAspect="1"/>
          </p:cNvPicPr>
          <p:nvPr/>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1474295" y="2442400"/>
            <a:ext cx="569568" cy="277419"/>
          </a:xfrm>
          <a:prstGeom prst="rect">
            <a:avLst/>
          </a:prstGeom>
        </p:spPr>
      </p:pic>
      <p:pic>
        <p:nvPicPr>
          <p:cNvPr id="93" name="Picture 92">
            <a:extLst>
              <a:ext uri="{FF2B5EF4-FFF2-40B4-BE49-F238E27FC236}">
                <a16:creationId xmlns:a16="http://schemas.microsoft.com/office/drawing/2014/main" id="{7864539B-7F58-4363-A954-62018922C2BB}"/>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a:stretch/>
        </p:blipFill>
        <p:spPr>
          <a:xfrm>
            <a:off x="1839139" y="3180184"/>
            <a:ext cx="830498" cy="201007"/>
          </a:xfrm>
          <a:prstGeom prst="rect">
            <a:avLst/>
          </a:prstGeom>
        </p:spPr>
      </p:pic>
      <p:pic>
        <p:nvPicPr>
          <p:cNvPr id="94" name="Picture 93">
            <a:extLst>
              <a:ext uri="{FF2B5EF4-FFF2-40B4-BE49-F238E27FC236}">
                <a16:creationId xmlns:a16="http://schemas.microsoft.com/office/drawing/2014/main" id="{CA1A753D-8839-4FD5-B975-4416DD68A5AB}"/>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5526078" y="2391864"/>
            <a:ext cx="382680" cy="571028"/>
          </a:xfrm>
          <a:prstGeom prst="rect">
            <a:avLst/>
          </a:prstGeom>
        </p:spPr>
      </p:pic>
      <p:pic>
        <p:nvPicPr>
          <p:cNvPr id="95" name="Picture 94">
            <a:extLst>
              <a:ext uri="{FF2B5EF4-FFF2-40B4-BE49-F238E27FC236}">
                <a16:creationId xmlns:a16="http://schemas.microsoft.com/office/drawing/2014/main" id="{1281584F-75E9-4971-B84D-B6B1DB5EBA3C}"/>
              </a:ext>
            </a:extLst>
          </p:cNvPr>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4176303" y="2830665"/>
            <a:ext cx="481527" cy="217402"/>
          </a:xfrm>
          <a:prstGeom prst="rect">
            <a:avLst/>
          </a:prstGeom>
        </p:spPr>
      </p:pic>
      <p:pic>
        <p:nvPicPr>
          <p:cNvPr id="96" name="Picture 95">
            <a:extLst>
              <a:ext uri="{FF2B5EF4-FFF2-40B4-BE49-F238E27FC236}">
                <a16:creationId xmlns:a16="http://schemas.microsoft.com/office/drawing/2014/main" id="{712EEFAD-FCAD-41FF-B803-5AE35A75E4DC}"/>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4844882" y="3179543"/>
            <a:ext cx="642288" cy="274859"/>
          </a:xfrm>
          <a:prstGeom prst="rect">
            <a:avLst/>
          </a:prstGeom>
        </p:spPr>
      </p:pic>
      <p:pic>
        <p:nvPicPr>
          <p:cNvPr id="97" name="Picture 96">
            <a:extLst>
              <a:ext uri="{FF2B5EF4-FFF2-40B4-BE49-F238E27FC236}">
                <a16:creationId xmlns:a16="http://schemas.microsoft.com/office/drawing/2014/main" id="{79E48858-1554-4445-8A4B-72FDD21A912E}"/>
              </a:ext>
            </a:extLst>
          </p:cNvPr>
          <p:cNvPicPr>
            <a:picLocks noChangeAspect="1"/>
          </p:cNvPicPr>
          <p:nvPr/>
        </p:nvPicPr>
        <p:blipFill rotWithShape="1">
          <a:blip r:embed="rId44" cstate="print">
            <a:extLst>
              <a:ext uri="{28A0092B-C50C-407E-A947-70E740481C1C}">
                <a14:useLocalDpi xmlns:a14="http://schemas.microsoft.com/office/drawing/2010/main"/>
              </a:ext>
            </a:extLst>
          </a:blip>
          <a:srcRect/>
          <a:stretch/>
        </p:blipFill>
        <p:spPr>
          <a:xfrm>
            <a:off x="3564242" y="3351238"/>
            <a:ext cx="354500" cy="471518"/>
          </a:xfrm>
          <a:prstGeom prst="rect">
            <a:avLst/>
          </a:prstGeom>
        </p:spPr>
      </p:pic>
      <p:pic>
        <p:nvPicPr>
          <p:cNvPr id="102" name="Picture 101">
            <a:extLst>
              <a:ext uri="{FF2B5EF4-FFF2-40B4-BE49-F238E27FC236}">
                <a16:creationId xmlns:a16="http://schemas.microsoft.com/office/drawing/2014/main" id="{083F4455-CE08-4FE2-AA6A-6E694336FD90}"/>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2558267" y="2972510"/>
            <a:ext cx="437736" cy="240096"/>
          </a:xfrm>
          <a:prstGeom prst="rect">
            <a:avLst/>
          </a:prstGeom>
        </p:spPr>
      </p:pic>
      <p:pic>
        <p:nvPicPr>
          <p:cNvPr id="104" name="Picture 103">
            <a:extLst>
              <a:ext uri="{FF2B5EF4-FFF2-40B4-BE49-F238E27FC236}">
                <a16:creationId xmlns:a16="http://schemas.microsoft.com/office/drawing/2014/main" id="{242FEB3A-7BD0-44CB-A72A-1825ACB432CC}"/>
              </a:ext>
            </a:extLst>
          </p:cNvPr>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4927321" y="2447322"/>
            <a:ext cx="467079" cy="284222"/>
          </a:xfrm>
          <a:prstGeom prst="rect">
            <a:avLst/>
          </a:prstGeom>
        </p:spPr>
      </p:pic>
      <p:pic>
        <p:nvPicPr>
          <p:cNvPr id="105" name="Picture 104">
            <a:extLst>
              <a:ext uri="{FF2B5EF4-FFF2-40B4-BE49-F238E27FC236}">
                <a16:creationId xmlns:a16="http://schemas.microsoft.com/office/drawing/2014/main" id="{89C13D27-4130-4E63-8172-D279E38ED7A4}"/>
              </a:ext>
            </a:extLst>
          </p:cNvPr>
          <p:cNvPicPr>
            <a:picLocks noChangeAspect="1"/>
          </p:cNvPicPr>
          <p:nvPr/>
        </p:nvPicPr>
        <p:blipFill>
          <a:blip r:embed="rId47" cstate="print">
            <a:extLst>
              <a:ext uri="{28A0092B-C50C-407E-A947-70E740481C1C}">
                <a14:useLocalDpi xmlns:a14="http://schemas.microsoft.com/office/drawing/2010/main"/>
              </a:ext>
            </a:extLst>
          </a:blip>
          <a:stretch>
            <a:fillRect/>
          </a:stretch>
        </p:blipFill>
        <p:spPr>
          <a:xfrm>
            <a:off x="5096982" y="3665814"/>
            <a:ext cx="789067" cy="170338"/>
          </a:xfrm>
          <a:prstGeom prst="rect">
            <a:avLst/>
          </a:prstGeom>
        </p:spPr>
      </p:pic>
      <p:pic>
        <p:nvPicPr>
          <p:cNvPr id="106" name="Picture 105">
            <a:extLst>
              <a:ext uri="{FF2B5EF4-FFF2-40B4-BE49-F238E27FC236}">
                <a16:creationId xmlns:a16="http://schemas.microsoft.com/office/drawing/2014/main" id="{B86476D2-43B1-4640-B137-7D9D0B3D7781}"/>
              </a:ext>
            </a:extLst>
          </p:cNvPr>
          <p:cNvPicPr>
            <a:picLocks noChangeAspect="1"/>
          </p:cNvPicPr>
          <p:nvPr/>
        </p:nvPicPr>
        <p:blipFill rotWithShape="1">
          <a:blip r:embed="rId48" cstate="print">
            <a:extLst>
              <a:ext uri="{28A0092B-C50C-407E-A947-70E740481C1C}">
                <a14:useLocalDpi xmlns:a14="http://schemas.microsoft.com/office/drawing/2010/main"/>
              </a:ext>
            </a:extLst>
          </a:blip>
          <a:srcRect/>
          <a:stretch/>
        </p:blipFill>
        <p:spPr>
          <a:xfrm>
            <a:off x="381600" y="3065493"/>
            <a:ext cx="432119" cy="229344"/>
          </a:xfrm>
          <a:prstGeom prst="rect">
            <a:avLst/>
          </a:prstGeom>
        </p:spPr>
      </p:pic>
      <p:pic>
        <p:nvPicPr>
          <p:cNvPr id="107" name="Picture 106">
            <a:extLst>
              <a:ext uri="{FF2B5EF4-FFF2-40B4-BE49-F238E27FC236}">
                <a16:creationId xmlns:a16="http://schemas.microsoft.com/office/drawing/2014/main" id="{C8941497-BD3A-4C53-8A3D-970B06F855AB}"/>
              </a:ext>
            </a:extLst>
          </p:cNvPr>
          <p:cNvPicPr>
            <a:picLocks noChangeAspect="1"/>
          </p:cNvPicPr>
          <p:nvPr/>
        </p:nvPicPr>
        <p:blipFill>
          <a:blip r:embed="rId49" cstate="print">
            <a:extLst>
              <a:ext uri="{28A0092B-C50C-407E-A947-70E740481C1C}">
                <a14:useLocalDpi xmlns:a14="http://schemas.microsoft.com/office/drawing/2010/main"/>
              </a:ext>
            </a:extLst>
          </a:blip>
          <a:stretch>
            <a:fillRect/>
          </a:stretch>
        </p:blipFill>
        <p:spPr>
          <a:xfrm>
            <a:off x="381600" y="2729762"/>
            <a:ext cx="390527" cy="249658"/>
          </a:xfrm>
          <a:prstGeom prst="rect">
            <a:avLst/>
          </a:prstGeom>
        </p:spPr>
      </p:pic>
      <p:pic>
        <p:nvPicPr>
          <p:cNvPr id="108" name="Picture 107">
            <a:extLst>
              <a:ext uri="{FF2B5EF4-FFF2-40B4-BE49-F238E27FC236}">
                <a16:creationId xmlns:a16="http://schemas.microsoft.com/office/drawing/2014/main" id="{7CE5F5BD-5725-443C-B731-282597A2D30A}"/>
              </a:ext>
            </a:extLst>
          </p:cNvPr>
          <p:cNvPicPr>
            <a:picLocks noChangeAspect="1"/>
          </p:cNvPicPr>
          <p:nvPr/>
        </p:nvPicPr>
        <p:blipFill rotWithShape="1">
          <a:blip r:embed="rId50" cstate="print">
            <a:extLst>
              <a:ext uri="{28A0092B-C50C-407E-A947-70E740481C1C}">
                <a14:useLocalDpi xmlns:a14="http://schemas.microsoft.com/office/drawing/2010/main"/>
              </a:ext>
            </a:extLst>
          </a:blip>
          <a:srcRect/>
          <a:stretch/>
        </p:blipFill>
        <p:spPr>
          <a:xfrm>
            <a:off x="2417757" y="3605438"/>
            <a:ext cx="664000" cy="155480"/>
          </a:xfrm>
          <a:prstGeom prst="rect">
            <a:avLst/>
          </a:prstGeom>
        </p:spPr>
      </p:pic>
      <p:pic>
        <p:nvPicPr>
          <p:cNvPr id="109" name="Picture 108">
            <a:extLst>
              <a:ext uri="{FF2B5EF4-FFF2-40B4-BE49-F238E27FC236}">
                <a16:creationId xmlns:a16="http://schemas.microsoft.com/office/drawing/2014/main" id="{A4A88D8A-84FF-42C1-BB4C-2A9353F68AC3}"/>
              </a:ext>
            </a:extLst>
          </p:cNvPr>
          <p:cNvPicPr>
            <a:picLocks noChangeAspect="1"/>
          </p:cNvPicPr>
          <p:nvPr/>
        </p:nvPicPr>
        <p:blipFill>
          <a:blip r:embed="rId51" cstate="print">
            <a:extLst>
              <a:ext uri="{28A0092B-C50C-407E-A947-70E740481C1C}">
                <a14:useLocalDpi xmlns:a14="http://schemas.microsoft.com/office/drawing/2010/main"/>
              </a:ext>
            </a:extLst>
          </a:blip>
          <a:stretch>
            <a:fillRect/>
          </a:stretch>
        </p:blipFill>
        <p:spPr>
          <a:xfrm>
            <a:off x="2828506" y="2456219"/>
            <a:ext cx="713358" cy="180887"/>
          </a:xfrm>
          <a:prstGeom prst="rect">
            <a:avLst/>
          </a:prstGeom>
        </p:spPr>
      </p:pic>
      <p:pic>
        <p:nvPicPr>
          <p:cNvPr id="110" name="Picture 109">
            <a:extLst>
              <a:ext uri="{FF2B5EF4-FFF2-40B4-BE49-F238E27FC236}">
                <a16:creationId xmlns:a16="http://schemas.microsoft.com/office/drawing/2014/main" id="{3D05E187-D942-4C41-9F8D-61B086163621}"/>
              </a:ext>
            </a:extLst>
          </p:cNvPr>
          <p:cNvPicPr>
            <a:picLocks noChangeAspect="1"/>
          </p:cNvPicPr>
          <p:nvPr/>
        </p:nvPicPr>
        <p:blipFill rotWithShape="1">
          <a:blip r:embed="rId52" cstate="print">
            <a:extLst>
              <a:ext uri="{28A0092B-C50C-407E-A947-70E740481C1C}">
                <a14:useLocalDpi xmlns:a14="http://schemas.microsoft.com/office/drawing/2010/main"/>
              </a:ext>
            </a:extLst>
          </a:blip>
          <a:srcRect/>
          <a:stretch/>
        </p:blipFill>
        <p:spPr>
          <a:xfrm>
            <a:off x="1735445" y="5596694"/>
            <a:ext cx="1193855" cy="615163"/>
          </a:xfrm>
          <a:prstGeom prst="rect">
            <a:avLst/>
          </a:prstGeom>
        </p:spPr>
      </p:pic>
      <p:pic>
        <p:nvPicPr>
          <p:cNvPr id="111" name="Picture 110">
            <a:extLst>
              <a:ext uri="{FF2B5EF4-FFF2-40B4-BE49-F238E27FC236}">
                <a16:creationId xmlns:a16="http://schemas.microsoft.com/office/drawing/2014/main" id="{207A9F59-7974-4487-A1BB-31C6923F8AEB}"/>
              </a:ext>
            </a:extLst>
          </p:cNvPr>
          <p:cNvPicPr>
            <a:picLocks noChangeAspect="1"/>
          </p:cNvPicPr>
          <p:nvPr/>
        </p:nvPicPr>
        <p:blipFill>
          <a:blip r:embed="rId53" cstate="print">
            <a:extLst>
              <a:ext uri="{28A0092B-C50C-407E-A947-70E740481C1C}">
                <a14:useLocalDpi xmlns:a14="http://schemas.microsoft.com/office/drawing/2010/main"/>
              </a:ext>
            </a:extLst>
          </a:blip>
          <a:stretch>
            <a:fillRect/>
          </a:stretch>
        </p:blipFill>
        <p:spPr>
          <a:xfrm>
            <a:off x="4192269" y="5366319"/>
            <a:ext cx="790211" cy="875310"/>
          </a:xfrm>
          <a:prstGeom prst="rect">
            <a:avLst/>
          </a:prstGeom>
        </p:spPr>
      </p:pic>
      <p:pic>
        <p:nvPicPr>
          <p:cNvPr id="112" name="Picture 111">
            <a:extLst>
              <a:ext uri="{FF2B5EF4-FFF2-40B4-BE49-F238E27FC236}">
                <a16:creationId xmlns:a16="http://schemas.microsoft.com/office/drawing/2014/main" id="{4BB30AB6-BE71-4202-9A7A-A8F793AEF299}"/>
              </a:ext>
            </a:extLst>
          </p:cNvPr>
          <p:cNvPicPr>
            <a:picLocks noChangeAspect="1"/>
          </p:cNvPicPr>
          <p:nvPr/>
        </p:nvPicPr>
        <p:blipFill>
          <a:blip r:embed="rId54" cstate="print">
            <a:extLst>
              <a:ext uri="{28A0092B-C50C-407E-A947-70E740481C1C}">
                <a14:useLocalDpi xmlns:a14="http://schemas.microsoft.com/office/drawing/2010/main"/>
              </a:ext>
            </a:extLst>
          </a:blip>
          <a:stretch>
            <a:fillRect/>
          </a:stretch>
        </p:blipFill>
        <p:spPr>
          <a:xfrm>
            <a:off x="3116542" y="5405194"/>
            <a:ext cx="861885" cy="290168"/>
          </a:xfrm>
          <a:prstGeom prst="rect">
            <a:avLst/>
          </a:prstGeom>
        </p:spPr>
      </p:pic>
      <p:pic>
        <p:nvPicPr>
          <p:cNvPr id="113" name="Picture 112">
            <a:extLst>
              <a:ext uri="{FF2B5EF4-FFF2-40B4-BE49-F238E27FC236}">
                <a16:creationId xmlns:a16="http://schemas.microsoft.com/office/drawing/2014/main" id="{2DDE1D22-91D3-40C6-877C-14420E8AAD45}"/>
              </a:ext>
            </a:extLst>
          </p:cNvPr>
          <p:cNvPicPr>
            <a:picLocks noChangeAspect="1"/>
          </p:cNvPicPr>
          <p:nvPr/>
        </p:nvPicPr>
        <p:blipFill>
          <a:blip r:embed="rId55" cstate="print">
            <a:extLst>
              <a:ext uri="{28A0092B-C50C-407E-A947-70E740481C1C}">
                <a14:useLocalDpi xmlns:a14="http://schemas.microsoft.com/office/drawing/2010/main"/>
              </a:ext>
            </a:extLst>
          </a:blip>
          <a:stretch>
            <a:fillRect/>
          </a:stretch>
        </p:blipFill>
        <p:spPr>
          <a:xfrm>
            <a:off x="1625621" y="5176562"/>
            <a:ext cx="773716" cy="246622"/>
          </a:xfrm>
          <a:prstGeom prst="rect">
            <a:avLst/>
          </a:prstGeom>
        </p:spPr>
      </p:pic>
      <p:pic>
        <p:nvPicPr>
          <p:cNvPr id="114" name="Picture 113">
            <a:extLst>
              <a:ext uri="{FF2B5EF4-FFF2-40B4-BE49-F238E27FC236}">
                <a16:creationId xmlns:a16="http://schemas.microsoft.com/office/drawing/2014/main" id="{94C2EC88-8B30-4042-95F0-EA2C794D1FC9}"/>
              </a:ext>
            </a:extLst>
          </p:cNvPr>
          <p:cNvPicPr>
            <a:picLocks noChangeAspect="1"/>
          </p:cNvPicPr>
          <p:nvPr/>
        </p:nvPicPr>
        <p:blipFill rotWithShape="1">
          <a:blip r:embed="rId56" cstate="print">
            <a:extLst>
              <a:ext uri="{28A0092B-C50C-407E-A947-70E740481C1C}">
                <a14:useLocalDpi xmlns:a14="http://schemas.microsoft.com/office/drawing/2010/main"/>
              </a:ext>
            </a:extLst>
          </a:blip>
          <a:srcRect/>
          <a:stretch/>
        </p:blipFill>
        <p:spPr>
          <a:xfrm>
            <a:off x="381600" y="5929459"/>
            <a:ext cx="1137622" cy="275340"/>
          </a:xfrm>
          <a:prstGeom prst="rect">
            <a:avLst/>
          </a:prstGeom>
        </p:spPr>
      </p:pic>
      <p:pic>
        <p:nvPicPr>
          <p:cNvPr id="115" name="Picture 2" descr="Image result for evonik">
            <a:extLst>
              <a:ext uri="{FF2B5EF4-FFF2-40B4-BE49-F238E27FC236}">
                <a16:creationId xmlns:a16="http://schemas.microsoft.com/office/drawing/2014/main" id="{79C014D3-B88A-4EC0-B2EB-B673DC878597}"/>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381600" y="4645174"/>
            <a:ext cx="1245373" cy="32465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a:extLst>
              <a:ext uri="{FF2B5EF4-FFF2-40B4-BE49-F238E27FC236}">
                <a16:creationId xmlns:a16="http://schemas.microsoft.com/office/drawing/2014/main" id="{8D53ECA5-A40D-44BC-BC5E-C2DD43897CC3}"/>
              </a:ext>
            </a:extLst>
          </p:cNvPr>
          <p:cNvPicPr>
            <a:picLocks noChangeAspect="1"/>
          </p:cNvPicPr>
          <p:nvPr/>
        </p:nvPicPr>
        <p:blipFill>
          <a:blip r:embed="rId58" cstate="print">
            <a:extLst>
              <a:ext uri="{28A0092B-C50C-407E-A947-70E740481C1C}">
                <a14:useLocalDpi xmlns:a14="http://schemas.microsoft.com/office/drawing/2010/main"/>
              </a:ext>
            </a:extLst>
          </a:blip>
          <a:stretch>
            <a:fillRect/>
          </a:stretch>
        </p:blipFill>
        <p:spPr>
          <a:xfrm>
            <a:off x="3667799" y="2440115"/>
            <a:ext cx="633726" cy="188197"/>
          </a:xfrm>
          <a:prstGeom prst="rect">
            <a:avLst/>
          </a:prstGeom>
        </p:spPr>
      </p:pic>
      <p:pic>
        <p:nvPicPr>
          <p:cNvPr id="117" name="Picture 7" descr="Image result for innogy">
            <a:extLst>
              <a:ext uri="{FF2B5EF4-FFF2-40B4-BE49-F238E27FC236}">
                <a16:creationId xmlns:a16="http://schemas.microsoft.com/office/drawing/2014/main" id="{3ACB6A77-CF71-4F3F-A4ED-674FC7BDACD6}"/>
              </a:ext>
            </a:extLst>
          </p:cNvPr>
          <p:cNvPicPr>
            <a:picLocks noChangeAspect="1" noChangeArrowheads="1"/>
          </p:cNvPicPr>
          <p:nvPr/>
        </p:nvPicPr>
        <p:blipFill rotWithShape="1">
          <a:blip r:embed="rId59" cstate="print">
            <a:extLst>
              <a:ext uri="{28A0092B-C50C-407E-A947-70E740481C1C}">
                <a14:useLocalDpi xmlns:a14="http://schemas.microsoft.com/office/drawing/2010/main"/>
              </a:ext>
            </a:extLst>
          </a:blip>
          <a:srcRect/>
          <a:stretch/>
        </p:blipFill>
        <p:spPr bwMode="auto">
          <a:xfrm>
            <a:off x="4526650" y="3144331"/>
            <a:ext cx="267432" cy="38167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a:extLst>
              <a:ext uri="{FF2B5EF4-FFF2-40B4-BE49-F238E27FC236}">
                <a16:creationId xmlns:a16="http://schemas.microsoft.com/office/drawing/2014/main" id="{CED87642-F694-4365-BBB0-BECE0329590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547167" y="4775692"/>
            <a:ext cx="759215" cy="383749"/>
          </a:xfrm>
          <a:prstGeom prst="rect">
            <a:avLst/>
          </a:prstGeom>
        </p:spPr>
      </p:pic>
      <p:pic>
        <p:nvPicPr>
          <p:cNvPr id="119" name="Picture 8" descr="Image result for enel">
            <a:extLst>
              <a:ext uri="{FF2B5EF4-FFF2-40B4-BE49-F238E27FC236}">
                <a16:creationId xmlns:a16="http://schemas.microsoft.com/office/drawing/2014/main" id="{8AC98B50-D1CF-40E3-BAAB-FB35D7F48CCC}"/>
              </a:ext>
            </a:extLst>
          </p:cNvPr>
          <p:cNvPicPr>
            <a:picLocks noChangeAspect="1" noChangeArrowheads="1"/>
          </p:cNvPicPr>
          <p:nvPr/>
        </p:nvPicPr>
        <p:blipFill>
          <a:blip r:embed="rId60" cstate="print">
            <a:extLst>
              <a:ext uri="{28A0092B-C50C-407E-A947-70E740481C1C}">
                <a14:useLocalDpi xmlns:a14="http://schemas.microsoft.com/office/drawing/2010/main"/>
              </a:ext>
            </a:extLst>
          </a:blip>
          <a:srcRect/>
          <a:stretch>
            <a:fillRect/>
          </a:stretch>
        </p:blipFill>
        <p:spPr bwMode="auto">
          <a:xfrm>
            <a:off x="2973214" y="3152784"/>
            <a:ext cx="533111" cy="19902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4" descr="Image result for orsted">
            <a:extLst>
              <a:ext uri="{FF2B5EF4-FFF2-40B4-BE49-F238E27FC236}">
                <a16:creationId xmlns:a16="http://schemas.microsoft.com/office/drawing/2014/main" id="{319B85EA-81ED-43A8-BF31-98C5864437B5}"/>
              </a:ext>
            </a:extLst>
          </p:cNvPr>
          <p:cNvPicPr>
            <a:picLocks noChangeAspect="1" noChangeArrowheads="1"/>
          </p:cNvPicPr>
          <p:nvPr/>
        </p:nvPicPr>
        <p:blipFill>
          <a:blip r:embed="rId61" cstate="print">
            <a:extLst>
              <a:ext uri="{28A0092B-C50C-407E-A947-70E740481C1C}">
                <a14:useLocalDpi xmlns:a14="http://schemas.microsoft.com/office/drawing/2010/main"/>
              </a:ext>
            </a:extLst>
          </a:blip>
          <a:srcRect/>
          <a:stretch>
            <a:fillRect/>
          </a:stretch>
        </p:blipFill>
        <p:spPr bwMode="auto">
          <a:xfrm>
            <a:off x="2099139" y="2443938"/>
            <a:ext cx="576558" cy="157753"/>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8" descr="Image result for partners group">
            <a:extLst>
              <a:ext uri="{FF2B5EF4-FFF2-40B4-BE49-F238E27FC236}">
                <a16:creationId xmlns:a16="http://schemas.microsoft.com/office/drawing/2014/main" id="{776CB466-1B4B-4CCC-BD5D-27D8A68B39F8}"/>
              </a:ext>
            </a:extLst>
          </p:cNvPr>
          <p:cNvPicPr>
            <a:picLocks noChangeAspect="1" noChangeArrowheads="1"/>
          </p:cNvPicPr>
          <p:nvPr/>
        </p:nvPicPr>
        <p:blipFill>
          <a:blip r:embed="rId62" cstate="print">
            <a:extLst>
              <a:ext uri="{28A0092B-C50C-407E-A947-70E740481C1C}">
                <a14:useLocalDpi xmlns:a14="http://schemas.microsoft.com/office/drawing/2010/main"/>
              </a:ext>
            </a:extLst>
          </a:blip>
          <a:srcRect/>
          <a:stretch>
            <a:fillRect/>
          </a:stretch>
        </p:blipFill>
        <p:spPr bwMode="auto">
          <a:xfrm>
            <a:off x="8101771" y="3429120"/>
            <a:ext cx="1074253" cy="20997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2" descr="Image result for eustream">
            <a:extLst>
              <a:ext uri="{FF2B5EF4-FFF2-40B4-BE49-F238E27FC236}">
                <a16:creationId xmlns:a16="http://schemas.microsoft.com/office/drawing/2014/main" id="{232B5A15-FA7B-4A0B-868A-4650A8E0025F}"/>
              </a:ext>
            </a:extLst>
          </p:cNvPr>
          <p:cNvPicPr>
            <a:picLocks noChangeAspect="1" noChangeArrowheads="1"/>
          </p:cNvPicPr>
          <p:nvPr/>
        </p:nvPicPr>
        <p:blipFill>
          <a:blip r:embed="rId63" cstate="print">
            <a:extLst>
              <a:ext uri="{28A0092B-C50C-407E-A947-70E740481C1C}">
                <a14:useLocalDpi xmlns:a14="http://schemas.microsoft.com/office/drawing/2010/main"/>
              </a:ext>
            </a:extLst>
          </a:blip>
          <a:srcRect/>
          <a:stretch>
            <a:fillRect/>
          </a:stretch>
        </p:blipFill>
        <p:spPr bwMode="auto">
          <a:xfrm>
            <a:off x="421898" y="5272421"/>
            <a:ext cx="878342" cy="281319"/>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Image result for equinor">
            <a:extLst>
              <a:ext uri="{FF2B5EF4-FFF2-40B4-BE49-F238E27FC236}">
                <a16:creationId xmlns:a16="http://schemas.microsoft.com/office/drawing/2014/main" id="{5BF9400E-5C24-4DD7-9AEF-A82C4A043703}"/>
              </a:ext>
            </a:extLst>
          </p:cNvPr>
          <p:cNvPicPr>
            <a:picLocks noChangeAspect="1" noChangeArrowheads="1"/>
          </p:cNvPicPr>
          <p:nvPr/>
        </p:nvPicPr>
        <p:blipFill>
          <a:blip r:embed="rId64" cstate="print">
            <a:extLst>
              <a:ext uri="{28A0092B-C50C-407E-A947-70E740481C1C}">
                <a14:useLocalDpi xmlns:a14="http://schemas.microsoft.com/office/drawing/2010/main"/>
              </a:ext>
            </a:extLst>
          </a:blip>
          <a:srcRect/>
          <a:stretch>
            <a:fillRect/>
          </a:stretch>
        </p:blipFill>
        <p:spPr bwMode="auto">
          <a:xfrm>
            <a:off x="4744023" y="4717073"/>
            <a:ext cx="1164320" cy="461071"/>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4" descr="Image result for SEAI">
            <a:extLst>
              <a:ext uri="{FF2B5EF4-FFF2-40B4-BE49-F238E27FC236}">
                <a16:creationId xmlns:a16="http://schemas.microsoft.com/office/drawing/2014/main" id="{D0856CF2-91ED-4D86-B148-D8DED565EA61}"/>
              </a:ext>
            </a:extLst>
          </p:cNvPr>
          <p:cNvPicPr>
            <a:picLocks noChangeAspect="1" noChangeArrowheads="1"/>
          </p:cNvPicPr>
          <p:nvPr/>
        </p:nvPicPr>
        <p:blipFill rotWithShape="1">
          <a:blip r:embed="rId65" cstate="print">
            <a:extLst>
              <a:ext uri="{28A0092B-C50C-407E-A947-70E740481C1C}">
                <a14:useLocalDpi xmlns:a14="http://schemas.microsoft.com/office/drawing/2010/main"/>
              </a:ext>
            </a:extLst>
          </a:blip>
          <a:srcRect/>
          <a:stretch/>
        </p:blipFill>
        <p:spPr bwMode="auto">
          <a:xfrm>
            <a:off x="10081356" y="5449806"/>
            <a:ext cx="807479" cy="235507"/>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 descr="Image result for dccae">
            <a:extLst>
              <a:ext uri="{FF2B5EF4-FFF2-40B4-BE49-F238E27FC236}">
                <a16:creationId xmlns:a16="http://schemas.microsoft.com/office/drawing/2014/main" id="{48B781E4-06A9-4563-BD11-ED64A898DBA6}"/>
              </a:ext>
            </a:extLst>
          </p:cNvPr>
          <p:cNvPicPr>
            <a:picLocks noChangeAspect="1" noChangeArrowheads="1"/>
          </p:cNvPicPr>
          <p:nvPr/>
        </p:nvPicPr>
        <p:blipFill>
          <a:blip r:embed="rId66" cstate="print">
            <a:extLst>
              <a:ext uri="{28A0092B-C50C-407E-A947-70E740481C1C}">
                <a14:useLocalDpi xmlns:a14="http://schemas.microsoft.com/office/drawing/2010/main"/>
              </a:ext>
            </a:extLst>
          </a:blip>
          <a:srcRect/>
          <a:stretch>
            <a:fillRect/>
          </a:stretch>
        </p:blipFill>
        <p:spPr bwMode="auto">
          <a:xfrm>
            <a:off x="9580909" y="4869075"/>
            <a:ext cx="1161461" cy="58073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extLst>
              <a:ext uri="{FF2B5EF4-FFF2-40B4-BE49-F238E27FC236}">
                <a16:creationId xmlns:a16="http://schemas.microsoft.com/office/drawing/2014/main" id="{667F5480-49C2-4628-BDC9-C2606F305319}"/>
              </a:ext>
            </a:extLst>
          </p:cNvPr>
          <p:cNvPicPr>
            <a:picLocks noChangeAspect="1"/>
          </p:cNvPicPr>
          <p:nvPr/>
        </p:nvPicPr>
        <p:blipFill>
          <a:blip r:embed="rId67" cstate="print">
            <a:extLst>
              <a:ext uri="{28A0092B-C50C-407E-A947-70E740481C1C}">
                <a14:useLocalDpi xmlns:a14="http://schemas.microsoft.com/office/drawing/2010/main"/>
              </a:ext>
            </a:extLst>
          </a:blip>
          <a:stretch>
            <a:fillRect/>
          </a:stretch>
        </p:blipFill>
        <p:spPr>
          <a:xfrm>
            <a:off x="8556418" y="5120401"/>
            <a:ext cx="762970" cy="346364"/>
          </a:xfrm>
          <a:prstGeom prst="rect">
            <a:avLst/>
          </a:prstGeom>
        </p:spPr>
      </p:pic>
      <p:pic>
        <p:nvPicPr>
          <p:cNvPr id="127" name="Picture 126">
            <a:extLst>
              <a:ext uri="{FF2B5EF4-FFF2-40B4-BE49-F238E27FC236}">
                <a16:creationId xmlns:a16="http://schemas.microsoft.com/office/drawing/2014/main" id="{DD8945BE-B817-442B-8288-B4F319EF6B06}"/>
              </a:ext>
            </a:extLst>
          </p:cNvPr>
          <p:cNvPicPr>
            <a:picLocks noChangeAspect="1"/>
          </p:cNvPicPr>
          <p:nvPr/>
        </p:nvPicPr>
        <p:blipFill>
          <a:blip r:embed="rId68" cstate="print">
            <a:extLst>
              <a:ext uri="{28A0092B-C50C-407E-A947-70E740481C1C}">
                <a14:useLocalDpi xmlns:a14="http://schemas.microsoft.com/office/drawing/2010/main"/>
              </a:ext>
            </a:extLst>
          </a:blip>
          <a:stretch>
            <a:fillRect/>
          </a:stretch>
        </p:blipFill>
        <p:spPr>
          <a:xfrm>
            <a:off x="8131007" y="5626732"/>
            <a:ext cx="725198" cy="300185"/>
          </a:xfrm>
          <a:prstGeom prst="rect">
            <a:avLst/>
          </a:prstGeom>
        </p:spPr>
      </p:pic>
      <p:pic>
        <p:nvPicPr>
          <p:cNvPr id="129" name="Picture 128">
            <a:extLst>
              <a:ext uri="{FF2B5EF4-FFF2-40B4-BE49-F238E27FC236}">
                <a16:creationId xmlns:a16="http://schemas.microsoft.com/office/drawing/2014/main" id="{68823922-8EAC-4FE6-876B-D2BB47FEA145}"/>
              </a:ext>
            </a:extLst>
          </p:cNvPr>
          <p:cNvPicPr>
            <a:picLocks noChangeAspect="1"/>
          </p:cNvPicPr>
          <p:nvPr/>
        </p:nvPicPr>
        <p:blipFill rotWithShape="1">
          <a:blip r:embed="rId69" cstate="print">
            <a:extLst>
              <a:ext uri="{28A0092B-C50C-407E-A947-70E740481C1C}">
                <a14:useLocalDpi xmlns:a14="http://schemas.microsoft.com/office/drawing/2010/main"/>
              </a:ext>
            </a:extLst>
          </a:blip>
          <a:srcRect/>
          <a:stretch/>
        </p:blipFill>
        <p:spPr>
          <a:xfrm>
            <a:off x="4770780" y="2844848"/>
            <a:ext cx="611241" cy="219919"/>
          </a:xfrm>
          <a:prstGeom prst="rect">
            <a:avLst/>
          </a:prstGeom>
        </p:spPr>
      </p:pic>
      <p:pic>
        <p:nvPicPr>
          <p:cNvPr id="130" name="Picture 82" descr="Image result for brockwell energy">
            <a:extLst>
              <a:ext uri="{FF2B5EF4-FFF2-40B4-BE49-F238E27FC236}">
                <a16:creationId xmlns:a16="http://schemas.microsoft.com/office/drawing/2014/main" id="{A7B4C614-A826-4572-9205-00D1EAA87B19}"/>
              </a:ext>
            </a:extLst>
          </p:cNvPr>
          <p:cNvPicPr>
            <a:picLocks noChangeAspect="1" noChangeArrowheads="1"/>
          </p:cNvPicPr>
          <p:nvPr/>
        </p:nvPicPr>
        <p:blipFill>
          <a:blip r:embed="rId70" cstate="print">
            <a:extLst>
              <a:ext uri="{28A0092B-C50C-407E-A947-70E740481C1C}">
                <a14:useLocalDpi xmlns:a14="http://schemas.microsoft.com/office/drawing/2010/main"/>
              </a:ext>
            </a:extLst>
          </a:blip>
          <a:srcRect/>
          <a:stretch>
            <a:fillRect/>
          </a:stretch>
        </p:blipFill>
        <p:spPr bwMode="auto">
          <a:xfrm>
            <a:off x="4436025" y="2408354"/>
            <a:ext cx="361350" cy="36135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86" descr="Image result for 50 hertz">
            <a:extLst>
              <a:ext uri="{FF2B5EF4-FFF2-40B4-BE49-F238E27FC236}">
                <a16:creationId xmlns:a16="http://schemas.microsoft.com/office/drawing/2014/main" id="{9EE1234D-BCA1-4392-889F-C31E43506549}"/>
              </a:ext>
            </a:extLst>
          </p:cNvPr>
          <p:cNvPicPr>
            <a:picLocks noChangeAspect="1" noChangeArrowheads="1"/>
          </p:cNvPicPr>
          <p:nvPr/>
        </p:nvPicPr>
        <p:blipFill>
          <a:blip r:embed="rId71" cstate="print">
            <a:extLst>
              <a:ext uri="{28A0092B-C50C-407E-A947-70E740481C1C}">
                <a14:useLocalDpi xmlns:a14="http://schemas.microsoft.com/office/drawing/2010/main"/>
              </a:ext>
            </a:extLst>
          </a:blip>
          <a:srcRect/>
          <a:stretch>
            <a:fillRect/>
          </a:stretch>
        </p:blipFill>
        <p:spPr bwMode="auto">
          <a:xfrm>
            <a:off x="4019038" y="3639220"/>
            <a:ext cx="584539" cy="130113"/>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88" descr="Image result for uk power networks">
            <a:extLst>
              <a:ext uri="{FF2B5EF4-FFF2-40B4-BE49-F238E27FC236}">
                <a16:creationId xmlns:a16="http://schemas.microsoft.com/office/drawing/2014/main" id="{E9FB8B40-0F34-4F09-8D02-593E1B735B05}"/>
              </a:ext>
            </a:extLst>
          </p:cNvPr>
          <p:cNvPicPr>
            <a:picLocks noChangeAspect="1" noChangeArrowheads="1"/>
          </p:cNvPicPr>
          <p:nvPr/>
        </p:nvPicPr>
        <p:blipFill rotWithShape="1">
          <a:blip r:embed="rId72" cstate="print">
            <a:extLst>
              <a:ext uri="{28A0092B-C50C-407E-A947-70E740481C1C}">
                <a14:useLocalDpi xmlns:a14="http://schemas.microsoft.com/office/drawing/2010/main"/>
              </a:ext>
            </a:extLst>
          </a:blip>
          <a:srcRect/>
          <a:stretch/>
        </p:blipFill>
        <p:spPr bwMode="auto">
          <a:xfrm>
            <a:off x="1624363" y="3656542"/>
            <a:ext cx="554369" cy="197121"/>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90" descr="Image result for barclays">
            <a:extLst>
              <a:ext uri="{FF2B5EF4-FFF2-40B4-BE49-F238E27FC236}">
                <a16:creationId xmlns:a16="http://schemas.microsoft.com/office/drawing/2014/main" id="{8A6DFB15-EEF8-4D20-8547-3536B241ED1E}"/>
              </a:ext>
            </a:extLst>
          </p:cNvPr>
          <p:cNvPicPr>
            <a:picLocks noChangeAspect="1" noChangeArrowheads="1"/>
          </p:cNvPicPr>
          <p:nvPr/>
        </p:nvPicPr>
        <p:blipFill rotWithShape="1">
          <a:blip r:embed="rId73" cstate="print">
            <a:extLst>
              <a:ext uri="{28A0092B-C50C-407E-A947-70E740481C1C}">
                <a14:useLocalDpi xmlns:a14="http://schemas.microsoft.com/office/drawing/2010/main"/>
              </a:ext>
            </a:extLst>
          </a:blip>
          <a:srcRect/>
          <a:stretch/>
        </p:blipFill>
        <p:spPr bwMode="auto">
          <a:xfrm>
            <a:off x="8922671" y="3183956"/>
            <a:ext cx="815280" cy="226358"/>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92" descr="Image result for forsa energy">
            <a:extLst>
              <a:ext uri="{FF2B5EF4-FFF2-40B4-BE49-F238E27FC236}">
                <a16:creationId xmlns:a16="http://schemas.microsoft.com/office/drawing/2014/main" id="{96C2444D-75E9-416C-998B-DB485BEF0EE6}"/>
              </a:ext>
            </a:extLst>
          </p:cNvPr>
          <p:cNvPicPr>
            <a:picLocks noChangeAspect="1" noChangeArrowheads="1"/>
          </p:cNvPicPr>
          <p:nvPr/>
        </p:nvPicPr>
        <p:blipFill rotWithShape="1">
          <a:blip r:embed="rId74" cstate="print">
            <a:extLst>
              <a:ext uri="{28A0092B-C50C-407E-A947-70E740481C1C}">
                <a14:useLocalDpi xmlns:a14="http://schemas.microsoft.com/office/drawing/2010/main"/>
              </a:ext>
            </a:extLst>
          </a:blip>
          <a:srcRect/>
          <a:stretch/>
        </p:blipFill>
        <p:spPr bwMode="auto">
          <a:xfrm>
            <a:off x="2392033" y="2688165"/>
            <a:ext cx="584130" cy="188633"/>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95" descr="Image result for banks group">
            <a:extLst>
              <a:ext uri="{FF2B5EF4-FFF2-40B4-BE49-F238E27FC236}">
                <a16:creationId xmlns:a16="http://schemas.microsoft.com/office/drawing/2014/main" id="{3CDECCD6-3FD9-497A-B712-64AFAF931378}"/>
              </a:ext>
            </a:extLst>
          </p:cNvPr>
          <p:cNvPicPr>
            <a:picLocks noChangeAspect="1" noChangeArrowheads="1"/>
          </p:cNvPicPr>
          <p:nvPr/>
        </p:nvPicPr>
        <p:blipFill rotWithShape="1">
          <a:blip r:embed="rId75" cstate="print">
            <a:extLst>
              <a:ext uri="{28A0092B-C50C-407E-A947-70E740481C1C}">
                <a14:useLocalDpi xmlns:a14="http://schemas.microsoft.com/office/drawing/2010/main"/>
              </a:ext>
            </a:extLst>
          </a:blip>
          <a:srcRect/>
          <a:stretch/>
        </p:blipFill>
        <p:spPr bwMode="auto">
          <a:xfrm>
            <a:off x="3986673" y="3224371"/>
            <a:ext cx="486611" cy="318436"/>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97" descr="Image result for british solar renewables">
            <a:extLst>
              <a:ext uri="{FF2B5EF4-FFF2-40B4-BE49-F238E27FC236}">
                <a16:creationId xmlns:a16="http://schemas.microsoft.com/office/drawing/2014/main" id="{D8562CC4-96AF-4FC7-87B3-40742112CD85}"/>
              </a:ext>
            </a:extLst>
          </p:cNvPr>
          <p:cNvPicPr>
            <a:picLocks noChangeAspect="1" noChangeArrowheads="1"/>
          </p:cNvPicPr>
          <p:nvPr/>
        </p:nvPicPr>
        <p:blipFill>
          <a:blip r:embed="rId76" cstate="print">
            <a:extLst>
              <a:ext uri="{28A0092B-C50C-407E-A947-70E740481C1C}">
                <a14:useLocalDpi xmlns:a14="http://schemas.microsoft.com/office/drawing/2010/main"/>
              </a:ext>
            </a:extLst>
          </a:blip>
          <a:srcRect/>
          <a:stretch>
            <a:fillRect/>
          </a:stretch>
        </p:blipFill>
        <p:spPr bwMode="auto">
          <a:xfrm>
            <a:off x="1580581" y="2802159"/>
            <a:ext cx="800504" cy="278092"/>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99" descr="Image result for downing investments">
            <a:extLst>
              <a:ext uri="{FF2B5EF4-FFF2-40B4-BE49-F238E27FC236}">
                <a16:creationId xmlns:a16="http://schemas.microsoft.com/office/drawing/2014/main" id="{9EC62A51-281D-4797-AA12-1D9950670F58}"/>
              </a:ext>
            </a:extLst>
          </p:cNvPr>
          <p:cNvPicPr>
            <a:picLocks noChangeAspect="1" noChangeArrowheads="1"/>
          </p:cNvPicPr>
          <p:nvPr/>
        </p:nvPicPr>
        <p:blipFill>
          <a:blip r:embed="rId77" cstate="print">
            <a:extLst>
              <a:ext uri="{28A0092B-C50C-407E-A947-70E740481C1C}">
                <a14:useLocalDpi xmlns:a14="http://schemas.microsoft.com/office/drawing/2010/main"/>
              </a:ext>
            </a:extLst>
          </a:blip>
          <a:srcRect/>
          <a:stretch>
            <a:fillRect/>
          </a:stretch>
        </p:blipFill>
        <p:spPr bwMode="auto">
          <a:xfrm>
            <a:off x="8584509" y="2936041"/>
            <a:ext cx="455207" cy="201419"/>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01" descr="Image result for low carbon">
            <a:extLst>
              <a:ext uri="{FF2B5EF4-FFF2-40B4-BE49-F238E27FC236}">
                <a16:creationId xmlns:a16="http://schemas.microsoft.com/office/drawing/2014/main" id="{164B99F8-E173-48A4-B914-60BC93F788B1}"/>
              </a:ext>
            </a:extLst>
          </p:cNvPr>
          <p:cNvPicPr>
            <a:picLocks noChangeAspect="1" noChangeArrowheads="1"/>
          </p:cNvPicPr>
          <p:nvPr/>
        </p:nvPicPr>
        <p:blipFill>
          <a:blip r:embed="rId78" cstate="print">
            <a:extLst>
              <a:ext uri="{28A0092B-C50C-407E-A947-70E740481C1C}">
                <a14:useLocalDpi xmlns:a14="http://schemas.microsoft.com/office/drawing/2010/main"/>
              </a:ext>
            </a:extLst>
          </a:blip>
          <a:srcRect/>
          <a:stretch>
            <a:fillRect/>
          </a:stretch>
        </p:blipFill>
        <p:spPr bwMode="auto">
          <a:xfrm>
            <a:off x="3583070" y="2987672"/>
            <a:ext cx="476410" cy="200655"/>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03" descr="Image result for foresight group">
            <a:extLst>
              <a:ext uri="{FF2B5EF4-FFF2-40B4-BE49-F238E27FC236}">
                <a16:creationId xmlns:a16="http://schemas.microsoft.com/office/drawing/2014/main" id="{E003DC74-E711-47D6-8D61-91A08832A88C}"/>
              </a:ext>
            </a:extLst>
          </p:cNvPr>
          <p:cNvPicPr>
            <a:picLocks noChangeAspect="1" noChangeArrowheads="1"/>
          </p:cNvPicPr>
          <p:nvPr/>
        </p:nvPicPr>
        <p:blipFill>
          <a:blip r:embed="rId79" cstate="print">
            <a:extLst>
              <a:ext uri="{28A0092B-C50C-407E-A947-70E740481C1C}">
                <a14:useLocalDpi xmlns:a14="http://schemas.microsoft.com/office/drawing/2010/main"/>
              </a:ext>
            </a:extLst>
          </a:blip>
          <a:srcRect/>
          <a:stretch>
            <a:fillRect/>
          </a:stretch>
        </p:blipFill>
        <p:spPr bwMode="auto">
          <a:xfrm>
            <a:off x="6152252" y="2611867"/>
            <a:ext cx="1027227" cy="31013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05" descr="Image result for santander">
            <a:extLst>
              <a:ext uri="{FF2B5EF4-FFF2-40B4-BE49-F238E27FC236}">
                <a16:creationId xmlns:a16="http://schemas.microsoft.com/office/drawing/2014/main" id="{108DFD97-513C-4DA0-A4B6-A40DB568FA0A}"/>
              </a:ext>
            </a:extLst>
          </p:cNvPr>
          <p:cNvPicPr>
            <a:picLocks noChangeAspect="1" noChangeArrowheads="1"/>
          </p:cNvPicPr>
          <p:nvPr/>
        </p:nvPicPr>
        <p:blipFill rotWithShape="1">
          <a:blip r:embed="rId80" cstate="print">
            <a:extLst>
              <a:ext uri="{28A0092B-C50C-407E-A947-70E740481C1C}">
                <a14:useLocalDpi xmlns:a14="http://schemas.microsoft.com/office/drawing/2010/main"/>
              </a:ext>
            </a:extLst>
          </a:blip>
          <a:srcRect l="2914" t="37563" r="2263" b="38292"/>
          <a:stretch/>
        </p:blipFill>
        <p:spPr bwMode="auto">
          <a:xfrm>
            <a:off x="7404364" y="3711786"/>
            <a:ext cx="662852" cy="168775"/>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08" descr="Image result for national australia bank">
            <a:extLst>
              <a:ext uri="{FF2B5EF4-FFF2-40B4-BE49-F238E27FC236}">
                <a16:creationId xmlns:a16="http://schemas.microsoft.com/office/drawing/2014/main" id="{2C7C3CE8-34A9-487B-8958-FDB77B6AD76A}"/>
              </a:ext>
            </a:extLst>
          </p:cNvPr>
          <p:cNvPicPr>
            <a:picLocks noChangeAspect="1" noChangeArrowheads="1"/>
          </p:cNvPicPr>
          <p:nvPr/>
        </p:nvPicPr>
        <p:blipFill rotWithShape="1">
          <a:blip r:embed="rId81" cstate="print">
            <a:extLst>
              <a:ext uri="{28A0092B-C50C-407E-A947-70E740481C1C}">
                <a14:useLocalDpi xmlns:a14="http://schemas.microsoft.com/office/drawing/2010/main"/>
              </a:ext>
            </a:extLst>
          </a:blip>
          <a:srcRect/>
          <a:stretch/>
        </p:blipFill>
        <p:spPr bwMode="auto">
          <a:xfrm>
            <a:off x="11149894" y="3667783"/>
            <a:ext cx="607039" cy="240549"/>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10" descr="Image result for commerzbank">
            <a:extLst>
              <a:ext uri="{FF2B5EF4-FFF2-40B4-BE49-F238E27FC236}">
                <a16:creationId xmlns:a16="http://schemas.microsoft.com/office/drawing/2014/main" id="{4CF7AE8F-BE7F-4C56-B7CC-1879B5465341}"/>
              </a:ext>
            </a:extLst>
          </p:cNvPr>
          <p:cNvPicPr>
            <a:picLocks noChangeAspect="1" noChangeArrowheads="1"/>
          </p:cNvPicPr>
          <p:nvPr/>
        </p:nvPicPr>
        <p:blipFill>
          <a:blip r:embed="rId82" cstate="print">
            <a:extLst>
              <a:ext uri="{28A0092B-C50C-407E-A947-70E740481C1C}">
                <a14:useLocalDpi xmlns:a14="http://schemas.microsoft.com/office/drawing/2010/main"/>
              </a:ext>
            </a:extLst>
          </a:blip>
          <a:srcRect/>
          <a:stretch>
            <a:fillRect/>
          </a:stretch>
        </p:blipFill>
        <p:spPr bwMode="auto">
          <a:xfrm>
            <a:off x="10651754" y="2731544"/>
            <a:ext cx="1120743" cy="20449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12" descr="Image result for shell">
            <a:extLst>
              <a:ext uri="{FF2B5EF4-FFF2-40B4-BE49-F238E27FC236}">
                <a16:creationId xmlns:a16="http://schemas.microsoft.com/office/drawing/2014/main" id="{01675332-7D49-4785-84A0-77BB00FA9428}"/>
              </a:ext>
            </a:extLst>
          </p:cNvPr>
          <p:cNvPicPr>
            <a:picLocks noChangeAspect="1" noChangeArrowheads="1"/>
          </p:cNvPicPr>
          <p:nvPr/>
        </p:nvPicPr>
        <p:blipFill>
          <a:blip r:embed="rId83" cstate="print">
            <a:extLst>
              <a:ext uri="{28A0092B-C50C-407E-A947-70E740481C1C}">
                <a14:useLocalDpi xmlns:a14="http://schemas.microsoft.com/office/drawing/2010/main"/>
              </a:ext>
            </a:extLst>
          </a:blip>
          <a:srcRect/>
          <a:stretch>
            <a:fillRect/>
          </a:stretch>
        </p:blipFill>
        <p:spPr bwMode="auto">
          <a:xfrm>
            <a:off x="5326595" y="5501122"/>
            <a:ext cx="548937" cy="656100"/>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29" descr="Image result for tesla logo">
            <a:extLst>
              <a:ext uri="{FF2B5EF4-FFF2-40B4-BE49-F238E27FC236}">
                <a16:creationId xmlns:a16="http://schemas.microsoft.com/office/drawing/2014/main" id="{79AF34FF-E649-4E4F-81F3-2561A067B55F}"/>
              </a:ext>
            </a:extLst>
          </p:cNvPr>
          <p:cNvPicPr>
            <a:picLocks noChangeAspect="1" noChangeArrowheads="1"/>
          </p:cNvPicPr>
          <p:nvPr/>
        </p:nvPicPr>
        <p:blipFill>
          <a:blip r:embed="rId84" cstate="print">
            <a:extLst>
              <a:ext uri="{28A0092B-C50C-407E-A947-70E740481C1C}">
                <a14:useLocalDpi xmlns:a14="http://schemas.microsoft.com/office/drawing/2010/main"/>
              </a:ext>
            </a:extLst>
          </a:blip>
          <a:srcRect/>
          <a:stretch>
            <a:fillRect/>
          </a:stretch>
        </p:blipFill>
        <p:spPr bwMode="auto">
          <a:xfrm>
            <a:off x="5527110" y="3073689"/>
            <a:ext cx="339401" cy="490372"/>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33" descr="Image result for national infrastructure commission">
            <a:extLst>
              <a:ext uri="{FF2B5EF4-FFF2-40B4-BE49-F238E27FC236}">
                <a16:creationId xmlns:a16="http://schemas.microsoft.com/office/drawing/2014/main" id="{234B0706-13BE-4E4E-A28F-C0E92296960A}"/>
              </a:ext>
            </a:extLst>
          </p:cNvPr>
          <p:cNvPicPr>
            <a:picLocks noChangeAspect="1" noChangeArrowheads="1"/>
          </p:cNvPicPr>
          <p:nvPr/>
        </p:nvPicPr>
        <p:blipFill rotWithShape="1">
          <a:blip r:embed="rId85" cstate="print">
            <a:extLst>
              <a:ext uri="{28A0092B-C50C-407E-A947-70E740481C1C}">
                <a14:useLocalDpi xmlns:a14="http://schemas.microsoft.com/office/drawing/2010/main"/>
              </a:ext>
            </a:extLst>
          </a:blip>
          <a:srcRect t="25082" b="25698"/>
          <a:stretch/>
        </p:blipFill>
        <p:spPr bwMode="auto">
          <a:xfrm>
            <a:off x="10965560" y="5388763"/>
            <a:ext cx="664973" cy="32729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35" descr="Image result for aemo">
            <a:extLst>
              <a:ext uri="{FF2B5EF4-FFF2-40B4-BE49-F238E27FC236}">
                <a16:creationId xmlns:a16="http://schemas.microsoft.com/office/drawing/2014/main" id="{AA3F765F-046B-4124-ACB0-66BA21F0BA90}"/>
              </a:ext>
            </a:extLst>
          </p:cNvPr>
          <p:cNvPicPr>
            <a:picLocks noChangeAspect="1" noChangeArrowheads="1"/>
          </p:cNvPicPr>
          <p:nvPr/>
        </p:nvPicPr>
        <p:blipFill>
          <a:blip r:embed="rId86" cstate="print">
            <a:extLst>
              <a:ext uri="{28A0092B-C50C-407E-A947-70E740481C1C}">
                <a14:useLocalDpi xmlns:a14="http://schemas.microsoft.com/office/drawing/2010/main"/>
              </a:ext>
            </a:extLst>
          </a:blip>
          <a:srcRect/>
          <a:stretch>
            <a:fillRect/>
          </a:stretch>
        </p:blipFill>
        <p:spPr bwMode="auto">
          <a:xfrm>
            <a:off x="8282684" y="6015008"/>
            <a:ext cx="625465" cy="205829"/>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7" descr="Image result for cre france">
            <a:extLst>
              <a:ext uri="{FF2B5EF4-FFF2-40B4-BE49-F238E27FC236}">
                <a16:creationId xmlns:a16="http://schemas.microsoft.com/office/drawing/2014/main" id="{5EF22C79-387F-4C65-B2D6-D44116FAB7EC}"/>
              </a:ext>
            </a:extLst>
          </p:cNvPr>
          <p:cNvPicPr>
            <a:picLocks noChangeAspect="1" noChangeArrowheads="1"/>
          </p:cNvPicPr>
          <p:nvPr/>
        </p:nvPicPr>
        <p:blipFill rotWithShape="1">
          <a:blip r:embed="rId87" cstate="print">
            <a:extLst>
              <a:ext uri="{28A0092B-C50C-407E-A947-70E740481C1C}">
                <a14:useLocalDpi xmlns:a14="http://schemas.microsoft.com/office/drawing/2010/main"/>
              </a:ext>
            </a:extLst>
          </a:blip>
          <a:srcRect/>
          <a:stretch/>
        </p:blipFill>
        <p:spPr bwMode="auto">
          <a:xfrm>
            <a:off x="6915046" y="5881202"/>
            <a:ext cx="850417" cy="371854"/>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1" descr="Image result for ministere de la transition ecologique">
            <a:extLst>
              <a:ext uri="{FF2B5EF4-FFF2-40B4-BE49-F238E27FC236}">
                <a16:creationId xmlns:a16="http://schemas.microsoft.com/office/drawing/2014/main" id="{BEDC2CC2-6E1A-4AF7-B0C7-0AA265FF6EFA}"/>
              </a:ext>
            </a:extLst>
          </p:cNvPr>
          <p:cNvPicPr>
            <a:picLocks noChangeAspect="1" noChangeArrowheads="1"/>
          </p:cNvPicPr>
          <p:nvPr/>
        </p:nvPicPr>
        <p:blipFill>
          <a:blip r:embed="rId88" cstate="print">
            <a:extLst>
              <a:ext uri="{28A0092B-C50C-407E-A947-70E740481C1C}">
                <a14:useLocalDpi xmlns:a14="http://schemas.microsoft.com/office/drawing/2010/main"/>
              </a:ext>
            </a:extLst>
          </a:blip>
          <a:srcRect/>
          <a:stretch>
            <a:fillRect/>
          </a:stretch>
        </p:blipFill>
        <p:spPr bwMode="auto">
          <a:xfrm>
            <a:off x="6249412" y="5674400"/>
            <a:ext cx="466811" cy="601195"/>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66" descr="Image result for logo hsbc">
            <a:extLst>
              <a:ext uri="{FF2B5EF4-FFF2-40B4-BE49-F238E27FC236}">
                <a16:creationId xmlns:a16="http://schemas.microsoft.com/office/drawing/2014/main" id="{916C887F-F163-4F31-AD09-EF07343F9E9B}"/>
              </a:ext>
            </a:extLst>
          </p:cNvPr>
          <p:cNvPicPr>
            <a:picLocks noChangeAspect="1" noChangeArrowheads="1"/>
          </p:cNvPicPr>
          <p:nvPr/>
        </p:nvPicPr>
        <p:blipFill>
          <a:blip r:embed="rId89" cstate="print">
            <a:extLst>
              <a:ext uri="{28A0092B-C50C-407E-A947-70E740481C1C}">
                <a14:useLocalDpi xmlns:a14="http://schemas.microsoft.com/office/drawing/2010/main"/>
              </a:ext>
            </a:extLst>
          </a:blip>
          <a:srcRect/>
          <a:stretch>
            <a:fillRect/>
          </a:stretch>
        </p:blipFill>
        <p:spPr bwMode="auto">
          <a:xfrm>
            <a:off x="7517785" y="3044485"/>
            <a:ext cx="697995" cy="187587"/>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68" descr="Image result for logo lloyds">
            <a:extLst>
              <a:ext uri="{FF2B5EF4-FFF2-40B4-BE49-F238E27FC236}">
                <a16:creationId xmlns:a16="http://schemas.microsoft.com/office/drawing/2014/main" id="{96CE8102-EB4B-4EDA-AC32-670391574E73}"/>
              </a:ext>
            </a:extLst>
          </p:cNvPr>
          <p:cNvPicPr>
            <a:picLocks noChangeAspect="1" noChangeArrowheads="1"/>
          </p:cNvPicPr>
          <p:nvPr/>
        </p:nvPicPr>
        <p:blipFill>
          <a:blip r:embed="rId90" cstate="print">
            <a:extLst>
              <a:ext uri="{28A0092B-C50C-407E-A947-70E740481C1C}">
                <a14:useLocalDpi xmlns:a14="http://schemas.microsoft.com/office/drawing/2010/main"/>
              </a:ext>
            </a:extLst>
          </a:blip>
          <a:srcRect/>
          <a:stretch>
            <a:fillRect/>
          </a:stretch>
        </p:blipFill>
        <p:spPr bwMode="auto">
          <a:xfrm>
            <a:off x="8791479" y="2482504"/>
            <a:ext cx="697425" cy="377155"/>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71" descr="Image result for logo natwest">
            <a:extLst>
              <a:ext uri="{FF2B5EF4-FFF2-40B4-BE49-F238E27FC236}">
                <a16:creationId xmlns:a16="http://schemas.microsoft.com/office/drawing/2014/main" id="{BECA1572-8201-45D6-8CCF-A71F14BF9095}"/>
              </a:ext>
            </a:extLst>
          </p:cNvPr>
          <p:cNvPicPr>
            <a:picLocks noChangeAspect="1" noChangeArrowheads="1"/>
          </p:cNvPicPr>
          <p:nvPr/>
        </p:nvPicPr>
        <p:blipFill>
          <a:blip r:embed="rId91" cstate="print">
            <a:extLst>
              <a:ext uri="{28A0092B-C50C-407E-A947-70E740481C1C}">
                <a14:useLocalDpi xmlns:a14="http://schemas.microsoft.com/office/drawing/2010/main"/>
              </a:ext>
            </a:extLst>
          </a:blip>
          <a:srcRect/>
          <a:stretch>
            <a:fillRect/>
          </a:stretch>
        </p:blipFill>
        <p:spPr bwMode="auto">
          <a:xfrm>
            <a:off x="6134041" y="3230322"/>
            <a:ext cx="1003771" cy="253557"/>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73" descr="Image result for logo bluefield">
            <a:extLst>
              <a:ext uri="{FF2B5EF4-FFF2-40B4-BE49-F238E27FC236}">
                <a16:creationId xmlns:a16="http://schemas.microsoft.com/office/drawing/2014/main" id="{21E9FF9B-36C4-4CF2-8CE1-D808AF36AFD4}"/>
              </a:ext>
            </a:extLst>
          </p:cNvPr>
          <p:cNvPicPr>
            <a:picLocks noChangeAspect="1" noChangeArrowheads="1"/>
          </p:cNvPicPr>
          <p:nvPr/>
        </p:nvPicPr>
        <p:blipFill rotWithShape="1">
          <a:blip r:embed="rId92" cstate="print">
            <a:extLst>
              <a:ext uri="{28A0092B-C50C-407E-A947-70E740481C1C}">
                <a14:useLocalDpi xmlns:a14="http://schemas.microsoft.com/office/drawing/2010/main"/>
              </a:ext>
            </a:extLst>
          </a:blip>
          <a:srcRect l="8562" t="35814" r="10555" b="36692"/>
          <a:stretch/>
        </p:blipFill>
        <p:spPr bwMode="auto">
          <a:xfrm>
            <a:off x="10874412" y="2366447"/>
            <a:ext cx="895580" cy="304416"/>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75" descr="Image result for logo equitix">
            <a:extLst>
              <a:ext uri="{FF2B5EF4-FFF2-40B4-BE49-F238E27FC236}">
                <a16:creationId xmlns:a16="http://schemas.microsoft.com/office/drawing/2014/main" id="{396D4D73-F7A1-42BB-A74E-76260E6A96AA}"/>
              </a:ext>
            </a:extLst>
          </p:cNvPr>
          <p:cNvPicPr>
            <a:picLocks noChangeAspect="1" noChangeArrowheads="1"/>
          </p:cNvPicPr>
          <p:nvPr/>
        </p:nvPicPr>
        <p:blipFill rotWithShape="1">
          <a:blip r:embed="rId93" cstate="print">
            <a:extLst>
              <a:ext uri="{28A0092B-C50C-407E-A947-70E740481C1C}">
                <a14:useLocalDpi xmlns:a14="http://schemas.microsoft.com/office/drawing/2010/main"/>
              </a:ext>
            </a:extLst>
          </a:blip>
          <a:srcRect/>
          <a:stretch/>
        </p:blipFill>
        <p:spPr bwMode="auto">
          <a:xfrm>
            <a:off x="7243700" y="2748840"/>
            <a:ext cx="552208" cy="21934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77" descr="Image result for logo mufg">
            <a:extLst>
              <a:ext uri="{FF2B5EF4-FFF2-40B4-BE49-F238E27FC236}">
                <a16:creationId xmlns:a16="http://schemas.microsoft.com/office/drawing/2014/main" id="{E1940A17-FBD0-4BEB-A64C-0B084E32A152}"/>
              </a:ext>
            </a:extLst>
          </p:cNvPr>
          <p:cNvPicPr>
            <a:picLocks noChangeAspect="1" noChangeArrowheads="1"/>
          </p:cNvPicPr>
          <p:nvPr/>
        </p:nvPicPr>
        <p:blipFill>
          <a:blip r:embed="rId94" cstate="print">
            <a:extLst>
              <a:ext uri="{28A0092B-C50C-407E-A947-70E740481C1C}">
                <a14:useLocalDpi xmlns:a14="http://schemas.microsoft.com/office/drawing/2010/main"/>
              </a:ext>
            </a:extLst>
          </a:blip>
          <a:srcRect/>
          <a:stretch>
            <a:fillRect/>
          </a:stretch>
        </p:blipFill>
        <p:spPr bwMode="auto">
          <a:xfrm>
            <a:off x="7268764" y="3441785"/>
            <a:ext cx="655740" cy="154600"/>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a:extLst>
              <a:ext uri="{FF2B5EF4-FFF2-40B4-BE49-F238E27FC236}">
                <a16:creationId xmlns:a16="http://schemas.microsoft.com/office/drawing/2014/main" id="{D2CE54FA-FDA0-4BBA-8BCA-ABCDBCF4A905}"/>
              </a:ext>
            </a:extLst>
          </p:cNvPr>
          <p:cNvPicPr>
            <a:picLocks noChangeAspect="1"/>
          </p:cNvPicPr>
          <p:nvPr/>
        </p:nvPicPr>
        <p:blipFill>
          <a:blip r:embed="rId95" cstate="print">
            <a:extLst>
              <a:ext uri="{28A0092B-C50C-407E-A947-70E740481C1C}">
                <a14:useLocalDpi xmlns:a14="http://schemas.microsoft.com/office/drawing/2010/main"/>
              </a:ext>
            </a:extLst>
          </a:blip>
          <a:stretch>
            <a:fillRect/>
          </a:stretch>
        </p:blipFill>
        <p:spPr>
          <a:xfrm>
            <a:off x="7990527" y="2713760"/>
            <a:ext cx="526267" cy="233312"/>
          </a:xfrm>
          <a:prstGeom prst="rect">
            <a:avLst/>
          </a:prstGeom>
        </p:spPr>
      </p:pic>
      <p:pic>
        <p:nvPicPr>
          <p:cNvPr id="156" name="Picture 5" descr="Bildergebnis für blackrock">
            <a:extLst>
              <a:ext uri="{FF2B5EF4-FFF2-40B4-BE49-F238E27FC236}">
                <a16:creationId xmlns:a16="http://schemas.microsoft.com/office/drawing/2014/main" id="{9E7364A5-203B-467E-9BA8-FC26F2800DF4}"/>
              </a:ext>
            </a:extLst>
          </p:cNvPr>
          <p:cNvPicPr>
            <a:picLocks noChangeAspect="1" noChangeArrowheads="1"/>
          </p:cNvPicPr>
          <p:nvPr/>
        </p:nvPicPr>
        <p:blipFill rotWithShape="1">
          <a:blip r:embed="rId96" cstate="print">
            <a:extLst>
              <a:ext uri="{28A0092B-C50C-407E-A947-70E740481C1C}">
                <a14:useLocalDpi xmlns:a14="http://schemas.microsoft.com/office/drawing/2010/main"/>
              </a:ext>
            </a:extLst>
          </a:blip>
          <a:srcRect l="4344" t="40616" r="3085" b="41014"/>
          <a:stretch/>
        </p:blipFill>
        <p:spPr bwMode="auto">
          <a:xfrm>
            <a:off x="9319388" y="3618136"/>
            <a:ext cx="788387" cy="156443"/>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56">
            <a:extLst>
              <a:ext uri="{FF2B5EF4-FFF2-40B4-BE49-F238E27FC236}">
                <a16:creationId xmlns:a16="http://schemas.microsoft.com/office/drawing/2014/main" id="{7D096AB7-3A43-49F4-9E12-E2A64731E2D2}"/>
              </a:ext>
            </a:extLst>
          </p:cNvPr>
          <p:cNvPicPr>
            <a:picLocks noChangeAspect="1"/>
          </p:cNvPicPr>
          <p:nvPr/>
        </p:nvPicPr>
        <p:blipFill>
          <a:blip r:embed="rId97" cstate="print">
            <a:extLst>
              <a:ext uri="{28A0092B-C50C-407E-A947-70E740481C1C}">
                <a14:useLocalDpi xmlns:a14="http://schemas.microsoft.com/office/drawing/2010/main"/>
              </a:ext>
            </a:extLst>
          </a:blip>
          <a:stretch>
            <a:fillRect/>
          </a:stretch>
        </p:blipFill>
        <p:spPr>
          <a:xfrm>
            <a:off x="9369254" y="2410832"/>
            <a:ext cx="601505" cy="257788"/>
          </a:xfrm>
          <a:prstGeom prst="rect">
            <a:avLst/>
          </a:prstGeom>
        </p:spPr>
      </p:pic>
      <p:pic>
        <p:nvPicPr>
          <p:cNvPr id="158" name="Picture 11" descr="Bildergebnis für infrared capital partners">
            <a:extLst>
              <a:ext uri="{FF2B5EF4-FFF2-40B4-BE49-F238E27FC236}">
                <a16:creationId xmlns:a16="http://schemas.microsoft.com/office/drawing/2014/main" id="{9E011B01-81BD-42AE-B5DB-7ED453AD82C9}"/>
              </a:ext>
            </a:extLst>
          </p:cNvPr>
          <p:cNvPicPr>
            <a:picLocks noChangeAspect="1" noChangeArrowheads="1"/>
          </p:cNvPicPr>
          <p:nvPr/>
        </p:nvPicPr>
        <p:blipFill>
          <a:blip r:embed="rId98" cstate="print">
            <a:extLst>
              <a:ext uri="{28A0092B-C50C-407E-A947-70E740481C1C}">
                <a14:useLocalDpi xmlns:a14="http://schemas.microsoft.com/office/drawing/2010/main"/>
              </a:ext>
            </a:extLst>
          </a:blip>
          <a:srcRect/>
          <a:stretch>
            <a:fillRect/>
          </a:stretch>
        </p:blipFill>
        <p:spPr bwMode="auto">
          <a:xfrm>
            <a:off x="9301865" y="2928688"/>
            <a:ext cx="697425" cy="177099"/>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3" descr="Bildergebnis für encavis">
            <a:extLst>
              <a:ext uri="{FF2B5EF4-FFF2-40B4-BE49-F238E27FC236}">
                <a16:creationId xmlns:a16="http://schemas.microsoft.com/office/drawing/2014/main" id="{499AA0DA-10FF-4CDB-A5DB-CC1112E28D66}"/>
              </a:ext>
            </a:extLst>
          </p:cNvPr>
          <p:cNvPicPr>
            <a:picLocks noChangeAspect="1" noChangeArrowheads="1"/>
          </p:cNvPicPr>
          <p:nvPr/>
        </p:nvPicPr>
        <p:blipFill rotWithShape="1">
          <a:blip r:embed="rId99" cstate="print">
            <a:extLst>
              <a:ext uri="{28A0092B-C50C-407E-A947-70E740481C1C}">
                <a14:useLocalDpi xmlns:a14="http://schemas.microsoft.com/office/drawing/2010/main"/>
              </a:ext>
            </a:extLst>
          </a:blip>
          <a:srcRect l="5832" t="38461" r="4081" b="37995"/>
          <a:stretch/>
        </p:blipFill>
        <p:spPr bwMode="auto">
          <a:xfrm>
            <a:off x="8049261" y="3250429"/>
            <a:ext cx="707378" cy="12804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20" descr="Bildergebnis für statkraft">
            <a:extLst>
              <a:ext uri="{FF2B5EF4-FFF2-40B4-BE49-F238E27FC236}">
                <a16:creationId xmlns:a16="http://schemas.microsoft.com/office/drawing/2014/main" id="{D7E3BF10-C66F-4C1A-B302-B7C7186E662F}"/>
              </a:ext>
            </a:extLst>
          </p:cNvPr>
          <p:cNvPicPr>
            <a:picLocks noChangeAspect="1" noChangeArrowheads="1"/>
          </p:cNvPicPr>
          <p:nvPr/>
        </p:nvPicPr>
        <p:blipFill>
          <a:blip r:embed="rId100" cstate="print">
            <a:extLst>
              <a:ext uri="{28A0092B-C50C-407E-A947-70E740481C1C}">
                <a14:useLocalDpi xmlns:a14="http://schemas.microsoft.com/office/drawing/2010/main"/>
              </a:ext>
            </a:extLst>
          </a:blip>
          <a:srcRect/>
          <a:stretch>
            <a:fillRect/>
          </a:stretch>
        </p:blipFill>
        <p:spPr bwMode="auto">
          <a:xfrm>
            <a:off x="3556116" y="2722075"/>
            <a:ext cx="569870" cy="155005"/>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2" descr="Bildergebnis für edp">
            <a:extLst>
              <a:ext uri="{FF2B5EF4-FFF2-40B4-BE49-F238E27FC236}">
                <a16:creationId xmlns:a16="http://schemas.microsoft.com/office/drawing/2014/main" id="{62A73C7A-E8C1-40C4-A98F-C3D8C9642858}"/>
              </a:ext>
            </a:extLst>
          </p:cNvPr>
          <p:cNvPicPr>
            <a:picLocks noChangeAspect="1" noChangeArrowheads="1"/>
          </p:cNvPicPr>
          <p:nvPr/>
        </p:nvPicPr>
        <p:blipFill rotWithShape="1">
          <a:blip r:embed="rId101" cstate="print">
            <a:extLst>
              <a:ext uri="{28A0092B-C50C-407E-A947-70E740481C1C}">
                <a14:useLocalDpi xmlns:a14="http://schemas.microsoft.com/office/drawing/2010/main"/>
              </a:ext>
            </a:extLst>
          </a:blip>
          <a:srcRect/>
          <a:stretch/>
        </p:blipFill>
        <p:spPr bwMode="auto">
          <a:xfrm>
            <a:off x="3109596" y="2737567"/>
            <a:ext cx="365391" cy="29777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2" descr="A picture containing drawing, clock&#10;&#10;Description automatically generated">
            <a:extLst>
              <a:ext uri="{FF2B5EF4-FFF2-40B4-BE49-F238E27FC236}">
                <a16:creationId xmlns:a16="http://schemas.microsoft.com/office/drawing/2014/main" id="{9B072ECE-A406-4876-BB60-5B25270D524B}"/>
              </a:ext>
            </a:extLst>
          </p:cNvPr>
          <p:cNvPicPr>
            <a:picLocks noChangeAspect="1"/>
          </p:cNvPicPr>
          <p:nvPr/>
        </p:nvPicPr>
        <p:blipFill>
          <a:blip r:embed="rId102" cstate="print">
            <a:extLst>
              <a:ext uri="{28A0092B-C50C-407E-A947-70E740481C1C}">
                <a14:useLocalDpi xmlns:a14="http://schemas.microsoft.com/office/drawing/2010/main"/>
              </a:ext>
            </a:extLst>
          </a:blip>
          <a:stretch>
            <a:fillRect/>
          </a:stretch>
        </p:blipFill>
        <p:spPr>
          <a:xfrm>
            <a:off x="381600" y="3373050"/>
            <a:ext cx="1098241" cy="169129"/>
          </a:xfrm>
          <a:prstGeom prst="rect">
            <a:avLst/>
          </a:prstGeom>
        </p:spPr>
      </p:pic>
      <p:pic>
        <p:nvPicPr>
          <p:cNvPr id="164" name="Picture 163" descr="Logo&#10;&#10;Description automatically generated">
            <a:extLst>
              <a:ext uri="{FF2B5EF4-FFF2-40B4-BE49-F238E27FC236}">
                <a16:creationId xmlns:a16="http://schemas.microsoft.com/office/drawing/2014/main" id="{7EB5416A-A97A-4116-A199-526DF2E29638}"/>
              </a:ext>
            </a:extLst>
          </p:cNvPr>
          <p:cNvPicPr>
            <a:picLocks noChangeAspect="1"/>
          </p:cNvPicPr>
          <p:nvPr/>
        </p:nvPicPr>
        <p:blipFill>
          <a:blip r:embed="rId103" cstate="print">
            <a:extLst>
              <a:ext uri="{28A0092B-C50C-407E-A947-70E740481C1C}">
                <a14:useLocalDpi xmlns:a14="http://schemas.microsoft.com/office/drawing/2010/main"/>
              </a:ext>
            </a:extLst>
          </a:blip>
          <a:stretch>
            <a:fillRect/>
          </a:stretch>
        </p:blipFill>
        <p:spPr>
          <a:xfrm>
            <a:off x="2976162" y="3453291"/>
            <a:ext cx="473757" cy="137390"/>
          </a:xfrm>
          <a:prstGeom prst="rect">
            <a:avLst/>
          </a:prstGeom>
        </p:spPr>
      </p:pic>
      <p:cxnSp>
        <p:nvCxnSpPr>
          <p:cNvPr id="12" name="Straight Connector 11">
            <a:extLst>
              <a:ext uri="{FF2B5EF4-FFF2-40B4-BE49-F238E27FC236}">
                <a16:creationId xmlns:a16="http://schemas.microsoft.com/office/drawing/2014/main" id="{54B84043-6065-4AC2-82A9-98F2032F7066}"/>
              </a:ext>
            </a:extLst>
          </p:cNvPr>
          <p:cNvCxnSpPr/>
          <p:nvPr/>
        </p:nvCxnSpPr>
        <p:spPr>
          <a:xfrm>
            <a:off x="6096000" y="1278736"/>
            <a:ext cx="0" cy="50531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3DEC108-E1FC-4A9F-AA1D-00DD602A2264}"/>
              </a:ext>
            </a:extLst>
          </p:cNvPr>
          <p:cNvSpPr txBox="1">
            <a:spLocks/>
          </p:cNvSpPr>
          <p:nvPr/>
        </p:nvSpPr>
        <p:spPr>
          <a:xfrm>
            <a:off x="6841252" y="1265686"/>
            <a:ext cx="4966634" cy="777136"/>
          </a:xfrm>
          <a:prstGeom prst="rect">
            <a:avLst/>
          </a:prstGeom>
          <a:noFill/>
        </p:spPr>
        <p:txBody>
          <a:bodyPr wrap="square" lIns="0" tIns="0" rIns="0" bIns="0" rtlCol="0">
            <a:spAutoFit/>
          </a:bodyPr>
          <a:lstStyle/>
          <a:p>
            <a:pPr>
              <a:spcBef>
                <a:spcPts val="300"/>
              </a:spcBef>
              <a:tabLst>
                <a:tab pos="540000" algn="l"/>
              </a:tabLst>
            </a:pPr>
            <a:r>
              <a:rPr lang="en-GB" sz="1200" i="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s ability to forecast all the revenue streams relevant to </a:t>
            </a:r>
            <a:r>
              <a:rPr lang="en-GB" sz="1200" i="1" err="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KPR’s</a:t>
            </a:r>
            <a:r>
              <a:rPr lang="en-GB" sz="1200" i="1">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business model in a joined-up way sets them apart from their peers and has been very helpful to us in investment and business planning”</a:t>
            </a:r>
          </a:p>
          <a:p>
            <a:pPr>
              <a:spcBef>
                <a:spcPts val="3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im </a:t>
            </a:r>
            <a:r>
              <a:rPr lang="en-GB" sz="1200" b="1"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mrich</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CEO, </a:t>
            </a:r>
            <a:r>
              <a:rPr lang="en-GB" sz="1200" b="1" err="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KP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3" name="TextBox 72">
            <a:extLst>
              <a:ext uri="{FF2B5EF4-FFF2-40B4-BE49-F238E27FC236}">
                <a16:creationId xmlns:a16="http://schemas.microsoft.com/office/drawing/2014/main" id="{35367CAE-2F54-44DD-A4C2-3E0E2BFEC4E2}"/>
              </a:ext>
            </a:extLst>
          </p:cNvPr>
          <p:cNvSpPr txBox="1">
            <a:spLocks/>
          </p:cNvSpPr>
          <p:nvPr/>
        </p:nvSpPr>
        <p:spPr>
          <a:xfrm>
            <a:off x="963334" y="1265686"/>
            <a:ext cx="4591347" cy="777136"/>
          </a:xfrm>
          <a:prstGeom prst="rect">
            <a:avLst/>
          </a:prstGeom>
          <a:noFill/>
        </p:spPr>
        <p:txBody>
          <a:bodyPr wrap="square" lIns="0" tIns="0" rIns="0" bIns="0" rtlCol="0">
            <a:spAutoFit/>
          </a:bodyPr>
          <a:lstStyle/>
          <a:p>
            <a:pPr>
              <a:spcBef>
                <a:spcPts val="300"/>
              </a:spcBef>
              <a:tabLst>
                <a:tab pos="540000" algn="l"/>
              </a:tabLst>
            </a:pPr>
            <a:r>
              <a:rPr lang="en-GB" sz="1200" i="1"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 Energy Research is, I think, one of the smartest energy modelling companies around, and helped us on this Energy Outlook and continue to help us”</a:t>
            </a:r>
            <a:endParaRPr lang="en-GB" sz="1200" b="1" i="1"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spcBef>
                <a:spcPts val="300"/>
              </a:spcBef>
              <a:tabLst>
                <a:tab pos="540000" algn="l"/>
              </a:tabLst>
            </a:pPr>
            <a:r>
              <a: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pencer Dale, Chief Economist, BP</a:t>
            </a:r>
            <a:endParaRPr lang="en-GB" sz="1200"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74" name="Picture 6" descr="http://static.tumblr.com/89foekd/oVpl3kz8n/bp_logo1.jpg">
            <a:extLst>
              <a:ext uri="{FF2B5EF4-FFF2-40B4-BE49-F238E27FC236}">
                <a16:creationId xmlns:a16="http://schemas.microsoft.com/office/drawing/2014/main" id="{F047FD42-7BBC-43B8-B14C-A8D297BF7791}"/>
              </a:ext>
            </a:extLst>
          </p:cNvPr>
          <p:cNvPicPr>
            <a:picLocks noChangeAspect="1" noChangeArrowheads="1"/>
          </p:cNvPicPr>
          <p:nvPr/>
        </p:nvPicPr>
        <p:blipFill>
          <a:blip r:embed="rId104" cstate="email">
            <a:extLst>
              <a:ext uri="{28A0092B-C50C-407E-A947-70E740481C1C}">
                <a14:useLocalDpi xmlns:a14="http://schemas.microsoft.com/office/drawing/2010/main"/>
              </a:ext>
            </a:extLst>
          </a:blip>
          <a:srcRect/>
          <a:stretch>
            <a:fillRect/>
          </a:stretch>
        </p:blipFill>
        <p:spPr bwMode="auto">
          <a:xfrm>
            <a:off x="5554681" y="1550716"/>
            <a:ext cx="375287" cy="52013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4" descr="UK Power Reserve Limited's Competitors, Revenue, Number of Employees,  Funding, Acquisitions &amp; News - Owler Company Profile">
            <a:extLst>
              <a:ext uri="{FF2B5EF4-FFF2-40B4-BE49-F238E27FC236}">
                <a16:creationId xmlns:a16="http://schemas.microsoft.com/office/drawing/2014/main" id="{DD5B96AD-FEF6-470B-810C-96627CB503AA}"/>
              </a:ext>
            </a:extLst>
          </p:cNvPr>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0752561" y="1862943"/>
            <a:ext cx="1037800" cy="193825"/>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6" descr="http://peabodyplumbers.files.wordpress.com/2013/03/national-grid-logo.gif">
            <a:extLst>
              <a:ext uri="{FF2B5EF4-FFF2-40B4-BE49-F238E27FC236}">
                <a16:creationId xmlns:a16="http://schemas.microsoft.com/office/drawing/2014/main" id="{4D97A334-EF53-40F6-86BA-044CD44FEAF0}"/>
              </a:ext>
            </a:extLst>
          </p:cNvPr>
          <p:cNvPicPr>
            <a:picLocks noChangeAspect="1" noChangeArrowheads="1"/>
          </p:cNvPicPr>
          <p:nvPr/>
        </p:nvPicPr>
        <p:blipFill rotWithShape="1">
          <a:blip r:embed="rId106" cstate="print">
            <a:extLst>
              <a:ext uri="{28A0092B-C50C-407E-A947-70E740481C1C}">
                <a14:useLocalDpi xmlns:a14="http://schemas.microsoft.com/office/drawing/2010/main"/>
              </a:ext>
            </a:extLst>
          </a:blip>
          <a:srcRect l="4462" t="20192" r="8819" b="22363"/>
          <a:stretch/>
        </p:blipFill>
        <p:spPr bwMode="auto">
          <a:xfrm>
            <a:off x="3044746" y="5948067"/>
            <a:ext cx="1065008" cy="292706"/>
          </a:xfrm>
          <a:prstGeom prst="rect">
            <a:avLst/>
          </a:prstGeom>
          <a:noFill/>
          <a:extLst>
            <a:ext uri="{909E8E84-426E-40DD-AFC4-6F175D3DCCD1}">
              <a14:hiddenFill xmlns:a14="http://schemas.microsoft.com/office/drawing/2010/main">
                <a:solidFill>
                  <a:srgbClr val="FFFFFF"/>
                </a:solidFill>
              </a14:hiddenFill>
            </a:ext>
          </a:extLst>
        </p:spPr>
      </p:pic>
      <p:sp>
        <p:nvSpPr>
          <p:cNvPr id="167" name="Freeform 5">
            <a:extLst>
              <a:ext uri="{FF2B5EF4-FFF2-40B4-BE49-F238E27FC236}">
                <a16:creationId xmlns:a16="http://schemas.microsoft.com/office/drawing/2014/main" id="{4EC87689-A534-4297-BB46-A714D8474935}"/>
              </a:ext>
            </a:extLst>
          </p:cNvPr>
          <p:cNvSpPr>
            <a:spLocks noEditPoints="1"/>
          </p:cNvSpPr>
          <p:nvPr/>
        </p:nvSpPr>
        <p:spPr bwMode="auto">
          <a:xfrm>
            <a:off x="381599" y="1290716"/>
            <a:ext cx="479708" cy="468099"/>
          </a:xfrm>
          <a:custGeom>
            <a:avLst/>
            <a:gdLst/>
            <a:ahLst/>
            <a:cxnLst>
              <a:cxn ang="0">
                <a:pos x="0" y="1146"/>
              </a:cxn>
              <a:cxn ang="0">
                <a:pos x="0" y="670"/>
              </a:cxn>
              <a:cxn ang="0">
                <a:pos x="8" y="526"/>
              </a:cxn>
              <a:cxn ang="0">
                <a:pos x="30" y="396"/>
              </a:cxn>
              <a:cxn ang="0">
                <a:pos x="56" y="310"/>
              </a:cxn>
              <a:cxn ang="0">
                <a:pos x="80" y="256"/>
              </a:cxn>
              <a:cxn ang="0">
                <a:pos x="106" y="206"/>
              </a:cxn>
              <a:cxn ang="0">
                <a:pos x="120" y="182"/>
              </a:cxn>
              <a:cxn ang="0">
                <a:pos x="152" y="140"/>
              </a:cxn>
              <a:cxn ang="0">
                <a:pos x="188" y="102"/>
              </a:cxn>
              <a:cxn ang="0">
                <a:pos x="226" y="70"/>
              </a:cxn>
              <a:cxn ang="0">
                <a:pos x="270" y="46"/>
              </a:cxn>
              <a:cxn ang="0">
                <a:pos x="316" y="24"/>
              </a:cxn>
              <a:cxn ang="0">
                <a:pos x="366" y="10"/>
              </a:cxn>
              <a:cxn ang="0">
                <a:pos x="418" y="2"/>
              </a:cxn>
              <a:cxn ang="0">
                <a:pos x="476" y="0"/>
              </a:cxn>
              <a:cxn ang="0">
                <a:pos x="476" y="222"/>
              </a:cxn>
              <a:cxn ang="0">
                <a:pos x="420" y="230"/>
              </a:cxn>
              <a:cxn ang="0">
                <a:pos x="372" y="250"/>
              </a:cxn>
              <a:cxn ang="0">
                <a:pos x="332" y="286"/>
              </a:cxn>
              <a:cxn ang="0">
                <a:pos x="300" y="334"/>
              </a:cxn>
              <a:cxn ang="0">
                <a:pos x="274" y="398"/>
              </a:cxn>
              <a:cxn ang="0">
                <a:pos x="256" y="474"/>
              </a:cxn>
              <a:cxn ang="0">
                <a:pos x="244" y="566"/>
              </a:cxn>
              <a:cxn ang="0">
                <a:pos x="242" y="670"/>
              </a:cxn>
              <a:cxn ang="0">
                <a:pos x="476" y="1146"/>
              </a:cxn>
              <a:cxn ang="0">
                <a:pos x="718" y="1146"/>
              </a:cxn>
              <a:cxn ang="0">
                <a:pos x="718" y="670"/>
              </a:cxn>
              <a:cxn ang="0">
                <a:pos x="724" y="526"/>
              </a:cxn>
              <a:cxn ang="0">
                <a:pos x="748" y="396"/>
              </a:cxn>
              <a:cxn ang="0">
                <a:pos x="774" y="310"/>
              </a:cxn>
              <a:cxn ang="0">
                <a:pos x="796" y="256"/>
              </a:cxn>
              <a:cxn ang="0">
                <a:pos x="824" y="206"/>
              </a:cxn>
              <a:cxn ang="0">
                <a:pos x="838" y="182"/>
              </a:cxn>
              <a:cxn ang="0">
                <a:pos x="870" y="140"/>
              </a:cxn>
              <a:cxn ang="0">
                <a:pos x="906" y="102"/>
              </a:cxn>
              <a:cxn ang="0">
                <a:pos x="944" y="70"/>
              </a:cxn>
              <a:cxn ang="0">
                <a:pos x="988" y="46"/>
              </a:cxn>
              <a:cxn ang="0">
                <a:pos x="1034" y="24"/>
              </a:cxn>
              <a:cxn ang="0">
                <a:pos x="1084" y="10"/>
              </a:cxn>
              <a:cxn ang="0">
                <a:pos x="1136" y="2"/>
              </a:cxn>
              <a:cxn ang="0">
                <a:pos x="1194" y="0"/>
              </a:cxn>
              <a:cxn ang="0">
                <a:pos x="1194" y="222"/>
              </a:cxn>
              <a:cxn ang="0">
                <a:pos x="1138" y="230"/>
              </a:cxn>
              <a:cxn ang="0">
                <a:pos x="1092" y="250"/>
              </a:cxn>
              <a:cxn ang="0">
                <a:pos x="1052" y="286"/>
              </a:cxn>
              <a:cxn ang="0">
                <a:pos x="1020" y="334"/>
              </a:cxn>
              <a:cxn ang="0">
                <a:pos x="994" y="398"/>
              </a:cxn>
              <a:cxn ang="0">
                <a:pos x="976" y="474"/>
              </a:cxn>
              <a:cxn ang="0">
                <a:pos x="964" y="566"/>
              </a:cxn>
              <a:cxn ang="0">
                <a:pos x="960" y="670"/>
              </a:cxn>
              <a:cxn ang="0">
                <a:pos x="1194" y="1146"/>
              </a:cxn>
            </a:cxnLst>
            <a:rect l="0" t="0" r="r" b="b"/>
            <a:pathLst>
              <a:path w="1194" h="1146">
                <a:moveTo>
                  <a:pt x="476" y="1146"/>
                </a:moveTo>
                <a:lnTo>
                  <a:pt x="0" y="1146"/>
                </a:lnTo>
                <a:lnTo>
                  <a:pt x="0" y="670"/>
                </a:lnTo>
                <a:lnTo>
                  <a:pt x="0" y="670"/>
                </a:lnTo>
                <a:lnTo>
                  <a:pt x="2" y="596"/>
                </a:lnTo>
                <a:lnTo>
                  <a:pt x="8" y="526"/>
                </a:lnTo>
                <a:lnTo>
                  <a:pt x="16" y="460"/>
                </a:lnTo>
                <a:lnTo>
                  <a:pt x="30" y="396"/>
                </a:lnTo>
                <a:lnTo>
                  <a:pt x="46" y="338"/>
                </a:lnTo>
                <a:lnTo>
                  <a:pt x="56" y="310"/>
                </a:lnTo>
                <a:lnTo>
                  <a:pt x="68" y="282"/>
                </a:lnTo>
                <a:lnTo>
                  <a:pt x="80" y="256"/>
                </a:lnTo>
                <a:lnTo>
                  <a:pt x="92" y="230"/>
                </a:lnTo>
                <a:lnTo>
                  <a:pt x="106" y="206"/>
                </a:lnTo>
                <a:lnTo>
                  <a:pt x="120" y="182"/>
                </a:lnTo>
                <a:lnTo>
                  <a:pt x="120" y="182"/>
                </a:lnTo>
                <a:lnTo>
                  <a:pt x="136" y="160"/>
                </a:lnTo>
                <a:lnTo>
                  <a:pt x="152" y="140"/>
                </a:lnTo>
                <a:lnTo>
                  <a:pt x="170" y="120"/>
                </a:lnTo>
                <a:lnTo>
                  <a:pt x="188" y="102"/>
                </a:lnTo>
                <a:lnTo>
                  <a:pt x="206" y="86"/>
                </a:lnTo>
                <a:lnTo>
                  <a:pt x="226" y="70"/>
                </a:lnTo>
                <a:lnTo>
                  <a:pt x="248" y="58"/>
                </a:lnTo>
                <a:lnTo>
                  <a:pt x="270" y="46"/>
                </a:lnTo>
                <a:lnTo>
                  <a:pt x="292" y="34"/>
                </a:lnTo>
                <a:lnTo>
                  <a:pt x="316" y="24"/>
                </a:lnTo>
                <a:lnTo>
                  <a:pt x="340" y="18"/>
                </a:lnTo>
                <a:lnTo>
                  <a:pt x="366" y="10"/>
                </a:lnTo>
                <a:lnTo>
                  <a:pt x="392" y="6"/>
                </a:lnTo>
                <a:lnTo>
                  <a:pt x="418" y="2"/>
                </a:lnTo>
                <a:lnTo>
                  <a:pt x="446" y="0"/>
                </a:lnTo>
                <a:lnTo>
                  <a:pt x="476" y="0"/>
                </a:lnTo>
                <a:lnTo>
                  <a:pt x="476" y="222"/>
                </a:lnTo>
                <a:lnTo>
                  <a:pt x="476" y="222"/>
                </a:lnTo>
                <a:lnTo>
                  <a:pt x="448" y="224"/>
                </a:lnTo>
                <a:lnTo>
                  <a:pt x="420" y="230"/>
                </a:lnTo>
                <a:lnTo>
                  <a:pt x="396" y="238"/>
                </a:lnTo>
                <a:lnTo>
                  <a:pt x="372" y="250"/>
                </a:lnTo>
                <a:lnTo>
                  <a:pt x="352" y="266"/>
                </a:lnTo>
                <a:lnTo>
                  <a:pt x="332" y="286"/>
                </a:lnTo>
                <a:lnTo>
                  <a:pt x="316" y="308"/>
                </a:lnTo>
                <a:lnTo>
                  <a:pt x="300" y="334"/>
                </a:lnTo>
                <a:lnTo>
                  <a:pt x="286" y="364"/>
                </a:lnTo>
                <a:lnTo>
                  <a:pt x="274" y="398"/>
                </a:lnTo>
                <a:lnTo>
                  <a:pt x="264" y="434"/>
                </a:lnTo>
                <a:lnTo>
                  <a:pt x="256" y="474"/>
                </a:lnTo>
                <a:lnTo>
                  <a:pt x="250" y="518"/>
                </a:lnTo>
                <a:lnTo>
                  <a:pt x="244" y="566"/>
                </a:lnTo>
                <a:lnTo>
                  <a:pt x="242" y="616"/>
                </a:lnTo>
                <a:lnTo>
                  <a:pt x="242" y="670"/>
                </a:lnTo>
                <a:lnTo>
                  <a:pt x="476" y="670"/>
                </a:lnTo>
                <a:lnTo>
                  <a:pt x="476" y="1146"/>
                </a:lnTo>
                <a:close/>
                <a:moveTo>
                  <a:pt x="1194" y="1146"/>
                </a:moveTo>
                <a:lnTo>
                  <a:pt x="718" y="1146"/>
                </a:lnTo>
                <a:lnTo>
                  <a:pt x="718" y="670"/>
                </a:lnTo>
                <a:lnTo>
                  <a:pt x="718" y="670"/>
                </a:lnTo>
                <a:lnTo>
                  <a:pt x="720" y="596"/>
                </a:lnTo>
                <a:lnTo>
                  <a:pt x="724" y="526"/>
                </a:lnTo>
                <a:lnTo>
                  <a:pt x="734" y="460"/>
                </a:lnTo>
                <a:lnTo>
                  <a:pt x="748" y="396"/>
                </a:lnTo>
                <a:lnTo>
                  <a:pt x="764" y="338"/>
                </a:lnTo>
                <a:lnTo>
                  <a:pt x="774" y="310"/>
                </a:lnTo>
                <a:lnTo>
                  <a:pt x="786" y="282"/>
                </a:lnTo>
                <a:lnTo>
                  <a:pt x="796" y="256"/>
                </a:lnTo>
                <a:lnTo>
                  <a:pt x="810" y="230"/>
                </a:lnTo>
                <a:lnTo>
                  <a:pt x="824" y="206"/>
                </a:lnTo>
                <a:lnTo>
                  <a:pt x="838" y="182"/>
                </a:lnTo>
                <a:lnTo>
                  <a:pt x="838" y="182"/>
                </a:lnTo>
                <a:lnTo>
                  <a:pt x="854" y="160"/>
                </a:lnTo>
                <a:lnTo>
                  <a:pt x="870" y="140"/>
                </a:lnTo>
                <a:lnTo>
                  <a:pt x="888" y="120"/>
                </a:lnTo>
                <a:lnTo>
                  <a:pt x="906" y="102"/>
                </a:lnTo>
                <a:lnTo>
                  <a:pt x="924" y="86"/>
                </a:lnTo>
                <a:lnTo>
                  <a:pt x="944" y="70"/>
                </a:lnTo>
                <a:lnTo>
                  <a:pt x="966" y="58"/>
                </a:lnTo>
                <a:lnTo>
                  <a:pt x="988" y="46"/>
                </a:lnTo>
                <a:lnTo>
                  <a:pt x="1010" y="34"/>
                </a:lnTo>
                <a:lnTo>
                  <a:pt x="1034" y="24"/>
                </a:lnTo>
                <a:lnTo>
                  <a:pt x="1058" y="18"/>
                </a:lnTo>
                <a:lnTo>
                  <a:pt x="1084" y="10"/>
                </a:lnTo>
                <a:lnTo>
                  <a:pt x="1110" y="6"/>
                </a:lnTo>
                <a:lnTo>
                  <a:pt x="1136" y="2"/>
                </a:lnTo>
                <a:lnTo>
                  <a:pt x="1164" y="0"/>
                </a:lnTo>
                <a:lnTo>
                  <a:pt x="1194" y="0"/>
                </a:lnTo>
                <a:lnTo>
                  <a:pt x="1194" y="222"/>
                </a:lnTo>
                <a:lnTo>
                  <a:pt x="1194" y="222"/>
                </a:lnTo>
                <a:lnTo>
                  <a:pt x="1166" y="224"/>
                </a:lnTo>
                <a:lnTo>
                  <a:pt x="1138" y="230"/>
                </a:lnTo>
                <a:lnTo>
                  <a:pt x="1114" y="238"/>
                </a:lnTo>
                <a:lnTo>
                  <a:pt x="1092" y="250"/>
                </a:lnTo>
                <a:lnTo>
                  <a:pt x="1070" y="266"/>
                </a:lnTo>
                <a:lnTo>
                  <a:pt x="1052" y="286"/>
                </a:lnTo>
                <a:lnTo>
                  <a:pt x="1034" y="308"/>
                </a:lnTo>
                <a:lnTo>
                  <a:pt x="1020" y="334"/>
                </a:lnTo>
                <a:lnTo>
                  <a:pt x="1006" y="364"/>
                </a:lnTo>
                <a:lnTo>
                  <a:pt x="994" y="398"/>
                </a:lnTo>
                <a:lnTo>
                  <a:pt x="984" y="434"/>
                </a:lnTo>
                <a:lnTo>
                  <a:pt x="976" y="474"/>
                </a:lnTo>
                <a:lnTo>
                  <a:pt x="970" y="518"/>
                </a:lnTo>
                <a:lnTo>
                  <a:pt x="964" y="566"/>
                </a:lnTo>
                <a:lnTo>
                  <a:pt x="962" y="616"/>
                </a:lnTo>
                <a:lnTo>
                  <a:pt x="960" y="670"/>
                </a:lnTo>
                <a:lnTo>
                  <a:pt x="1194" y="670"/>
                </a:lnTo>
                <a:lnTo>
                  <a:pt x="1194" y="1146"/>
                </a:lnTo>
                <a:close/>
              </a:path>
            </a:pathLst>
          </a:custGeom>
          <a:solidFill>
            <a:schemeClr val="tx2"/>
          </a:solidFill>
          <a:ln w="9525">
            <a:noFill/>
            <a:round/>
            <a:headEnd/>
            <a:tailEnd/>
          </a:ln>
        </p:spPr>
        <p:txBody>
          <a:bodyPr vert="horz" wrap="square" lIns="104781" tIns="52391" rIns="104781" bIns="52391" numCol="1" anchor="t" anchorCtr="0" compatLnSpc="1">
            <a:prstTxWarp prst="textNoShape">
              <a:avLst/>
            </a:prstTxWarp>
          </a:bodyPr>
          <a:lstStyle/>
          <a:p>
            <a:endParaRPr lang="en-GB">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68" name="Freeform 5">
            <a:extLst>
              <a:ext uri="{FF2B5EF4-FFF2-40B4-BE49-F238E27FC236}">
                <a16:creationId xmlns:a16="http://schemas.microsoft.com/office/drawing/2014/main" id="{7D4150FE-FD82-43E9-B3CE-7DA8B97B80AF}"/>
              </a:ext>
            </a:extLst>
          </p:cNvPr>
          <p:cNvSpPr>
            <a:spLocks noEditPoints="1"/>
          </p:cNvSpPr>
          <p:nvPr/>
        </p:nvSpPr>
        <p:spPr bwMode="auto">
          <a:xfrm>
            <a:off x="6270474" y="1290716"/>
            <a:ext cx="479708" cy="468099"/>
          </a:xfrm>
          <a:custGeom>
            <a:avLst/>
            <a:gdLst/>
            <a:ahLst/>
            <a:cxnLst>
              <a:cxn ang="0">
                <a:pos x="0" y="1146"/>
              </a:cxn>
              <a:cxn ang="0">
                <a:pos x="0" y="670"/>
              </a:cxn>
              <a:cxn ang="0">
                <a:pos x="8" y="526"/>
              </a:cxn>
              <a:cxn ang="0">
                <a:pos x="30" y="396"/>
              </a:cxn>
              <a:cxn ang="0">
                <a:pos x="56" y="310"/>
              </a:cxn>
              <a:cxn ang="0">
                <a:pos x="80" y="256"/>
              </a:cxn>
              <a:cxn ang="0">
                <a:pos x="106" y="206"/>
              </a:cxn>
              <a:cxn ang="0">
                <a:pos x="120" y="182"/>
              </a:cxn>
              <a:cxn ang="0">
                <a:pos x="152" y="140"/>
              </a:cxn>
              <a:cxn ang="0">
                <a:pos x="188" y="102"/>
              </a:cxn>
              <a:cxn ang="0">
                <a:pos x="226" y="70"/>
              </a:cxn>
              <a:cxn ang="0">
                <a:pos x="270" y="46"/>
              </a:cxn>
              <a:cxn ang="0">
                <a:pos x="316" y="24"/>
              </a:cxn>
              <a:cxn ang="0">
                <a:pos x="366" y="10"/>
              </a:cxn>
              <a:cxn ang="0">
                <a:pos x="418" y="2"/>
              </a:cxn>
              <a:cxn ang="0">
                <a:pos x="476" y="0"/>
              </a:cxn>
              <a:cxn ang="0">
                <a:pos x="476" y="222"/>
              </a:cxn>
              <a:cxn ang="0">
                <a:pos x="420" y="230"/>
              </a:cxn>
              <a:cxn ang="0">
                <a:pos x="372" y="250"/>
              </a:cxn>
              <a:cxn ang="0">
                <a:pos x="332" y="286"/>
              </a:cxn>
              <a:cxn ang="0">
                <a:pos x="300" y="334"/>
              </a:cxn>
              <a:cxn ang="0">
                <a:pos x="274" y="398"/>
              </a:cxn>
              <a:cxn ang="0">
                <a:pos x="256" y="474"/>
              </a:cxn>
              <a:cxn ang="0">
                <a:pos x="244" y="566"/>
              </a:cxn>
              <a:cxn ang="0">
                <a:pos x="242" y="670"/>
              </a:cxn>
              <a:cxn ang="0">
                <a:pos x="476" y="1146"/>
              </a:cxn>
              <a:cxn ang="0">
                <a:pos x="718" y="1146"/>
              </a:cxn>
              <a:cxn ang="0">
                <a:pos x="718" y="670"/>
              </a:cxn>
              <a:cxn ang="0">
                <a:pos x="724" y="526"/>
              </a:cxn>
              <a:cxn ang="0">
                <a:pos x="748" y="396"/>
              </a:cxn>
              <a:cxn ang="0">
                <a:pos x="774" y="310"/>
              </a:cxn>
              <a:cxn ang="0">
                <a:pos x="796" y="256"/>
              </a:cxn>
              <a:cxn ang="0">
                <a:pos x="824" y="206"/>
              </a:cxn>
              <a:cxn ang="0">
                <a:pos x="838" y="182"/>
              </a:cxn>
              <a:cxn ang="0">
                <a:pos x="870" y="140"/>
              </a:cxn>
              <a:cxn ang="0">
                <a:pos x="906" y="102"/>
              </a:cxn>
              <a:cxn ang="0">
                <a:pos x="944" y="70"/>
              </a:cxn>
              <a:cxn ang="0">
                <a:pos x="988" y="46"/>
              </a:cxn>
              <a:cxn ang="0">
                <a:pos x="1034" y="24"/>
              </a:cxn>
              <a:cxn ang="0">
                <a:pos x="1084" y="10"/>
              </a:cxn>
              <a:cxn ang="0">
                <a:pos x="1136" y="2"/>
              </a:cxn>
              <a:cxn ang="0">
                <a:pos x="1194" y="0"/>
              </a:cxn>
              <a:cxn ang="0">
                <a:pos x="1194" y="222"/>
              </a:cxn>
              <a:cxn ang="0">
                <a:pos x="1138" y="230"/>
              </a:cxn>
              <a:cxn ang="0">
                <a:pos x="1092" y="250"/>
              </a:cxn>
              <a:cxn ang="0">
                <a:pos x="1052" y="286"/>
              </a:cxn>
              <a:cxn ang="0">
                <a:pos x="1020" y="334"/>
              </a:cxn>
              <a:cxn ang="0">
                <a:pos x="994" y="398"/>
              </a:cxn>
              <a:cxn ang="0">
                <a:pos x="976" y="474"/>
              </a:cxn>
              <a:cxn ang="0">
                <a:pos x="964" y="566"/>
              </a:cxn>
              <a:cxn ang="0">
                <a:pos x="960" y="670"/>
              </a:cxn>
              <a:cxn ang="0">
                <a:pos x="1194" y="1146"/>
              </a:cxn>
            </a:cxnLst>
            <a:rect l="0" t="0" r="r" b="b"/>
            <a:pathLst>
              <a:path w="1194" h="1146">
                <a:moveTo>
                  <a:pt x="476" y="1146"/>
                </a:moveTo>
                <a:lnTo>
                  <a:pt x="0" y="1146"/>
                </a:lnTo>
                <a:lnTo>
                  <a:pt x="0" y="670"/>
                </a:lnTo>
                <a:lnTo>
                  <a:pt x="0" y="670"/>
                </a:lnTo>
                <a:lnTo>
                  <a:pt x="2" y="596"/>
                </a:lnTo>
                <a:lnTo>
                  <a:pt x="8" y="526"/>
                </a:lnTo>
                <a:lnTo>
                  <a:pt x="16" y="460"/>
                </a:lnTo>
                <a:lnTo>
                  <a:pt x="30" y="396"/>
                </a:lnTo>
                <a:lnTo>
                  <a:pt x="46" y="338"/>
                </a:lnTo>
                <a:lnTo>
                  <a:pt x="56" y="310"/>
                </a:lnTo>
                <a:lnTo>
                  <a:pt x="68" y="282"/>
                </a:lnTo>
                <a:lnTo>
                  <a:pt x="80" y="256"/>
                </a:lnTo>
                <a:lnTo>
                  <a:pt x="92" y="230"/>
                </a:lnTo>
                <a:lnTo>
                  <a:pt x="106" y="206"/>
                </a:lnTo>
                <a:lnTo>
                  <a:pt x="120" y="182"/>
                </a:lnTo>
                <a:lnTo>
                  <a:pt x="120" y="182"/>
                </a:lnTo>
                <a:lnTo>
                  <a:pt x="136" y="160"/>
                </a:lnTo>
                <a:lnTo>
                  <a:pt x="152" y="140"/>
                </a:lnTo>
                <a:lnTo>
                  <a:pt x="170" y="120"/>
                </a:lnTo>
                <a:lnTo>
                  <a:pt x="188" y="102"/>
                </a:lnTo>
                <a:lnTo>
                  <a:pt x="206" y="86"/>
                </a:lnTo>
                <a:lnTo>
                  <a:pt x="226" y="70"/>
                </a:lnTo>
                <a:lnTo>
                  <a:pt x="248" y="58"/>
                </a:lnTo>
                <a:lnTo>
                  <a:pt x="270" y="46"/>
                </a:lnTo>
                <a:lnTo>
                  <a:pt x="292" y="34"/>
                </a:lnTo>
                <a:lnTo>
                  <a:pt x="316" y="24"/>
                </a:lnTo>
                <a:lnTo>
                  <a:pt x="340" y="18"/>
                </a:lnTo>
                <a:lnTo>
                  <a:pt x="366" y="10"/>
                </a:lnTo>
                <a:lnTo>
                  <a:pt x="392" y="6"/>
                </a:lnTo>
                <a:lnTo>
                  <a:pt x="418" y="2"/>
                </a:lnTo>
                <a:lnTo>
                  <a:pt x="446" y="0"/>
                </a:lnTo>
                <a:lnTo>
                  <a:pt x="476" y="0"/>
                </a:lnTo>
                <a:lnTo>
                  <a:pt x="476" y="222"/>
                </a:lnTo>
                <a:lnTo>
                  <a:pt x="476" y="222"/>
                </a:lnTo>
                <a:lnTo>
                  <a:pt x="448" y="224"/>
                </a:lnTo>
                <a:lnTo>
                  <a:pt x="420" y="230"/>
                </a:lnTo>
                <a:lnTo>
                  <a:pt x="396" y="238"/>
                </a:lnTo>
                <a:lnTo>
                  <a:pt x="372" y="250"/>
                </a:lnTo>
                <a:lnTo>
                  <a:pt x="352" y="266"/>
                </a:lnTo>
                <a:lnTo>
                  <a:pt x="332" y="286"/>
                </a:lnTo>
                <a:lnTo>
                  <a:pt x="316" y="308"/>
                </a:lnTo>
                <a:lnTo>
                  <a:pt x="300" y="334"/>
                </a:lnTo>
                <a:lnTo>
                  <a:pt x="286" y="364"/>
                </a:lnTo>
                <a:lnTo>
                  <a:pt x="274" y="398"/>
                </a:lnTo>
                <a:lnTo>
                  <a:pt x="264" y="434"/>
                </a:lnTo>
                <a:lnTo>
                  <a:pt x="256" y="474"/>
                </a:lnTo>
                <a:lnTo>
                  <a:pt x="250" y="518"/>
                </a:lnTo>
                <a:lnTo>
                  <a:pt x="244" y="566"/>
                </a:lnTo>
                <a:lnTo>
                  <a:pt x="242" y="616"/>
                </a:lnTo>
                <a:lnTo>
                  <a:pt x="242" y="670"/>
                </a:lnTo>
                <a:lnTo>
                  <a:pt x="476" y="670"/>
                </a:lnTo>
                <a:lnTo>
                  <a:pt x="476" y="1146"/>
                </a:lnTo>
                <a:close/>
                <a:moveTo>
                  <a:pt x="1194" y="1146"/>
                </a:moveTo>
                <a:lnTo>
                  <a:pt x="718" y="1146"/>
                </a:lnTo>
                <a:lnTo>
                  <a:pt x="718" y="670"/>
                </a:lnTo>
                <a:lnTo>
                  <a:pt x="718" y="670"/>
                </a:lnTo>
                <a:lnTo>
                  <a:pt x="720" y="596"/>
                </a:lnTo>
                <a:lnTo>
                  <a:pt x="724" y="526"/>
                </a:lnTo>
                <a:lnTo>
                  <a:pt x="734" y="460"/>
                </a:lnTo>
                <a:lnTo>
                  <a:pt x="748" y="396"/>
                </a:lnTo>
                <a:lnTo>
                  <a:pt x="764" y="338"/>
                </a:lnTo>
                <a:lnTo>
                  <a:pt x="774" y="310"/>
                </a:lnTo>
                <a:lnTo>
                  <a:pt x="786" y="282"/>
                </a:lnTo>
                <a:lnTo>
                  <a:pt x="796" y="256"/>
                </a:lnTo>
                <a:lnTo>
                  <a:pt x="810" y="230"/>
                </a:lnTo>
                <a:lnTo>
                  <a:pt x="824" y="206"/>
                </a:lnTo>
                <a:lnTo>
                  <a:pt x="838" y="182"/>
                </a:lnTo>
                <a:lnTo>
                  <a:pt x="838" y="182"/>
                </a:lnTo>
                <a:lnTo>
                  <a:pt x="854" y="160"/>
                </a:lnTo>
                <a:lnTo>
                  <a:pt x="870" y="140"/>
                </a:lnTo>
                <a:lnTo>
                  <a:pt x="888" y="120"/>
                </a:lnTo>
                <a:lnTo>
                  <a:pt x="906" y="102"/>
                </a:lnTo>
                <a:lnTo>
                  <a:pt x="924" y="86"/>
                </a:lnTo>
                <a:lnTo>
                  <a:pt x="944" y="70"/>
                </a:lnTo>
                <a:lnTo>
                  <a:pt x="966" y="58"/>
                </a:lnTo>
                <a:lnTo>
                  <a:pt x="988" y="46"/>
                </a:lnTo>
                <a:lnTo>
                  <a:pt x="1010" y="34"/>
                </a:lnTo>
                <a:lnTo>
                  <a:pt x="1034" y="24"/>
                </a:lnTo>
                <a:lnTo>
                  <a:pt x="1058" y="18"/>
                </a:lnTo>
                <a:lnTo>
                  <a:pt x="1084" y="10"/>
                </a:lnTo>
                <a:lnTo>
                  <a:pt x="1110" y="6"/>
                </a:lnTo>
                <a:lnTo>
                  <a:pt x="1136" y="2"/>
                </a:lnTo>
                <a:lnTo>
                  <a:pt x="1164" y="0"/>
                </a:lnTo>
                <a:lnTo>
                  <a:pt x="1194" y="0"/>
                </a:lnTo>
                <a:lnTo>
                  <a:pt x="1194" y="222"/>
                </a:lnTo>
                <a:lnTo>
                  <a:pt x="1194" y="222"/>
                </a:lnTo>
                <a:lnTo>
                  <a:pt x="1166" y="224"/>
                </a:lnTo>
                <a:lnTo>
                  <a:pt x="1138" y="230"/>
                </a:lnTo>
                <a:lnTo>
                  <a:pt x="1114" y="238"/>
                </a:lnTo>
                <a:lnTo>
                  <a:pt x="1092" y="250"/>
                </a:lnTo>
                <a:lnTo>
                  <a:pt x="1070" y="266"/>
                </a:lnTo>
                <a:lnTo>
                  <a:pt x="1052" y="286"/>
                </a:lnTo>
                <a:lnTo>
                  <a:pt x="1034" y="308"/>
                </a:lnTo>
                <a:lnTo>
                  <a:pt x="1020" y="334"/>
                </a:lnTo>
                <a:lnTo>
                  <a:pt x="1006" y="364"/>
                </a:lnTo>
                <a:lnTo>
                  <a:pt x="994" y="398"/>
                </a:lnTo>
                <a:lnTo>
                  <a:pt x="984" y="434"/>
                </a:lnTo>
                <a:lnTo>
                  <a:pt x="976" y="474"/>
                </a:lnTo>
                <a:lnTo>
                  <a:pt x="970" y="518"/>
                </a:lnTo>
                <a:lnTo>
                  <a:pt x="964" y="566"/>
                </a:lnTo>
                <a:lnTo>
                  <a:pt x="962" y="616"/>
                </a:lnTo>
                <a:lnTo>
                  <a:pt x="960" y="670"/>
                </a:lnTo>
                <a:lnTo>
                  <a:pt x="1194" y="670"/>
                </a:lnTo>
                <a:lnTo>
                  <a:pt x="1194" y="1146"/>
                </a:lnTo>
                <a:close/>
              </a:path>
            </a:pathLst>
          </a:custGeom>
          <a:solidFill>
            <a:schemeClr val="tx2"/>
          </a:solidFill>
          <a:ln w="9525">
            <a:noFill/>
            <a:round/>
            <a:headEnd/>
            <a:tailEnd/>
          </a:ln>
        </p:spPr>
        <p:txBody>
          <a:bodyPr vert="horz" wrap="square" lIns="104781" tIns="52391" rIns="104781" bIns="52391" numCol="1" anchor="t" anchorCtr="0" compatLnSpc="1">
            <a:prstTxWarp prst="textNoShape">
              <a:avLst/>
            </a:prstTxWarp>
          </a:bodyPr>
          <a:lstStyle/>
          <a:p>
            <a:endParaRPr lang="en-GB">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pic>
        <p:nvPicPr>
          <p:cNvPr id="9" name="Picture 8">
            <a:extLst>
              <a:ext uri="{FF2B5EF4-FFF2-40B4-BE49-F238E27FC236}">
                <a16:creationId xmlns:a16="http://schemas.microsoft.com/office/drawing/2014/main" id="{C7D4EC4A-F5F8-4A75-A2F1-85365E2BED5F}"/>
              </a:ext>
            </a:extLst>
          </p:cNvPr>
          <p:cNvPicPr>
            <a:picLocks noChangeAspect="1"/>
          </p:cNvPicPr>
          <p:nvPr/>
        </p:nvPicPr>
        <p:blipFill>
          <a:blip r:embed="rId107"/>
          <a:stretch>
            <a:fillRect/>
          </a:stretch>
        </p:blipFill>
        <p:spPr>
          <a:xfrm>
            <a:off x="6253270" y="3536623"/>
            <a:ext cx="940971" cy="265522"/>
          </a:xfrm>
          <a:prstGeom prst="rect">
            <a:avLst/>
          </a:prstGeom>
        </p:spPr>
      </p:pic>
      <p:pic>
        <p:nvPicPr>
          <p:cNvPr id="13" name="Picture 12" descr="Logo&#10;&#10;Description automatically generated with medium confidence">
            <a:extLst>
              <a:ext uri="{FF2B5EF4-FFF2-40B4-BE49-F238E27FC236}">
                <a16:creationId xmlns:a16="http://schemas.microsoft.com/office/drawing/2014/main" id="{40AF92A5-0BE1-42F4-813A-2D87BA2F60D1}"/>
              </a:ext>
            </a:extLst>
          </p:cNvPr>
          <p:cNvPicPr>
            <a:picLocks noChangeAspect="1"/>
          </p:cNvPicPr>
          <p:nvPr/>
        </p:nvPicPr>
        <p:blipFill>
          <a:blip r:embed="rId108"/>
          <a:stretch>
            <a:fillRect/>
          </a:stretch>
        </p:blipFill>
        <p:spPr>
          <a:xfrm>
            <a:off x="396241" y="2421537"/>
            <a:ext cx="991806" cy="238653"/>
          </a:xfrm>
          <a:prstGeom prst="rect">
            <a:avLst/>
          </a:prstGeom>
        </p:spPr>
      </p:pic>
      <p:pic>
        <p:nvPicPr>
          <p:cNvPr id="15" name="Picture 14">
            <a:extLst>
              <a:ext uri="{FF2B5EF4-FFF2-40B4-BE49-F238E27FC236}">
                <a16:creationId xmlns:a16="http://schemas.microsoft.com/office/drawing/2014/main" id="{44B23AA4-CF8E-4422-8DCA-7AADDCB9FDF4}"/>
              </a:ext>
            </a:extLst>
          </p:cNvPr>
          <p:cNvPicPr>
            <a:picLocks noChangeAspect="1"/>
          </p:cNvPicPr>
          <p:nvPr/>
        </p:nvPicPr>
        <p:blipFill>
          <a:blip r:embed="rId109"/>
          <a:stretch>
            <a:fillRect/>
          </a:stretch>
        </p:blipFill>
        <p:spPr>
          <a:xfrm>
            <a:off x="896792" y="3116601"/>
            <a:ext cx="906108" cy="169654"/>
          </a:xfrm>
          <a:prstGeom prst="rect">
            <a:avLst/>
          </a:prstGeom>
        </p:spPr>
      </p:pic>
      <p:pic>
        <p:nvPicPr>
          <p:cNvPr id="1026" name="Picture 2" descr="BNRG — Pioneering solar partnerships">
            <a:extLst>
              <a:ext uri="{FF2B5EF4-FFF2-40B4-BE49-F238E27FC236}">
                <a16:creationId xmlns:a16="http://schemas.microsoft.com/office/drawing/2014/main" id="{BA66B05C-1C9C-4376-8FE7-EC74A97D9384}"/>
              </a:ext>
            </a:extLst>
          </p:cNvPr>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4843682" y="3453977"/>
            <a:ext cx="528361" cy="27091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0B297EEA-152D-4BFA-B4FE-A20CFD714B91}"/>
              </a:ext>
            </a:extLst>
          </p:cNvPr>
          <p:cNvPicPr>
            <a:picLocks noChangeAspect="1"/>
          </p:cNvPicPr>
          <p:nvPr/>
        </p:nvPicPr>
        <p:blipFill>
          <a:blip r:embed="rId111"/>
          <a:stretch>
            <a:fillRect/>
          </a:stretch>
        </p:blipFill>
        <p:spPr>
          <a:xfrm>
            <a:off x="2698137" y="3793704"/>
            <a:ext cx="769313" cy="226268"/>
          </a:xfrm>
          <a:prstGeom prst="rect">
            <a:avLst/>
          </a:prstGeom>
        </p:spPr>
      </p:pic>
      <p:pic>
        <p:nvPicPr>
          <p:cNvPr id="169" name="Picture 26" descr="http://peabodyplumbers.files.wordpress.com/2013/03/national-grid-logo.gif">
            <a:extLst>
              <a:ext uri="{FF2B5EF4-FFF2-40B4-BE49-F238E27FC236}">
                <a16:creationId xmlns:a16="http://schemas.microsoft.com/office/drawing/2014/main" id="{BF8A2C5F-539B-436C-90EC-BA7458658340}"/>
              </a:ext>
            </a:extLst>
          </p:cNvPr>
          <p:cNvPicPr>
            <a:picLocks noChangeAspect="1" noChangeArrowheads="1"/>
          </p:cNvPicPr>
          <p:nvPr/>
        </p:nvPicPr>
        <p:blipFill rotWithShape="1">
          <a:blip r:embed="rId106" cstate="print">
            <a:extLst>
              <a:ext uri="{28A0092B-C50C-407E-A947-70E740481C1C}">
                <a14:useLocalDpi xmlns:a14="http://schemas.microsoft.com/office/drawing/2010/main"/>
              </a:ext>
            </a:extLst>
          </a:blip>
          <a:srcRect l="4462" t="20192" r="8819" b="22363"/>
          <a:stretch/>
        </p:blipFill>
        <p:spPr bwMode="auto">
          <a:xfrm>
            <a:off x="1002127" y="4004151"/>
            <a:ext cx="964615" cy="265114"/>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D67C7A0C-3E02-4DE9-9CAD-83F8CC5477E8}"/>
              </a:ext>
            </a:extLst>
          </p:cNvPr>
          <p:cNvPicPr>
            <a:picLocks noChangeAspect="1"/>
          </p:cNvPicPr>
          <p:nvPr/>
        </p:nvPicPr>
        <p:blipFill rotWithShape="1">
          <a:blip r:embed="rId112" cstate="print">
            <a:extLst>
              <a:ext uri="{28A0092B-C50C-407E-A947-70E740481C1C}">
                <a14:useLocalDpi xmlns:a14="http://schemas.microsoft.com/office/drawing/2010/main"/>
              </a:ext>
            </a:extLst>
          </a:blip>
          <a:srcRect/>
          <a:stretch/>
        </p:blipFill>
        <p:spPr>
          <a:xfrm>
            <a:off x="4486591" y="3960860"/>
            <a:ext cx="494516" cy="283143"/>
          </a:xfrm>
          <a:prstGeom prst="rect">
            <a:avLst/>
          </a:prstGeom>
        </p:spPr>
      </p:pic>
      <p:pic>
        <p:nvPicPr>
          <p:cNvPr id="171" name="Picture 170">
            <a:extLst>
              <a:ext uri="{FF2B5EF4-FFF2-40B4-BE49-F238E27FC236}">
                <a16:creationId xmlns:a16="http://schemas.microsoft.com/office/drawing/2014/main" id="{EE0ED342-4B3B-4922-BBAD-0805C861685C}"/>
              </a:ext>
            </a:extLst>
          </p:cNvPr>
          <p:cNvPicPr>
            <a:picLocks noChangeAspect="1"/>
          </p:cNvPicPr>
          <p:nvPr/>
        </p:nvPicPr>
        <p:blipFill rotWithShape="1">
          <a:blip r:embed="rId113" cstate="print">
            <a:extLst>
              <a:ext uri="{28A0092B-C50C-407E-A947-70E740481C1C}">
                <a14:useLocalDpi xmlns:a14="http://schemas.microsoft.com/office/drawing/2010/main"/>
              </a:ext>
            </a:extLst>
          </a:blip>
          <a:srcRect/>
          <a:stretch/>
        </p:blipFill>
        <p:spPr>
          <a:xfrm>
            <a:off x="3193027" y="4022404"/>
            <a:ext cx="505549" cy="252045"/>
          </a:xfrm>
          <a:prstGeom prst="rect">
            <a:avLst/>
          </a:prstGeom>
        </p:spPr>
      </p:pic>
      <p:pic>
        <p:nvPicPr>
          <p:cNvPr id="172" name="Picture 171">
            <a:extLst>
              <a:ext uri="{FF2B5EF4-FFF2-40B4-BE49-F238E27FC236}">
                <a16:creationId xmlns:a16="http://schemas.microsoft.com/office/drawing/2014/main" id="{894E93CF-CD66-49AF-A2F6-517FF63257BC}"/>
              </a:ext>
            </a:extLst>
          </p:cNvPr>
          <p:cNvPicPr>
            <a:picLocks noChangeAspect="1"/>
          </p:cNvPicPr>
          <p:nvPr/>
        </p:nvPicPr>
        <p:blipFill>
          <a:blip r:embed="rId114" cstate="print">
            <a:extLst>
              <a:ext uri="{28A0092B-C50C-407E-A947-70E740481C1C}">
                <a14:useLocalDpi xmlns:a14="http://schemas.microsoft.com/office/drawing/2010/main"/>
              </a:ext>
            </a:extLst>
          </a:blip>
          <a:stretch>
            <a:fillRect/>
          </a:stretch>
        </p:blipFill>
        <p:spPr>
          <a:xfrm>
            <a:off x="2628295" y="4022356"/>
            <a:ext cx="575688" cy="233387"/>
          </a:xfrm>
          <a:prstGeom prst="rect">
            <a:avLst/>
          </a:prstGeom>
        </p:spPr>
      </p:pic>
      <p:pic>
        <p:nvPicPr>
          <p:cNvPr id="173" name="Picture 172">
            <a:extLst>
              <a:ext uri="{FF2B5EF4-FFF2-40B4-BE49-F238E27FC236}">
                <a16:creationId xmlns:a16="http://schemas.microsoft.com/office/drawing/2014/main" id="{FB7C7049-87C3-4A67-BA13-5FF7FECAC9DA}"/>
              </a:ext>
            </a:extLst>
          </p:cNvPr>
          <p:cNvPicPr>
            <a:picLocks noChangeAspect="1"/>
          </p:cNvPicPr>
          <p:nvPr/>
        </p:nvPicPr>
        <p:blipFill rotWithShape="1">
          <a:blip r:embed="rId115" cstate="print">
            <a:extLst>
              <a:ext uri="{28A0092B-C50C-407E-A947-70E740481C1C}">
                <a14:useLocalDpi xmlns:a14="http://schemas.microsoft.com/office/drawing/2010/main"/>
              </a:ext>
            </a:extLst>
          </a:blip>
          <a:srcRect/>
          <a:stretch/>
        </p:blipFill>
        <p:spPr>
          <a:xfrm>
            <a:off x="2013788" y="4031501"/>
            <a:ext cx="539192" cy="188824"/>
          </a:xfrm>
          <a:prstGeom prst="rect">
            <a:avLst/>
          </a:prstGeom>
        </p:spPr>
      </p:pic>
      <p:pic>
        <p:nvPicPr>
          <p:cNvPr id="174" name="Picture 173">
            <a:extLst>
              <a:ext uri="{FF2B5EF4-FFF2-40B4-BE49-F238E27FC236}">
                <a16:creationId xmlns:a16="http://schemas.microsoft.com/office/drawing/2014/main" id="{A97252E3-AFE6-43C4-AE48-24AD84A5A17F}"/>
              </a:ext>
            </a:extLst>
          </p:cNvPr>
          <p:cNvPicPr>
            <a:picLocks noChangeAspect="1"/>
          </p:cNvPicPr>
          <p:nvPr/>
        </p:nvPicPr>
        <p:blipFill rotWithShape="1">
          <a:blip r:embed="rId116" cstate="print">
            <a:extLst>
              <a:ext uri="{28A0092B-C50C-407E-A947-70E740481C1C}">
                <a14:useLocalDpi xmlns:a14="http://schemas.microsoft.com/office/drawing/2010/main"/>
              </a:ext>
            </a:extLst>
          </a:blip>
          <a:srcRect/>
          <a:stretch/>
        </p:blipFill>
        <p:spPr>
          <a:xfrm>
            <a:off x="3738899" y="3994790"/>
            <a:ext cx="697697" cy="225400"/>
          </a:xfrm>
          <a:prstGeom prst="rect">
            <a:avLst/>
          </a:prstGeom>
        </p:spPr>
      </p:pic>
      <p:pic>
        <p:nvPicPr>
          <p:cNvPr id="175" name="Picture 13" descr="Image result for MHPS">
            <a:extLst>
              <a:ext uri="{FF2B5EF4-FFF2-40B4-BE49-F238E27FC236}">
                <a16:creationId xmlns:a16="http://schemas.microsoft.com/office/drawing/2014/main" id="{AD6B7812-B905-4346-9571-90CFEE591915}"/>
              </a:ext>
            </a:extLst>
          </p:cNvPr>
          <p:cNvPicPr>
            <a:picLocks noChangeAspect="1" noChangeArrowheads="1"/>
          </p:cNvPicPr>
          <p:nvPr/>
        </p:nvPicPr>
        <p:blipFill rotWithShape="1">
          <a:blip r:embed="rId117" cstate="print">
            <a:extLst>
              <a:ext uri="{28A0092B-C50C-407E-A947-70E740481C1C}">
                <a14:useLocalDpi xmlns:a14="http://schemas.microsoft.com/office/drawing/2010/main"/>
              </a:ext>
            </a:extLst>
          </a:blip>
          <a:srcRect/>
          <a:stretch/>
        </p:blipFill>
        <p:spPr bwMode="auto">
          <a:xfrm>
            <a:off x="420393" y="3810339"/>
            <a:ext cx="490155" cy="376703"/>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4" descr="UK Power Reserve Limited's Competitors, Revenue, Number of Employees,  Funding, Acquisitions &amp; News - Owler Company Profile">
            <a:extLst>
              <a:ext uri="{FF2B5EF4-FFF2-40B4-BE49-F238E27FC236}">
                <a16:creationId xmlns:a16="http://schemas.microsoft.com/office/drawing/2014/main" id="{152D3141-FCFC-4162-A479-294AFBC2A6BB}"/>
              </a:ext>
            </a:extLst>
          </p:cNvPr>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5061295" y="4078137"/>
            <a:ext cx="907466" cy="16948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F553C73-C37D-4A09-9D06-5BFDC3AC9EF5}"/>
              </a:ext>
            </a:extLst>
          </p:cNvPr>
          <p:cNvPicPr>
            <a:picLocks noChangeAspect="1"/>
          </p:cNvPicPr>
          <p:nvPr/>
        </p:nvPicPr>
        <p:blipFill>
          <a:blip r:embed="rId118"/>
          <a:stretch>
            <a:fillRect/>
          </a:stretch>
        </p:blipFill>
        <p:spPr>
          <a:xfrm>
            <a:off x="1174245" y="3837094"/>
            <a:ext cx="1002259" cy="203524"/>
          </a:xfrm>
          <a:prstGeom prst="rect">
            <a:avLst/>
          </a:prstGeom>
        </p:spPr>
      </p:pic>
    </p:spTree>
    <p:extLst>
      <p:ext uri="{BB962C8B-B14F-4D97-AF65-F5344CB8AC3E}">
        <p14:creationId xmlns:p14="http://schemas.microsoft.com/office/powerpoint/2010/main" val="308136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CF4AFA0-8396-4951-931D-400D091B3665}"/>
              </a:ext>
            </a:extLst>
          </p:cNvPr>
          <p:cNvGraphicFramePr>
            <a:graphicFrameLocks noChangeAspect="1"/>
          </p:cNvGraphicFramePr>
          <p:nvPr>
            <p:custDataLst>
              <p:tags r:id="rId2"/>
            </p:custDataLst>
            <p:extLst>
              <p:ext uri="{D42A27DB-BD31-4B8C-83A1-F6EECF244321}">
                <p14:modId xmlns:p14="http://schemas.microsoft.com/office/powerpoint/2010/main" val="4208248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3"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2CF4AFA0-8396-4951-931D-400D091B36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16FCAF-B41F-44D0-A156-3883AE164BAF}"/>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b="1"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Text Placeholder 8">
            <a:extLst>
              <a:ext uri="{FF2B5EF4-FFF2-40B4-BE49-F238E27FC236}">
                <a16:creationId xmlns:a16="http://schemas.microsoft.com/office/drawing/2014/main" id="{C9A011CE-CB56-44F9-A5DC-3865AC07DA56}"/>
              </a:ext>
            </a:extLst>
          </p:cNvPr>
          <p:cNvSpPr>
            <a:spLocks noGrp="1"/>
          </p:cNvSpPr>
          <p:nvPr>
            <p:ph type="body" sz="quarter" idx="22"/>
          </p:nvPr>
        </p:nvSpPr>
        <p:spPr>
          <a:xfrm>
            <a:off x="381001" y="6715169"/>
            <a:ext cx="1497205" cy="110800"/>
          </a:xfrm>
        </p:spPr>
        <p:txBody>
          <a:bodyPr/>
          <a:lstStyle/>
          <a:p>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Sources: Aurora Energy Research</a:t>
            </a:r>
          </a:p>
        </p:txBody>
      </p:sp>
      <p:sp>
        <p:nvSpPr>
          <p:cNvPr id="6" name="Title 5">
            <a:extLst>
              <a:ext uri="{FF2B5EF4-FFF2-40B4-BE49-F238E27FC236}">
                <a16:creationId xmlns:a16="http://schemas.microsoft.com/office/drawing/2014/main" id="{B7FE6929-531D-4F05-902E-A45ACC12C34A}"/>
              </a:ext>
            </a:extLst>
          </p:cNvPr>
          <p:cNvSpPr>
            <a:spLocks noGrp="1"/>
          </p:cNvSpPr>
          <p:nvPr>
            <p:ph type="title"/>
          </p:nvPr>
        </p:nvSpPr>
        <p:spPr/>
        <p:txBody>
          <a:bodyPr vert="horz"/>
          <a:lstStyle/>
          <a:p>
            <a:r>
              <a:rPr lang="en-GB" noProof="0" dirty="0"/>
              <a:t>We’re Hiring</a:t>
            </a:r>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Text Placeholder 9">
            <a:extLst>
              <a:ext uri="{FF2B5EF4-FFF2-40B4-BE49-F238E27FC236}">
                <a16:creationId xmlns:a16="http://schemas.microsoft.com/office/drawing/2014/main" id="{0B8060AA-EDF2-469A-9D02-CBADE2B73CA5}"/>
              </a:ext>
            </a:extLst>
          </p:cNvPr>
          <p:cNvSpPr>
            <a:spLocks noGrp="1"/>
          </p:cNvSpPr>
          <p:nvPr>
            <p:ph type="body" sz="quarter" idx="32"/>
          </p:nvPr>
        </p:nvSpPr>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Text Placeholder 7">
            <a:extLst>
              <a:ext uri="{FF2B5EF4-FFF2-40B4-BE49-F238E27FC236}">
                <a16:creationId xmlns:a16="http://schemas.microsoft.com/office/drawing/2014/main" id="{F1313CC7-B002-40A2-9007-4C04D7DA9908}"/>
              </a:ext>
            </a:extLst>
          </p:cNvPr>
          <p:cNvSpPr>
            <a:spLocks noGrp="1"/>
          </p:cNvSpPr>
          <p:nvPr>
            <p:ph type="body" sz="quarter" idx="31"/>
          </p:nvPr>
        </p:nvSpPr>
        <p:spPr>
          <a:xfrm>
            <a:off x="381599" y="79401"/>
            <a:ext cx="65" cy="184666"/>
          </a:xfrm>
        </p:spPr>
        <p:txBody>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3" name="Rectangle 12">
            <a:extLst>
              <a:ext uri="{FF2B5EF4-FFF2-40B4-BE49-F238E27FC236}">
                <a16:creationId xmlns:a16="http://schemas.microsoft.com/office/drawing/2014/main" id="{8A291537-CF87-4FD0-90F2-1B4202F4C606}"/>
              </a:ext>
            </a:extLst>
          </p:cNvPr>
          <p:cNvSpPr/>
          <p:nvPr/>
        </p:nvSpPr>
        <p:spPr>
          <a:xfrm>
            <a:off x="1022596" y="1714662"/>
            <a:ext cx="4191000" cy="4479796"/>
          </a:xfrm>
          <a:prstGeom prst="rect">
            <a:avLst/>
          </a:prstGeom>
          <a:solidFill>
            <a:schemeClr val="bg1"/>
          </a:solidFill>
          <a:ln>
            <a:solidFill>
              <a:schemeClr val="accent1"/>
            </a:solidFill>
          </a:ln>
        </p:spPr>
        <p:style>
          <a:lnRef idx="2">
            <a:schemeClr val="accent1"/>
          </a:lnRef>
          <a:fillRef idx="1">
            <a:schemeClr val="lt1"/>
          </a:fillRef>
          <a:effectRef idx="0">
            <a:schemeClr val="accent1"/>
          </a:effectRef>
          <a:fontRef idx="minor">
            <a:schemeClr val="dk1"/>
          </a:fontRef>
        </p:style>
        <p:txBody>
          <a:bodyPr tIns="90000" bIns="90000" rtlCol="0" anchor="t" anchorCtr="0"/>
          <a:lstStyle/>
          <a:p>
            <a:pPr marL="285750" indent="-285750">
              <a:spcAft>
                <a:spcPts val="1000"/>
              </a:spcAft>
              <a:buFont typeface="Wingdings" panose="05000000000000000000" pitchFamily="2" charset="2"/>
              <a:buChar char="§"/>
            </a:pPr>
            <a:r>
              <a:rPr lang="en-US" sz="1400" dirty="0"/>
              <a:t>Apply at any time for specific vacancies</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Begin after a short notice period</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Includes positions in Oxford, Austin, &amp; Sydney</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Open to applicants at any career stage</a:t>
            </a:r>
          </a:p>
          <a:p>
            <a:pPr marL="285750" indent="-285750">
              <a:spcAft>
                <a:spcPts val="1000"/>
              </a:spcAft>
              <a:buFont typeface="Wingdings" panose="05000000000000000000" pitchFamily="2" charset="2"/>
              <a:buChar char="§"/>
            </a:pPr>
            <a:endParaRPr lang="en-US" sz="1400" dirty="0"/>
          </a:p>
          <a:p>
            <a:pPr marL="285750" indent="-285750">
              <a:spcAft>
                <a:spcPts val="1000"/>
              </a:spcAft>
              <a:buFont typeface="Wingdings" panose="05000000000000000000" pitchFamily="2" charset="2"/>
              <a:buChar char="§"/>
            </a:pPr>
            <a:r>
              <a:rPr lang="en-US" sz="1400" dirty="0"/>
              <a:t>Find listing of currently available positions at </a:t>
            </a:r>
            <a:r>
              <a:rPr lang="en-US" sz="1400" dirty="0">
                <a:hlinkClick r:id="rId8"/>
              </a:rPr>
              <a:t>https://www.auroraer.com/careers-at-aurora/</a:t>
            </a:r>
            <a:endParaRPr lang="en-US" sz="1400" dirty="0"/>
          </a:p>
          <a:p>
            <a:pPr>
              <a:spcAft>
                <a:spcPts val="1000"/>
              </a:spcAft>
            </a:pPr>
            <a:endParaRPr lang="en-US" sz="1400" dirty="0"/>
          </a:p>
          <a:p>
            <a:pPr marL="285750" indent="-285750">
              <a:spcAft>
                <a:spcPts val="1000"/>
              </a:spcAft>
              <a:buFont typeface="Wingdings" panose="05000000000000000000" pitchFamily="2" charset="2"/>
              <a:buChar char="§"/>
            </a:pPr>
            <a:r>
              <a:rPr lang="en-US" sz="1400" dirty="0"/>
              <a:t>Apply with your CV and a cover letter</a:t>
            </a:r>
            <a:endParaRPr lang="en-GB" sz="1400" dirty="0"/>
          </a:p>
        </p:txBody>
      </p:sp>
      <p:sp>
        <p:nvSpPr>
          <p:cNvPr id="14" name="TextBox 13">
            <a:extLst>
              <a:ext uri="{FF2B5EF4-FFF2-40B4-BE49-F238E27FC236}">
                <a16:creationId xmlns:a16="http://schemas.microsoft.com/office/drawing/2014/main" id="{8ACA3797-3F90-45BD-B5D6-EB09E27019A1}"/>
              </a:ext>
            </a:extLst>
          </p:cNvPr>
          <p:cNvSpPr txBox="1"/>
          <p:nvPr/>
        </p:nvSpPr>
        <p:spPr>
          <a:xfrm>
            <a:off x="1022596" y="1270033"/>
            <a:ext cx="4191000" cy="444629"/>
          </a:xfrm>
          <a:prstGeom prst="rect">
            <a:avLst/>
          </a:prstGeom>
          <a:solidFill>
            <a:schemeClr val="accent1"/>
          </a:solidFill>
          <a:ln>
            <a:solidFill>
              <a:schemeClr val="accent3"/>
            </a:solidFill>
          </a:ln>
        </p:spPr>
        <p:txBody>
          <a:bodyPr wrap="square" lIns="0" tIns="0" rIns="0" bIns="0" rtlCol="0" anchor="ctr">
            <a:noAutofit/>
          </a:bodyPr>
          <a:lstStyle/>
          <a:p>
            <a:pPr marR="0" algn="ctr" defTabSz="914400" rtl="0" eaLnBrk="1" fontAlgn="auto" latinLnBrk="0" hangingPunct="1">
              <a:lnSpc>
                <a:spcPct val="100000"/>
              </a:lnSpc>
              <a:spcBef>
                <a:spcPts val="0"/>
              </a:spcBef>
              <a:spcAft>
                <a:spcPts val="1000"/>
              </a:spcAft>
              <a:buClrTx/>
              <a:buSzTx/>
              <a:tabLst/>
            </a:pPr>
            <a:r>
              <a:rPr lang="en-GB" sz="1600" b="1" dirty="0">
                <a:solidFill>
                  <a:schemeClr val="bg1"/>
                </a:solidFill>
              </a:rPr>
              <a:t>Rolling recruiting</a:t>
            </a:r>
          </a:p>
        </p:txBody>
      </p:sp>
      <p:sp>
        <p:nvSpPr>
          <p:cNvPr id="15" name="Rectangle 14">
            <a:extLst>
              <a:ext uri="{FF2B5EF4-FFF2-40B4-BE49-F238E27FC236}">
                <a16:creationId xmlns:a16="http://schemas.microsoft.com/office/drawing/2014/main" id="{A11846F2-D72A-42D1-8249-E2047CA90D2F}"/>
              </a:ext>
            </a:extLst>
          </p:cNvPr>
          <p:cNvSpPr/>
          <p:nvPr/>
        </p:nvSpPr>
        <p:spPr>
          <a:xfrm>
            <a:off x="5404096" y="1714661"/>
            <a:ext cx="4191002" cy="4479795"/>
          </a:xfrm>
          <a:prstGeom prst="rect">
            <a:avLst/>
          </a:prstGeom>
          <a:solidFill>
            <a:schemeClr val="bg1"/>
          </a:solidFill>
          <a:ln>
            <a:solidFill>
              <a:schemeClr val="accent1"/>
            </a:solidFill>
          </a:ln>
        </p:spPr>
        <p:style>
          <a:lnRef idx="2">
            <a:schemeClr val="accent1"/>
          </a:lnRef>
          <a:fillRef idx="1">
            <a:schemeClr val="lt1"/>
          </a:fillRef>
          <a:effectRef idx="0">
            <a:schemeClr val="accent1"/>
          </a:effectRef>
          <a:fontRef idx="minor">
            <a:schemeClr val="dk1"/>
          </a:fontRef>
        </p:style>
        <p:txBody>
          <a:bodyPr tIns="90000" bIns="90000" rtlCol="0" anchor="t" anchorCtr="0"/>
          <a:lstStyle/>
          <a:p>
            <a:pPr marL="285750" indent="-285750">
              <a:spcAft>
                <a:spcPts val="1000"/>
              </a:spcAft>
              <a:buFont typeface="Wingdings" panose="05000000000000000000" pitchFamily="2" charset="2"/>
              <a:buChar char="§"/>
            </a:pPr>
            <a:r>
              <a:rPr lang="en-US" sz="1400" dirty="0"/>
              <a:t>Apply by October deadline </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Begin in Autumn the following year</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Currently available only in Oxford</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Open to final-year students and recent graduates</a:t>
            </a:r>
          </a:p>
          <a:p>
            <a:pPr>
              <a:spcAft>
                <a:spcPts val="1000"/>
              </a:spcAft>
            </a:pPr>
            <a:endParaRPr lang="en-US" sz="1400" dirty="0"/>
          </a:p>
          <a:p>
            <a:pPr marL="285750" indent="-285750">
              <a:spcAft>
                <a:spcPts val="1000"/>
              </a:spcAft>
              <a:buFont typeface="Wingdings" panose="05000000000000000000" pitchFamily="2" charset="2"/>
              <a:buChar char="§"/>
            </a:pPr>
            <a:r>
              <a:rPr lang="en-US" sz="1400" dirty="0"/>
              <a:t>Apply with your CV and a cover letter</a:t>
            </a:r>
            <a:endParaRPr lang="en-GB" sz="1400" dirty="0"/>
          </a:p>
          <a:p>
            <a:pPr>
              <a:spcAft>
                <a:spcPts val="1000"/>
              </a:spcAft>
            </a:pPr>
            <a:endParaRPr lang="en-GB" sz="1400" dirty="0"/>
          </a:p>
        </p:txBody>
      </p:sp>
      <p:sp>
        <p:nvSpPr>
          <p:cNvPr id="16" name="TextBox 15">
            <a:extLst>
              <a:ext uri="{FF2B5EF4-FFF2-40B4-BE49-F238E27FC236}">
                <a16:creationId xmlns:a16="http://schemas.microsoft.com/office/drawing/2014/main" id="{3AA446C7-2A31-47B1-B842-003B8BC0B0D3}"/>
              </a:ext>
            </a:extLst>
          </p:cNvPr>
          <p:cNvSpPr txBox="1"/>
          <p:nvPr/>
        </p:nvSpPr>
        <p:spPr>
          <a:xfrm>
            <a:off x="5404565" y="1270033"/>
            <a:ext cx="4190533" cy="444629"/>
          </a:xfrm>
          <a:prstGeom prst="rect">
            <a:avLst/>
          </a:prstGeom>
          <a:solidFill>
            <a:schemeClr val="accent1"/>
          </a:solidFill>
          <a:ln>
            <a:solidFill>
              <a:schemeClr val="accent3"/>
            </a:solidFill>
          </a:ln>
        </p:spPr>
        <p:txBody>
          <a:bodyPr wrap="square" lIns="0" tIns="0" rIns="0" bIns="0" rtlCol="0" anchor="ctr">
            <a:noAutofit/>
          </a:bodyPr>
          <a:lstStyle/>
          <a:p>
            <a:pPr marR="0" algn="ctr" defTabSz="914400" rtl="0" eaLnBrk="1" fontAlgn="auto" latinLnBrk="0" hangingPunct="1">
              <a:lnSpc>
                <a:spcPct val="100000"/>
              </a:lnSpc>
              <a:spcBef>
                <a:spcPts val="0"/>
              </a:spcBef>
              <a:spcAft>
                <a:spcPts val="1000"/>
              </a:spcAft>
              <a:buClrTx/>
              <a:buSzTx/>
              <a:tabLst/>
            </a:pPr>
            <a:r>
              <a:rPr lang="en-GB" sz="1600" b="1" dirty="0">
                <a:solidFill>
                  <a:schemeClr val="bg1"/>
                </a:solidFill>
              </a:rPr>
              <a:t>Modelling graduate programme</a:t>
            </a:r>
          </a:p>
        </p:txBody>
      </p:sp>
    </p:spTree>
    <p:extLst>
      <p:ext uri="{BB962C8B-B14F-4D97-AF65-F5344CB8AC3E}">
        <p14:creationId xmlns:p14="http://schemas.microsoft.com/office/powerpoint/2010/main" val="1276703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16425E-43C9-4691-AEA6-F34E250A26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7"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9216425E-43C9-4691-AEA6-F34E250A26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79330F-1C01-4A7B-8111-20A132A05C2E}"/>
              </a:ext>
            </a:extLst>
          </p:cNvPr>
          <p:cNvSpPr/>
          <p:nvPr>
            <p:custDataLst>
              <p:tags r:id="rId3"/>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600"/>
              </a:spcBef>
            </a:pPr>
            <a:endParaRPr lang="en-US" sz="1200" err="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6" name="Text Placeholder 5">
            <a:extLst>
              <a:ext uri="{FF2B5EF4-FFF2-40B4-BE49-F238E27FC236}">
                <a16:creationId xmlns:a16="http://schemas.microsoft.com/office/drawing/2014/main" id="{2C448B90-8FE6-4AB7-BF75-5A8D9ADD80E4}"/>
              </a:ext>
            </a:extLst>
          </p:cNvPr>
          <p:cNvSpPr>
            <a:spLocks noGrp="1"/>
          </p:cNvSpPr>
          <p:nvPr>
            <p:ph type="body" sz="quarter" idx="28"/>
          </p:nvPr>
        </p:nvSpPr>
        <p:spPr>
          <a:xfrm>
            <a:off x="-81194" y="2272113"/>
            <a:ext cx="12192000" cy="355799"/>
          </a:xfrm>
        </p:spPr>
        <p:txBody>
          <a:bodyPr/>
          <a:lstStyle/>
          <a:p>
            <a:endParaRPr lang="en-GB" dirty="0"/>
          </a:p>
        </p:txBody>
      </p:sp>
      <p:sp>
        <p:nvSpPr>
          <p:cNvPr id="4" name="Text Placeholder 3">
            <a:extLst>
              <a:ext uri="{FF2B5EF4-FFF2-40B4-BE49-F238E27FC236}">
                <a16:creationId xmlns:a16="http://schemas.microsoft.com/office/drawing/2014/main" id="{3DD32535-8483-416F-8DA8-ABD46EFC7D91}"/>
              </a:ext>
            </a:extLst>
          </p:cNvPr>
          <p:cNvSpPr>
            <a:spLocks noGrp="1"/>
          </p:cNvSpPr>
          <p:nvPr>
            <p:ph type="body" sz="quarter" idx="27"/>
          </p:nvPr>
        </p:nvSpPr>
        <p:spPr>
          <a:xfrm>
            <a:off x="381000" y="1348181"/>
            <a:ext cx="11428411" cy="1200329"/>
          </a:xfrm>
        </p:spPr>
        <p:txBody>
          <a:bodyPr/>
          <a:lstStyle/>
          <a:p>
            <a:r>
              <a:rPr lang="en-GB" dirty="0"/>
              <a:t>Introduction</a:t>
            </a:r>
          </a:p>
          <a:p>
            <a:r>
              <a:rPr lang="en-GB" dirty="0"/>
              <a:t>About Aurora</a:t>
            </a:r>
          </a:p>
          <a:p>
            <a:r>
              <a:rPr lang="en-GB" dirty="0"/>
              <a:t>Modelling problem	</a:t>
            </a:r>
          </a:p>
        </p:txBody>
      </p:sp>
    </p:spTree>
    <p:extLst>
      <p:ext uri="{BB962C8B-B14F-4D97-AF65-F5344CB8AC3E}">
        <p14:creationId xmlns:p14="http://schemas.microsoft.com/office/powerpoint/2010/main" val="4171454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Y&lt;/m_strFormatTime&gt;&lt;m_yearfmt&gt;&lt;begin val=&quot;0&quot;/&gt;&lt;end val=&quot;0&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1&quot;&gt;&lt;elem m_fUsage=&quot;2.57408517176729922937E+00&quot;&gt;&lt;m_msothmcolidx val=&quot;0&quot;/&gt;&lt;m_rgb r=&quot;CF&quot; g=&quot;DE&quot; b=&quot;63&quot;/&gt;&lt;/elem&gt;&lt;elem m_fUsage=&quot;1.46390523138699935046E+00&quot;&gt;&lt;m_msothmcolidx val=&quot;0&quot;/&gt;&lt;m_rgb r=&quot;65&quot; g=&quot;7D&quot; b=&quot;1A&quot;/&gt;&lt;/elem&gt;&lt;elem m_fUsage=&quot;1.05056771492754918995E+00&quot;&gt;&lt;m_msothmcolidx val=&quot;0&quot;/&gt;&lt;m_rgb r=&quot;E9&quot; g=&quot;E2&quot; b=&quot;61&quot;/&gt;&lt;/elem&gt;&lt;elem m_fUsage=&quot;8.13870536481000050877E-01&quot;&gt;&lt;m_msothmcolidx val=&quot;0&quot;/&gt;&lt;m_rgb r=&quot;36&quot; g=&quot;4D&quot; b=&quot;6E&quot;/&gt;&lt;/elem&gt;&lt;elem m_fUsage=&quot;6.56100000000000127542E-01&quot;&gt;&lt;m_msothmcolidx val=&quot;0&quot;/&gt;&lt;m_rgb r=&quot;DF&quot; g=&quot;55&quot; b=&quot;2A&quot;/&gt;&lt;/elem&gt;&lt;elem m_fUsage=&quot;5.76773990218361176652E-01&quot;&gt;&lt;m_msothmcolidx val=&quot;0&quot;/&gt;&lt;m_rgb r=&quot;4C&quot; g=&quot;6C&quot; b=&quot;9C&quot;/&gt;&lt;/elem&gt;&lt;elem m_fUsage=&quot;5.39886199131512589666E-01&quot;&gt;&lt;m_msothmcolidx val=&quot;0&quot;/&gt;&lt;m_rgb r=&quot;6F&quot; g=&quot;8D&quot; b=&quot;B9&quot;/&gt;&lt;/elem&gt;&lt;elem m_fUsage=&quot;5.08997143590569467442E-01&quot;&gt;&lt;m_msothmcolidx val=&quot;0&quot;/&gt;&lt;m_rgb r=&quot;9D&quot; g=&quot;B1&quot; b=&quot;CF&quot;/&gt;&lt;/elem&gt;&lt;elem m_fUsage=&quot;3.95539741546275747108E-01&quot;&gt;&lt;m_msothmcolidx val=&quot;0&quot;/&gt;&lt;m_rgb r=&quot;DF&quot; g=&quot;53&quot; b=&quot;27&quot;/&gt;&lt;/elem&gt;&lt;elem m_fUsage=&quot;3.48678440100000153201E-01&quot;&gt;&lt;m_msothmcolidx val=&quot;0&quot;/&gt;&lt;m_rgb r=&quot;F0&quot; g=&quot;F0&quot; b=&quot;F0&quot;/&gt;&lt;/elem&gt;&lt;elem m_fUsage=&quot;1.85302018885184188735E-01&quot;&gt;&lt;m_msothmcolidx val=&quot;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XuKCNJo92KFnA_xHAYtM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sipya7jOoJoerp1wBtx6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1Q9mnAwl7t4caR2bst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sipya7jOoJoerp1wBtx6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n3Dro9lxT3uBCVfqN1C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sipya7jOoJoerp1wBtx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OZDJAZX7u680wQX5h1I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s5ZfXKy1U.Y_1jt7pp_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2i05pLALU6E.dFr1VMx6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1TfhnpNcES1lhdsJlVJ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9eaAeqUR.6WndFBtFf_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SBlOiEJt90SOHCYhaP4h_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_VjE6wtKDUmQPy5GprAV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5u7LLpD3hEGCQJr.vhR2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wO0VlweHP0a1UG1sDx0zT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cNnNDvPTOUOTuSjKyPF1K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w08W2EsbT0uaK3B5XZfB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b9Q5sF5gYkWTOCldDE1.3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s8vgPhbxq0uvuII7BkHM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4dkQ0CTLC0i_VAmRmVDa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dzYmNs0czkqKyUO0P84Z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daxDDqaVHkubE92d.0ZV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SyH5o5pS3UyGUwbev6mj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Y3MJmZZ690yEcjC5bzRe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QUBqWOPO_U6q8rdosrcf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0vG.wCPKX0uCxYYQ8vP_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7BE5TNPkmUHRK1D0o1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fKmmQd0Tn0y7HCQc5Dde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rm5sXM0ONEl6ysHqY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yrr81ISNQESC2FL104ha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wangBTF32E6KSLzC1Vhg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0ZkfC3BYGUGKskeIUZ89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7lafau_zE0.pukp.Jn47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yr.OeDSxhUaer_B0miFq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P79L.WDUuqohmeURra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xCf5tvEOvfZ9nKTPQ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oTLDx4lUGXkH9Df1Ts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CtmyrOIq7E67Q02qLTW3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GLG0FsLx1EmZMZftZlca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RYLpw6I.Q0e6_Fg_ux0l7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5cWmtquQjkO3x2LU619M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enEBErmYZEOl8tNPi7yX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EDMCLRklEkCGOineH2ar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B2UAvd6jSka1It3EwQmW5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FL39KvisvUSXON6ntUX0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jb5RXjOoBka58qB.jphD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2Y5j5mc5_ECk.yTN0xX1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_MwCb3U.YEequfLgv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E5lWgML3VredCBDQm1A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rora 2020">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v10.potx" id="{9EDAC843-B701-4C47-AFCC-75CF1D13CDD0}" vid="{49611AC1-A5E5-4763-BDF0-43D714B2B7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C478557184E843BED1AF55F7110BC2" ma:contentTypeVersion="10" ma:contentTypeDescription="Create a new document." ma:contentTypeScope="" ma:versionID="116d7caaedb216d17ef6dc3d45eb77d5">
  <xsd:schema xmlns:xsd="http://www.w3.org/2001/XMLSchema" xmlns:xs="http://www.w3.org/2001/XMLSchema" xmlns:p="http://schemas.microsoft.com/office/2006/metadata/properties" xmlns:ns2="90d37b79-7ebf-4693-afab-4d312e7f41a7" xmlns:ns3="14e4e3b3-9260-444e-ae86-c9c2cf2f8143" targetNamespace="http://schemas.microsoft.com/office/2006/metadata/properties" ma:root="true" ma:fieldsID="d62339f599eda2e0d3d5862356196644" ns2:_="" ns3:_="">
    <xsd:import namespace="90d37b79-7ebf-4693-afab-4d312e7f41a7"/>
    <xsd:import namespace="14e4e3b3-9260-444e-ae86-c9c2cf2f8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d37b79-7ebf-4693-afab-4d312e7f41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e4e3b3-9260-444e-ae86-c9c2cf2f814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D233892-F77E-4E35-8CE7-7887121F7BD9}">
  <ds:schemaRefs>
    <ds:schemaRef ds:uri="14e4e3b3-9260-444e-ae86-c9c2cf2f8143"/>
    <ds:schemaRef ds:uri="90d37b79-7ebf-4693-afab-4d312e7f41a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F25D3CB-B1B7-496C-A8B9-2BA2EBD4415C}">
  <ds:schemaRefs>
    <ds:schemaRef ds:uri="http://schemas.microsoft.com/sharepoint/v3/contenttype/forms"/>
  </ds:schemaRefs>
</ds:datastoreItem>
</file>

<file path=customXml/itemProps3.xml><?xml version="1.0" encoding="utf-8"?>
<ds:datastoreItem xmlns:ds="http://schemas.openxmlformats.org/officeDocument/2006/customXml" ds:itemID="{5DC66247-F362-4862-A0BB-CC40C107BAF4}">
  <ds:schemaRefs>
    <ds:schemaRef ds:uri="14e4e3b3-9260-444e-ae86-c9c2cf2f8143"/>
    <ds:schemaRef ds:uri="90d37b79-7ebf-4693-afab-4d312e7f41a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urora_PPTX template_v10</Template>
  <TotalTime>295</TotalTime>
  <Words>1458</Words>
  <Application>Microsoft Office PowerPoint</Application>
  <PresentationFormat>Widescreen</PresentationFormat>
  <Paragraphs>233</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Lato</vt:lpstr>
      <vt:lpstr>Lato Black</vt:lpstr>
      <vt:lpstr>Symbol</vt:lpstr>
      <vt:lpstr>Wingdings</vt:lpstr>
      <vt:lpstr>Aurora 2020</vt:lpstr>
      <vt:lpstr>think-cell Slide</vt:lpstr>
      <vt:lpstr>Mathematical Modelling Project</vt:lpstr>
      <vt:lpstr>PowerPoint Presentation</vt:lpstr>
      <vt:lpstr>Introduction</vt:lpstr>
      <vt:lpstr>PowerPoint Presentation</vt:lpstr>
      <vt:lpstr>Aurora provides data-driven intelligence for the global energy transformation</vt:lpstr>
      <vt:lpstr>We support our clients through three types of work that are built on our core models and data</vt:lpstr>
      <vt:lpstr>We work with leading companies from the energy sector, top financiers and major governments and regulators</vt:lpstr>
      <vt:lpstr>We’re Hiring</vt:lpstr>
      <vt:lpstr>PowerPoint Presentation</vt:lpstr>
      <vt:lpstr>Background information</vt:lpstr>
      <vt:lpstr>Problem statement</vt:lpstr>
      <vt:lpstr>Battery parameters</vt:lpstr>
      <vt:lpstr>Key poi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urora Powerpoint Template</dc:title>
  <dc:creator>Stuber, Heike</dc:creator>
  <cp:lastModifiedBy>Isaac Evans</cp:lastModifiedBy>
  <cp:revision>34</cp:revision>
  <dcterms:created xsi:type="dcterms:W3CDTF">2020-12-03T14:03:12Z</dcterms:created>
  <dcterms:modified xsi:type="dcterms:W3CDTF">2022-01-18T14:3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C478557184E843BED1AF55F7110BC2</vt:lpwstr>
  </property>
</Properties>
</file>